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36" r:id="rId4"/>
    <p:sldMasterId id="2147483941" r:id="rId5"/>
    <p:sldMasterId id="2147483946" r:id="rId6"/>
    <p:sldMasterId id="2147483949" r:id="rId7"/>
  </p:sldMasterIdLst>
  <p:notesMasterIdLst>
    <p:notesMasterId r:id="rId10"/>
  </p:notesMasterIdLst>
  <p:handoutMasterIdLst>
    <p:handoutMasterId r:id="rId11"/>
  </p:handoutMasterIdLst>
  <p:sldIdLst>
    <p:sldId id="256" r:id="rId8"/>
    <p:sldId id="257" r:id="rId9"/>
  </p:sldIdLst>
  <p:sldSz cx="9144000" cy="6858000" type="screen4x3"/>
  <p:notesSz cx="6794500" cy="9906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48" userDrawn="1">
          <p15:clr>
            <a:srgbClr val="A4A3A4"/>
          </p15:clr>
        </p15:guide>
        <p15:guide id="2" pos="5670" userDrawn="1">
          <p15:clr>
            <a:srgbClr val="A4A3A4"/>
          </p15:clr>
        </p15:guide>
        <p15:guide id="3" orient="horz" pos="3940">
          <p15:clr>
            <a:srgbClr val="A4A3A4"/>
          </p15:clr>
        </p15:guide>
        <p15:guide id="4" pos="5679">
          <p15:clr>
            <a:srgbClr val="A4A3A4"/>
          </p15:clr>
        </p15:guide>
        <p15:guide id="5" orient="horz" pos="431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68A"/>
    <a:srgbClr val="B8B8B8"/>
    <a:srgbClr val="DDEEFF"/>
    <a:srgbClr val="42A0BF"/>
    <a:srgbClr val="4D4D4D"/>
    <a:srgbClr val="000000"/>
    <a:srgbClr val="E7356C"/>
    <a:srgbClr val="808080"/>
    <a:srgbClr val="C0C0C0"/>
    <a:srgbClr val="C3CF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323" autoAdjust="0"/>
    <p:restoredTop sz="94434" autoAdjust="0"/>
  </p:normalViewPr>
  <p:slideViewPr>
    <p:cSldViewPr snapToGrid="0">
      <p:cViewPr varScale="1">
        <p:scale>
          <a:sx n="106" d="100"/>
          <a:sy n="106" d="100"/>
        </p:scale>
        <p:origin x="1818" y="108"/>
      </p:cViewPr>
      <p:guideLst>
        <p:guide orient="horz" pos="3748"/>
        <p:guide pos="5670"/>
        <p:guide orient="horz" pos="3940"/>
        <p:guide pos="5679"/>
        <p:guide orient="horz" pos="431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3006" y="108"/>
      </p:cViewPr>
      <p:guideLst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4283" cy="495300"/>
          </a:xfrm>
          <a:prstGeom prst="rect">
            <a:avLst/>
          </a:prstGeom>
        </p:spPr>
        <p:txBody>
          <a:bodyPr vert="horz" lIns="87961" tIns="43980" rIns="87961" bIns="4398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613174" y="9363299"/>
            <a:ext cx="2944283" cy="495300"/>
          </a:xfrm>
          <a:prstGeom prst="rect">
            <a:avLst/>
          </a:prstGeom>
        </p:spPr>
        <p:txBody>
          <a:bodyPr vert="horz" lIns="87961" tIns="43980" rIns="87961" bIns="43980" rtlCol="0" anchor="b"/>
          <a:lstStyle>
            <a:lvl1pPr algn="r">
              <a:defRPr sz="1200"/>
            </a:lvl1pPr>
          </a:lstStyle>
          <a:p>
            <a:fld id="{818C8314-6B07-4ADD-814A-4950372DE850}" type="datetimeFigureOut">
              <a:rPr lang="en-GB" smtClean="0">
                <a:solidFill>
                  <a:schemeClr val="bg1">
                    <a:lumMod val="50000"/>
                  </a:schemeClr>
                </a:solidFill>
              </a:rPr>
              <a:pPr/>
              <a:t>03/11/2015</a:t>
            </a:fld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89913" y="9363299"/>
            <a:ext cx="2944283" cy="495300"/>
          </a:xfrm>
          <a:prstGeom prst="rect">
            <a:avLst/>
          </a:prstGeom>
        </p:spPr>
        <p:txBody>
          <a:bodyPr vert="horz" lIns="87961" tIns="43980" rIns="87961" bIns="43980" rtlCol="0" anchor="b"/>
          <a:lstStyle>
            <a:lvl1pPr algn="r">
              <a:defRPr sz="1200"/>
            </a:lvl1pPr>
          </a:lstStyle>
          <a:p>
            <a:pPr algn="l"/>
            <a:r>
              <a:rPr lang="en-GB" dirty="0" smtClean="0">
                <a:solidFill>
                  <a:schemeClr val="bg1">
                    <a:lumMod val="50000"/>
                  </a:schemeClr>
                </a:solidFill>
              </a:rPr>
              <a:t>Page </a:t>
            </a:r>
            <a:fld id="{21C9440E-ABAA-48A8-AF77-269D643AC828}" type="slidenum">
              <a:rPr lang="en-GB" smtClean="0">
                <a:solidFill>
                  <a:schemeClr val="bg1">
                    <a:lumMod val="50000"/>
                  </a:schemeClr>
                </a:solidFill>
              </a:rPr>
              <a:pPr algn="l"/>
              <a:t>‹#›</a:t>
            </a:fld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5773134" y="124285"/>
            <a:ext cx="873327" cy="653851"/>
            <a:chOff x="8388922" y="36245"/>
            <a:chExt cx="873734" cy="655214"/>
          </a:xfrm>
        </p:grpSpPr>
        <p:grpSp>
          <p:nvGrpSpPr>
            <p:cNvPr id="25" name="Group 24"/>
            <p:cNvGrpSpPr/>
            <p:nvPr userDrawn="1"/>
          </p:nvGrpSpPr>
          <p:grpSpPr>
            <a:xfrm>
              <a:off x="8545513" y="36245"/>
              <a:ext cx="489905" cy="495602"/>
              <a:chOff x="7818438" y="101600"/>
              <a:chExt cx="546100" cy="552450"/>
            </a:xfrm>
          </p:grpSpPr>
          <p:sp>
            <p:nvSpPr>
              <p:cNvPr id="28" name="Freeform 5"/>
              <p:cNvSpPr>
                <a:spLocks noEditPoints="1"/>
              </p:cNvSpPr>
              <p:nvPr userDrawn="1"/>
            </p:nvSpPr>
            <p:spPr bwMode="auto">
              <a:xfrm>
                <a:off x="7818438" y="200025"/>
                <a:ext cx="546100" cy="454025"/>
              </a:xfrm>
              <a:custGeom>
                <a:avLst/>
                <a:gdLst>
                  <a:gd name="T0" fmla="*/ 56 w 344"/>
                  <a:gd name="T1" fmla="*/ 0 h 286"/>
                  <a:gd name="T2" fmla="*/ 44 w 344"/>
                  <a:gd name="T3" fmla="*/ 2 h 286"/>
                  <a:gd name="T4" fmla="*/ 24 w 344"/>
                  <a:gd name="T5" fmla="*/ 10 h 286"/>
                  <a:gd name="T6" fmla="*/ 10 w 344"/>
                  <a:gd name="T7" fmla="*/ 26 h 286"/>
                  <a:gd name="T8" fmla="*/ 2 w 344"/>
                  <a:gd name="T9" fmla="*/ 46 h 286"/>
                  <a:gd name="T10" fmla="*/ 0 w 344"/>
                  <a:gd name="T11" fmla="*/ 230 h 286"/>
                  <a:gd name="T12" fmla="*/ 2 w 344"/>
                  <a:gd name="T13" fmla="*/ 242 h 286"/>
                  <a:gd name="T14" fmla="*/ 10 w 344"/>
                  <a:gd name="T15" fmla="*/ 262 h 286"/>
                  <a:gd name="T16" fmla="*/ 24 w 344"/>
                  <a:gd name="T17" fmla="*/ 278 h 286"/>
                  <a:gd name="T18" fmla="*/ 44 w 344"/>
                  <a:gd name="T19" fmla="*/ 286 h 286"/>
                  <a:gd name="T20" fmla="*/ 288 w 344"/>
                  <a:gd name="T21" fmla="*/ 286 h 286"/>
                  <a:gd name="T22" fmla="*/ 300 w 344"/>
                  <a:gd name="T23" fmla="*/ 286 h 286"/>
                  <a:gd name="T24" fmla="*/ 320 w 344"/>
                  <a:gd name="T25" fmla="*/ 278 h 286"/>
                  <a:gd name="T26" fmla="*/ 334 w 344"/>
                  <a:gd name="T27" fmla="*/ 262 h 286"/>
                  <a:gd name="T28" fmla="*/ 344 w 344"/>
                  <a:gd name="T29" fmla="*/ 242 h 286"/>
                  <a:gd name="T30" fmla="*/ 344 w 344"/>
                  <a:gd name="T31" fmla="*/ 58 h 286"/>
                  <a:gd name="T32" fmla="*/ 344 w 344"/>
                  <a:gd name="T33" fmla="*/ 46 h 286"/>
                  <a:gd name="T34" fmla="*/ 334 w 344"/>
                  <a:gd name="T35" fmla="*/ 26 h 286"/>
                  <a:gd name="T36" fmla="*/ 320 w 344"/>
                  <a:gd name="T37" fmla="*/ 10 h 286"/>
                  <a:gd name="T38" fmla="*/ 300 w 344"/>
                  <a:gd name="T39" fmla="*/ 2 h 286"/>
                  <a:gd name="T40" fmla="*/ 288 w 344"/>
                  <a:gd name="T41" fmla="*/ 0 h 286"/>
                  <a:gd name="T42" fmla="*/ 148 w 344"/>
                  <a:gd name="T43" fmla="*/ 142 h 286"/>
                  <a:gd name="T44" fmla="*/ 144 w 344"/>
                  <a:gd name="T45" fmla="*/ 136 h 286"/>
                  <a:gd name="T46" fmla="*/ 136 w 344"/>
                  <a:gd name="T47" fmla="*/ 122 h 286"/>
                  <a:gd name="T48" fmla="*/ 134 w 344"/>
                  <a:gd name="T49" fmla="*/ 112 h 286"/>
                  <a:gd name="T50" fmla="*/ 138 w 344"/>
                  <a:gd name="T51" fmla="*/ 98 h 286"/>
                  <a:gd name="T52" fmla="*/ 146 w 344"/>
                  <a:gd name="T53" fmla="*/ 88 h 286"/>
                  <a:gd name="T54" fmla="*/ 158 w 344"/>
                  <a:gd name="T55" fmla="*/ 80 h 286"/>
                  <a:gd name="T56" fmla="*/ 172 w 344"/>
                  <a:gd name="T57" fmla="*/ 76 h 286"/>
                  <a:gd name="T58" fmla="*/ 178 w 344"/>
                  <a:gd name="T59" fmla="*/ 78 h 286"/>
                  <a:gd name="T60" fmla="*/ 192 w 344"/>
                  <a:gd name="T61" fmla="*/ 82 h 286"/>
                  <a:gd name="T62" fmla="*/ 202 w 344"/>
                  <a:gd name="T63" fmla="*/ 92 h 286"/>
                  <a:gd name="T64" fmla="*/ 208 w 344"/>
                  <a:gd name="T65" fmla="*/ 106 h 286"/>
                  <a:gd name="T66" fmla="*/ 208 w 344"/>
                  <a:gd name="T67" fmla="*/ 112 h 286"/>
                  <a:gd name="T68" fmla="*/ 204 w 344"/>
                  <a:gd name="T69" fmla="*/ 128 h 286"/>
                  <a:gd name="T70" fmla="*/ 196 w 344"/>
                  <a:gd name="T71" fmla="*/ 140 h 286"/>
                  <a:gd name="T72" fmla="*/ 126 w 344"/>
                  <a:gd name="T73" fmla="*/ 228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44" h="286">
                    <a:moveTo>
                      <a:pt x="288" y="0"/>
                    </a:moveTo>
                    <a:lnTo>
                      <a:pt x="56" y="0"/>
                    </a:lnTo>
                    <a:lnTo>
                      <a:pt x="56" y="0"/>
                    </a:lnTo>
                    <a:lnTo>
                      <a:pt x="44" y="2"/>
                    </a:lnTo>
                    <a:lnTo>
                      <a:pt x="34" y="6"/>
                    </a:lnTo>
                    <a:lnTo>
                      <a:pt x="24" y="10"/>
                    </a:lnTo>
                    <a:lnTo>
                      <a:pt x="16" y="18"/>
                    </a:lnTo>
                    <a:lnTo>
                      <a:pt x="10" y="26"/>
                    </a:lnTo>
                    <a:lnTo>
                      <a:pt x="4" y="36"/>
                    </a:lnTo>
                    <a:lnTo>
                      <a:pt x="2" y="46"/>
                    </a:lnTo>
                    <a:lnTo>
                      <a:pt x="0" y="58"/>
                    </a:lnTo>
                    <a:lnTo>
                      <a:pt x="0" y="230"/>
                    </a:lnTo>
                    <a:lnTo>
                      <a:pt x="0" y="230"/>
                    </a:lnTo>
                    <a:lnTo>
                      <a:pt x="2" y="242"/>
                    </a:lnTo>
                    <a:lnTo>
                      <a:pt x="4" y="252"/>
                    </a:lnTo>
                    <a:lnTo>
                      <a:pt x="10" y="262"/>
                    </a:lnTo>
                    <a:lnTo>
                      <a:pt x="16" y="270"/>
                    </a:lnTo>
                    <a:lnTo>
                      <a:pt x="24" y="278"/>
                    </a:lnTo>
                    <a:lnTo>
                      <a:pt x="34" y="282"/>
                    </a:lnTo>
                    <a:lnTo>
                      <a:pt x="44" y="286"/>
                    </a:lnTo>
                    <a:lnTo>
                      <a:pt x="56" y="286"/>
                    </a:lnTo>
                    <a:lnTo>
                      <a:pt x="288" y="286"/>
                    </a:lnTo>
                    <a:lnTo>
                      <a:pt x="288" y="286"/>
                    </a:lnTo>
                    <a:lnTo>
                      <a:pt x="300" y="286"/>
                    </a:lnTo>
                    <a:lnTo>
                      <a:pt x="310" y="282"/>
                    </a:lnTo>
                    <a:lnTo>
                      <a:pt x="320" y="278"/>
                    </a:lnTo>
                    <a:lnTo>
                      <a:pt x="328" y="270"/>
                    </a:lnTo>
                    <a:lnTo>
                      <a:pt x="334" y="262"/>
                    </a:lnTo>
                    <a:lnTo>
                      <a:pt x="340" y="252"/>
                    </a:lnTo>
                    <a:lnTo>
                      <a:pt x="344" y="242"/>
                    </a:lnTo>
                    <a:lnTo>
                      <a:pt x="344" y="230"/>
                    </a:lnTo>
                    <a:lnTo>
                      <a:pt x="344" y="58"/>
                    </a:lnTo>
                    <a:lnTo>
                      <a:pt x="344" y="58"/>
                    </a:lnTo>
                    <a:lnTo>
                      <a:pt x="344" y="46"/>
                    </a:lnTo>
                    <a:lnTo>
                      <a:pt x="340" y="36"/>
                    </a:lnTo>
                    <a:lnTo>
                      <a:pt x="334" y="26"/>
                    </a:lnTo>
                    <a:lnTo>
                      <a:pt x="328" y="18"/>
                    </a:lnTo>
                    <a:lnTo>
                      <a:pt x="320" y="10"/>
                    </a:lnTo>
                    <a:lnTo>
                      <a:pt x="310" y="6"/>
                    </a:lnTo>
                    <a:lnTo>
                      <a:pt x="300" y="2"/>
                    </a:lnTo>
                    <a:lnTo>
                      <a:pt x="288" y="0"/>
                    </a:lnTo>
                    <a:lnTo>
                      <a:pt x="288" y="0"/>
                    </a:lnTo>
                    <a:close/>
                    <a:moveTo>
                      <a:pt x="126" y="228"/>
                    </a:moveTo>
                    <a:lnTo>
                      <a:pt x="148" y="142"/>
                    </a:lnTo>
                    <a:lnTo>
                      <a:pt x="148" y="142"/>
                    </a:lnTo>
                    <a:lnTo>
                      <a:pt x="144" y="136"/>
                    </a:lnTo>
                    <a:lnTo>
                      <a:pt x="138" y="130"/>
                    </a:lnTo>
                    <a:lnTo>
                      <a:pt x="136" y="122"/>
                    </a:lnTo>
                    <a:lnTo>
                      <a:pt x="134" y="112"/>
                    </a:lnTo>
                    <a:lnTo>
                      <a:pt x="134" y="112"/>
                    </a:lnTo>
                    <a:lnTo>
                      <a:pt x="136" y="106"/>
                    </a:lnTo>
                    <a:lnTo>
                      <a:pt x="138" y="98"/>
                    </a:lnTo>
                    <a:lnTo>
                      <a:pt x="142" y="92"/>
                    </a:lnTo>
                    <a:lnTo>
                      <a:pt x="146" y="88"/>
                    </a:lnTo>
                    <a:lnTo>
                      <a:pt x="152" y="82"/>
                    </a:lnTo>
                    <a:lnTo>
                      <a:pt x="158" y="80"/>
                    </a:lnTo>
                    <a:lnTo>
                      <a:pt x="164" y="78"/>
                    </a:lnTo>
                    <a:lnTo>
                      <a:pt x="172" y="76"/>
                    </a:lnTo>
                    <a:lnTo>
                      <a:pt x="172" y="76"/>
                    </a:lnTo>
                    <a:lnTo>
                      <a:pt x="178" y="78"/>
                    </a:lnTo>
                    <a:lnTo>
                      <a:pt x="186" y="80"/>
                    </a:lnTo>
                    <a:lnTo>
                      <a:pt x="192" y="82"/>
                    </a:lnTo>
                    <a:lnTo>
                      <a:pt x="198" y="88"/>
                    </a:lnTo>
                    <a:lnTo>
                      <a:pt x="202" y="92"/>
                    </a:lnTo>
                    <a:lnTo>
                      <a:pt x="204" y="98"/>
                    </a:lnTo>
                    <a:lnTo>
                      <a:pt x="208" y="106"/>
                    </a:lnTo>
                    <a:lnTo>
                      <a:pt x="208" y="112"/>
                    </a:lnTo>
                    <a:lnTo>
                      <a:pt x="208" y="112"/>
                    </a:lnTo>
                    <a:lnTo>
                      <a:pt x="206" y="120"/>
                    </a:lnTo>
                    <a:lnTo>
                      <a:pt x="204" y="128"/>
                    </a:lnTo>
                    <a:lnTo>
                      <a:pt x="200" y="134"/>
                    </a:lnTo>
                    <a:lnTo>
                      <a:pt x="196" y="140"/>
                    </a:lnTo>
                    <a:lnTo>
                      <a:pt x="220" y="228"/>
                    </a:lnTo>
                    <a:lnTo>
                      <a:pt x="126" y="228"/>
                    </a:lnTo>
                    <a:close/>
                  </a:path>
                </a:pathLst>
              </a:custGeom>
              <a:solidFill>
                <a:srgbClr val="E31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" name="Freeform 6"/>
              <p:cNvSpPr>
                <a:spLocks/>
              </p:cNvSpPr>
              <p:nvPr userDrawn="1"/>
            </p:nvSpPr>
            <p:spPr bwMode="auto">
              <a:xfrm>
                <a:off x="7961313" y="101600"/>
                <a:ext cx="260350" cy="88900"/>
              </a:xfrm>
              <a:custGeom>
                <a:avLst/>
                <a:gdLst>
                  <a:gd name="T0" fmla="*/ 20 w 164"/>
                  <a:gd name="T1" fmla="*/ 56 h 56"/>
                  <a:gd name="T2" fmla="*/ 20 w 164"/>
                  <a:gd name="T3" fmla="*/ 56 h 56"/>
                  <a:gd name="T4" fmla="*/ 22 w 164"/>
                  <a:gd name="T5" fmla="*/ 46 h 56"/>
                  <a:gd name="T6" fmla="*/ 26 w 164"/>
                  <a:gd name="T7" fmla="*/ 36 h 56"/>
                  <a:gd name="T8" fmla="*/ 30 w 164"/>
                  <a:gd name="T9" fmla="*/ 30 h 56"/>
                  <a:gd name="T10" fmla="*/ 36 w 164"/>
                  <a:gd name="T11" fmla="*/ 26 h 56"/>
                  <a:gd name="T12" fmla="*/ 42 w 164"/>
                  <a:gd name="T13" fmla="*/ 22 h 56"/>
                  <a:gd name="T14" fmla="*/ 54 w 164"/>
                  <a:gd name="T15" fmla="*/ 20 h 56"/>
                  <a:gd name="T16" fmla="*/ 82 w 164"/>
                  <a:gd name="T17" fmla="*/ 20 h 56"/>
                  <a:gd name="T18" fmla="*/ 82 w 164"/>
                  <a:gd name="T19" fmla="*/ 20 h 56"/>
                  <a:gd name="T20" fmla="*/ 112 w 164"/>
                  <a:gd name="T21" fmla="*/ 20 h 56"/>
                  <a:gd name="T22" fmla="*/ 122 w 164"/>
                  <a:gd name="T23" fmla="*/ 22 h 56"/>
                  <a:gd name="T24" fmla="*/ 130 w 164"/>
                  <a:gd name="T25" fmla="*/ 26 h 56"/>
                  <a:gd name="T26" fmla="*/ 136 w 164"/>
                  <a:gd name="T27" fmla="*/ 30 h 56"/>
                  <a:gd name="T28" fmla="*/ 140 w 164"/>
                  <a:gd name="T29" fmla="*/ 36 h 56"/>
                  <a:gd name="T30" fmla="*/ 142 w 164"/>
                  <a:gd name="T31" fmla="*/ 46 h 56"/>
                  <a:gd name="T32" fmla="*/ 144 w 164"/>
                  <a:gd name="T33" fmla="*/ 56 h 56"/>
                  <a:gd name="T34" fmla="*/ 164 w 164"/>
                  <a:gd name="T35" fmla="*/ 56 h 56"/>
                  <a:gd name="T36" fmla="*/ 164 w 164"/>
                  <a:gd name="T37" fmla="*/ 56 h 56"/>
                  <a:gd name="T38" fmla="*/ 162 w 164"/>
                  <a:gd name="T39" fmla="*/ 38 h 56"/>
                  <a:gd name="T40" fmla="*/ 156 w 164"/>
                  <a:gd name="T41" fmla="*/ 24 h 56"/>
                  <a:gd name="T42" fmla="*/ 148 w 164"/>
                  <a:gd name="T43" fmla="*/ 14 h 56"/>
                  <a:gd name="T44" fmla="*/ 138 w 164"/>
                  <a:gd name="T45" fmla="*/ 6 h 56"/>
                  <a:gd name="T46" fmla="*/ 126 w 164"/>
                  <a:gd name="T47" fmla="*/ 2 h 56"/>
                  <a:gd name="T48" fmla="*/ 112 w 164"/>
                  <a:gd name="T49" fmla="*/ 0 h 56"/>
                  <a:gd name="T50" fmla="*/ 82 w 164"/>
                  <a:gd name="T51" fmla="*/ 0 h 56"/>
                  <a:gd name="T52" fmla="*/ 82 w 164"/>
                  <a:gd name="T53" fmla="*/ 0 h 56"/>
                  <a:gd name="T54" fmla="*/ 52 w 164"/>
                  <a:gd name="T55" fmla="*/ 0 h 56"/>
                  <a:gd name="T56" fmla="*/ 38 w 164"/>
                  <a:gd name="T57" fmla="*/ 2 h 56"/>
                  <a:gd name="T58" fmla="*/ 26 w 164"/>
                  <a:gd name="T59" fmla="*/ 6 h 56"/>
                  <a:gd name="T60" fmla="*/ 16 w 164"/>
                  <a:gd name="T61" fmla="*/ 14 h 56"/>
                  <a:gd name="T62" fmla="*/ 8 w 164"/>
                  <a:gd name="T63" fmla="*/ 24 h 56"/>
                  <a:gd name="T64" fmla="*/ 2 w 164"/>
                  <a:gd name="T65" fmla="*/ 38 h 56"/>
                  <a:gd name="T66" fmla="*/ 0 w 164"/>
                  <a:gd name="T67" fmla="*/ 56 h 56"/>
                  <a:gd name="T68" fmla="*/ 20 w 164"/>
                  <a:gd name="T6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64" h="56">
                    <a:moveTo>
                      <a:pt x="20" y="56"/>
                    </a:moveTo>
                    <a:lnTo>
                      <a:pt x="20" y="56"/>
                    </a:lnTo>
                    <a:lnTo>
                      <a:pt x="22" y="46"/>
                    </a:lnTo>
                    <a:lnTo>
                      <a:pt x="26" y="36"/>
                    </a:lnTo>
                    <a:lnTo>
                      <a:pt x="30" y="30"/>
                    </a:lnTo>
                    <a:lnTo>
                      <a:pt x="36" y="26"/>
                    </a:lnTo>
                    <a:lnTo>
                      <a:pt x="42" y="22"/>
                    </a:lnTo>
                    <a:lnTo>
                      <a:pt x="54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112" y="20"/>
                    </a:lnTo>
                    <a:lnTo>
                      <a:pt x="122" y="22"/>
                    </a:lnTo>
                    <a:lnTo>
                      <a:pt x="130" y="26"/>
                    </a:lnTo>
                    <a:lnTo>
                      <a:pt x="136" y="30"/>
                    </a:lnTo>
                    <a:lnTo>
                      <a:pt x="140" y="36"/>
                    </a:lnTo>
                    <a:lnTo>
                      <a:pt x="142" y="46"/>
                    </a:lnTo>
                    <a:lnTo>
                      <a:pt x="14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2" y="38"/>
                    </a:lnTo>
                    <a:lnTo>
                      <a:pt x="156" y="24"/>
                    </a:lnTo>
                    <a:lnTo>
                      <a:pt x="148" y="14"/>
                    </a:lnTo>
                    <a:lnTo>
                      <a:pt x="138" y="6"/>
                    </a:lnTo>
                    <a:lnTo>
                      <a:pt x="126" y="2"/>
                    </a:lnTo>
                    <a:lnTo>
                      <a:pt x="11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52" y="0"/>
                    </a:lnTo>
                    <a:lnTo>
                      <a:pt x="38" y="2"/>
                    </a:lnTo>
                    <a:lnTo>
                      <a:pt x="26" y="6"/>
                    </a:lnTo>
                    <a:lnTo>
                      <a:pt x="16" y="14"/>
                    </a:lnTo>
                    <a:lnTo>
                      <a:pt x="8" y="24"/>
                    </a:lnTo>
                    <a:lnTo>
                      <a:pt x="2" y="38"/>
                    </a:lnTo>
                    <a:lnTo>
                      <a:pt x="0" y="56"/>
                    </a:lnTo>
                    <a:lnTo>
                      <a:pt x="20" y="56"/>
                    </a:lnTo>
                    <a:close/>
                  </a:path>
                </a:pathLst>
              </a:custGeom>
              <a:solidFill>
                <a:srgbClr val="E31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26" name="TextBox 25"/>
            <p:cNvSpPr txBox="1"/>
            <p:nvPr userDrawn="1"/>
          </p:nvSpPr>
          <p:spPr>
            <a:xfrm rot="16200000">
              <a:off x="8191735" y="233433"/>
              <a:ext cx="563729" cy="1693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500" dirty="0">
                  <a:solidFill>
                    <a:schemeClr val="bg1">
                      <a:lumMod val="65000"/>
                    </a:schemeClr>
                  </a:solidFill>
                </a:rPr>
                <a:t>strictly</a:t>
              </a:r>
            </a:p>
          </p:txBody>
        </p:sp>
        <p:sp>
          <p:nvSpPr>
            <p:cNvPr id="27" name="TextBox 26"/>
            <p:cNvSpPr txBox="1"/>
            <p:nvPr userDrawn="1"/>
          </p:nvSpPr>
          <p:spPr>
            <a:xfrm>
              <a:off x="8410803" y="506408"/>
              <a:ext cx="851853" cy="185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600" dirty="0">
                  <a:solidFill>
                    <a:srgbClr val="FF0000"/>
                  </a:solidFill>
                </a:rPr>
                <a:t>CONFIDENTIA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31466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4283" cy="495300"/>
          </a:xfrm>
          <a:prstGeom prst="rect">
            <a:avLst/>
          </a:prstGeom>
        </p:spPr>
        <p:txBody>
          <a:bodyPr vert="horz" lIns="87961" tIns="43980" rIns="87961" bIns="4398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685149" y="9388077"/>
            <a:ext cx="2944283" cy="495300"/>
          </a:xfrm>
          <a:prstGeom prst="rect">
            <a:avLst/>
          </a:prstGeom>
        </p:spPr>
        <p:txBody>
          <a:bodyPr vert="horz" lIns="87961" tIns="43980" rIns="87961" bIns="43980" rtlCol="0" anchor="b"/>
          <a:lstStyle>
            <a:lvl1pPr algn="r">
              <a:defRPr sz="1200">
                <a:solidFill>
                  <a:srgbClr val="4D4D4D"/>
                </a:solidFill>
              </a:defRPr>
            </a:lvl1pPr>
          </a:lstStyle>
          <a:p>
            <a:fld id="{726B63E2-ABA0-49DD-A5F9-ACA89F7A9EDB}" type="datetimeFigureOut">
              <a:rPr lang="en-GB" smtClean="0"/>
              <a:pPr/>
              <a:t>03/11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2950"/>
            <a:ext cx="4953000" cy="3716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61" tIns="43980" rIns="87961" bIns="4398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05349"/>
            <a:ext cx="5435600" cy="4457700"/>
          </a:xfrm>
          <a:prstGeom prst="rect">
            <a:avLst/>
          </a:prstGeom>
        </p:spPr>
        <p:txBody>
          <a:bodyPr vert="horz" lIns="87961" tIns="43980" rIns="87961" bIns="43980" rtlCol="0"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3963" y="9410700"/>
            <a:ext cx="2944283" cy="495300"/>
          </a:xfrm>
          <a:prstGeom prst="rect">
            <a:avLst/>
          </a:prstGeom>
        </p:spPr>
        <p:txBody>
          <a:bodyPr vert="horz" lIns="87961" tIns="43980" rIns="87961" bIns="43980" rtlCol="0" anchor="b"/>
          <a:lstStyle>
            <a:lvl1pPr algn="r">
              <a:defRPr sz="1200">
                <a:solidFill>
                  <a:srgbClr val="4D4D4D"/>
                </a:solidFill>
              </a:defRPr>
            </a:lvl1pPr>
          </a:lstStyle>
          <a:p>
            <a:pPr algn="l"/>
            <a:r>
              <a:rPr lang="en-GB" dirty="0" smtClean="0"/>
              <a:t> Page </a:t>
            </a:r>
            <a:fld id="{53EE5D8D-B88F-4180-9A9B-72737A6CA4C4}" type="slidenum">
              <a:rPr lang="en-GB" smtClean="0"/>
              <a:pPr algn="l"/>
              <a:t>‹#›</a:t>
            </a:fld>
            <a:endParaRPr lang="en-GB" dirty="0"/>
          </a:p>
        </p:txBody>
      </p:sp>
      <p:grpSp>
        <p:nvGrpSpPr>
          <p:cNvPr id="26" name="Group 25"/>
          <p:cNvGrpSpPr/>
          <p:nvPr/>
        </p:nvGrpSpPr>
        <p:grpSpPr>
          <a:xfrm>
            <a:off x="5921174" y="75964"/>
            <a:ext cx="873327" cy="653851"/>
            <a:chOff x="8388922" y="36245"/>
            <a:chExt cx="873734" cy="655214"/>
          </a:xfrm>
        </p:grpSpPr>
        <p:grpSp>
          <p:nvGrpSpPr>
            <p:cNvPr id="27" name="Group 26"/>
            <p:cNvGrpSpPr/>
            <p:nvPr userDrawn="1"/>
          </p:nvGrpSpPr>
          <p:grpSpPr>
            <a:xfrm>
              <a:off x="8545513" y="36245"/>
              <a:ext cx="489905" cy="495602"/>
              <a:chOff x="7818438" y="101600"/>
              <a:chExt cx="546100" cy="552450"/>
            </a:xfrm>
          </p:grpSpPr>
          <p:sp>
            <p:nvSpPr>
              <p:cNvPr id="30" name="Freeform 5"/>
              <p:cNvSpPr>
                <a:spLocks noEditPoints="1"/>
              </p:cNvSpPr>
              <p:nvPr userDrawn="1"/>
            </p:nvSpPr>
            <p:spPr bwMode="auto">
              <a:xfrm>
                <a:off x="7818438" y="200025"/>
                <a:ext cx="546100" cy="454025"/>
              </a:xfrm>
              <a:custGeom>
                <a:avLst/>
                <a:gdLst>
                  <a:gd name="T0" fmla="*/ 56 w 344"/>
                  <a:gd name="T1" fmla="*/ 0 h 286"/>
                  <a:gd name="T2" fmla="*/ 44 w 344"/>
                  <a:gd name="T3" fmla="*/ 2 h 286"/>
                  <a:gd name="T4" fmla="*/ 24 w 344"/>
                  <a:gd name="T5" fmla="*/ 10 h 286"/>
                  <a:gd name="T6" fmla="*/ 10 w 344"/>
                  <a:gd name="T7" fmla="*/ 26 h 286"/>
                  <a:gd name="T8" fmla="*/ 2 w 344"/>
                  <a:gd name="T9" fmla="*/ 46 h 286"/>
                  <a:gd name="T10" fmla="*/ 0 w 344"/>
                  <a:gd name="T11" fmla="*/ 230 h 286"/>
                  <a:gd name="T12" fmla="*/ 2 w 344"/>
                  <a:gd name="T13" fmla="*/ 242 h 286"/>
                  <a:gd name="T14" fmla="*/ 10 w 344"/>
                  <a:gd name="T15" fmla="*/ 262 h 286"/>
                  <a:gd name="T16" fmla="*/ 24 w 344"/>
                  <a:gd name="T17" fmla="*/ 278 h 286"/>
                  <a:gd name="T18" fmla="*/ 44 w 344"/>
                  <a:gd name="T19" fmla="*/ 286 h 286"/>
                  <a:gd name="T20" fmla="*/ 288 w 344"/>
                  <a:gd name="T21" fmla="*/ 286 h 286"/>
                  <a:gd name="T22" fmla="*/ 300 w 344"/>
                  <a:gd name="T23" fmla="*/ 286 h 286"/>
                  <a:gd name="T24" fmla="*/ 320 w 344"/>
                  <a:gd name="T25" fmla="*/ 278 h 286"/>
                  <a:gd name="T26" fmla="*/ 334 w 344"/>
                  <a:gd name="T27" fmla="*/ 262 h 286"/>
                  <a:gd name="T28" fmla="*/ 344 w 344"/>
                  <a:gd name="T29" fmla="*/ 242 h 286"/>
                  <a:gd name="T30" fmla="*/ 344 w 344"/>
                  <a:gd name="T31" fmla="*/ 58 h 286"/>
                  <a:gd name="T32" fmla="*/ 344 w 344"/>
                  <a:gd name="T33" fmla="*/ 46 h 286"/>
                  <a:gd name="T34" fmla="*/ 334 w 344"/>
                  <a:gd name="T35" fmla="*/ 26 h 286"/>
                  <a:gd name="T36" fmla="*/ 320 w 344"/>
                  <a:gd name="T37" fmla="*/ 10 h 286"/>
                  <a:gd name="T38" fmla="*/ 300 w 344"/>
                  <a:gd name="T39" fmla="*/ 2 h 286"/>
                  <a:gd name="T40" fmla="*/ 288 w 344"/>
                  <a:gd name="T41" fmla="*/ 0 h 286"/>
                  <a:gd name="T42" fmla="*/ 148 w 344"/>
                  <a:gd name="T43" fmla="*/ 142 h 286"/>
                  <a:gd name="T44" fmla="*/ 144 w 344"/>
                  <a:gd name="T45" fmla="*/ 136 h 286"/>
                  <a:gd name="T46" fmla="*/ 136 w 344"/>
                  <a:gd name="T47" fmla="*/ 122 h 286"/>
                  <a:gd name="T48" fmla="*/ 134 w 344"/>
                  <a:gd name="T49" fmla="*/ 112 h 286"/>
                  <a:gd name="T50" fmla="*/ 138 w 344"/>
                  <a:gd name="T51" fmla="*/ 98 h 286"/>
                  <a:gd name="T52" fmla="*/ 146 w 344"/>
                  <a:gd name="T53" fmla="*/ 88 h 286"/>
                  <a:gd name="T54" fmla="*/ 158 w 344"/>
                  <a:gd name="T55" fmla="*/ 80 h 286"/>
                  <a:gd name="T56" fmla="*/ 172 w 344"/>
                  <a:gd name="T57" fmla="*/ 76 h 286"/>
                  <a:gd name="T58" fmla="*/ 178 w 344"/>
                  <a:gd name="T59" fmla="*/ 78 h 286"/>
                  <a:gd name="T60" fmla="*/ 192 w 344"/>
                  <a:gd name="T61" fmla="*/ 82 h 286"/>
                  <a:gd name="T62" fmla="*/ 202 w 344"/>
                  <a:gd name="T63" fmla="*/ 92 h 286"/>
                  <a:gd name="T64" fmla="*/ 208 w 344"/>
                  <a:gd name="T65" fmla="*/ 106 h 286"/>
                  <a:gd name="T66" fmla="*/ 208 w 344"/>
                  <a:gd name="T67" fmla="*/ 112 h 286"/>
                  <a:gd name="T68" fmla="*/ 204 w 344"/>
                  <a:gd name="T69" fmla="*/ 128 h 286"/>
                  <a:gd name="T70" fmla="*/ 196 w 344"/>
                  <a:gd name="T71" fmla="*/ 140 h 286"/>
                  <a:gd name="T72" fmla="*/ 126 w 344"/>
                  <a:gd name="T73" fmla="*/ 228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44" h="286">
                    <a:moveTo>
                      <a:pt x="288" y="0"/>
                    </a:moveTo>
                    <a:lnTo>
                      <a:pt x="56" y="0"/>
                    </a:lnTo>
                    <a:lnTo>
                      <a:pt x="56" y="0"/>
                    </a:lnTo>
                    <a:lnTo>
                      <a:pt x="44" y="2"/>
                    </a:lnTo>
                    <a:lnTo>
                      <a:pt x="34" y="6"/>
                    </a:lnTo>
                    <a:lnTo>
                      <a:pt x="24" y="10"/>
                    </a:lnTo>
                    <a:lnTo>
                      <a:pt x="16" y="18"/>
                    </a:lnTo>
                    <a:lnTo>
                      <a:pt x="10" y="26"/>
                    </a:lnTo>
                    <a:lnTo>
                      <a:pt x="4" y="36"/>
                    </a:lnTo>
                    <a:lnTo>
                      <a:pt x="2" y="46"/>
                    </a:lnTo>
                    <a:lnTo>
                      <a:pt x="0" y="58"/>
                    </a:lnTo>
                    <a:lnTo>
                      <a:pt x="0" y="230"/>
                    </a:lnTo>
                    <a:lnTo>
                      <a:pt x="0" y="230"/>
                    </a:lnTo>
                    <a:lnTo>
                      <a:pt x="2" y="242"/>
                    </a:lnTo>
                    <a:lnTo>
                      <a:pt x="4" y="252"/>
                    </a:lnTo>
                    <a:lnTo>
                      <a:pt x="10" y="262"/>
                    </a:lnTo>
                    <a:lnTo>
                      <a:pt x="16" y="270"/>
                    </a:lnTo>
                    <a:lnTo>
                      <a:pt x="24" y="278"/>
                    </a:lnTo>
                    <a:lnTo>
                      <a:pt x="34" y="282"/>
                    </a:lnTo>
                    <a:lnTo>
                      <a:pt x="44" y="286"/>
                    </a:lnTo>
                    <a:lnTo>
                      <a:pt x="56" y="286"/>
                    </a:lnTo>
                    <a:lnTo>
                      <a:pt x="288" y="286"/>
                    </a:lnTo>
                    <a:lnTo>
                      <a:pt x="288" y="286"/>
                    </a:lnTo>
                    <a:lnTo>
                      <a:pt x="300" y="286"/>
                    </a:lnTo>
                    <a:lnTo>
                      <a:pt x="310" y="282"/>
                    </a:lnTo>
                    <a:lnTo>
                      <a:pt x="320" y="278"/>
                    </a:lnTo>
                    <a:lnTo>
                      <a:pt x="328" y="270"/>
                    </a:lnTo>
                    <a:lnTo>
                      <a:pt x="334" y="262"/>
                    </a:lnTo>
                    <a:lnTo>
                      <a:pt x="340" y="252"/>
                    </a:lnTo>
                    <a:lnTo>
                      <a:pt x="344" y="242"/>
                    </a:lnTo>
                    <a:lnTo>
                      <a:pt x="344" y="230"/>
                    </a:lnTo>
                    <a:lnTo>
                      <a:pt x="344" y="58"/>
                    </a:lnTo>
                    <a:lnTo>
                      <a:pt x="344" y="58"/>
                    </a:lnTo>
                    <a:lnTo>
                      <a:pt x="344" y="46"/>
                    </a:lnTo>
                    <a:lnTo>
                      <a:pt x="340" y="36"/>
                    </a:lnTo>
                    <a:lnTo>
                      <a:pt x="334" y="26"/>
                    </a:lnTo>
                    <a:lnTo>
                      <a:pt x="328" y="18"/>
                    </a:lnTo>
                    <a:lnTo>
                      <a:pt x="320" y="10"/>
                    </a:lnTo>
                    <a:lnTo>
                      <a:pt x="310" y="6"/>
                    </a:lnTo>
                    <a:lnTo>
                      <a:pt x="300" y="2"/>
                    </a:lnTo>
                    <a:lnTo>
                      <a:pt x="288" y="0"/>
                    </a:lnTo>
                    <a:lnTo>
                      <a:pt x="288" y="0"/>
                    </a:lnTo>
                    <a:close/>
                    <a:moveTo>
                      <a:pt x="126" y="228"/>
                    </a:moveTo>
                    <a:lnTo>
                      <a:pt x="148" y="142"/>
                    </a:lnTo>
                    <a:lnTo>
                      <a:pt x="148" y="142"/>
                    </a:lnTo>
                    <a:lnTo>
                      <a:pt x="144" y="136"/>
                    </a:lnTo>
                    <a:lnTo>
                      <a:pt x="138" y="130"/>
                    </a:lnTo>
                    <a:lnTo>
                      <a:pt x="136" y="122"/>
                    </a:lnTo>
                    <a:lnTo>
                      <a:pt x="134" y="112"/>
                    </a:lnTo>
                    <a:lnTo>
                      <a:pt x="134" y="112"/>
                    </a:lnTo>
                    <a:lnTo>
                      <a:pt x="136" y="106"/>
                    </a:lnTo>
                    <a:lnTo>
                      <a:pt x="138" y="98"/>
                    </a:lnTo>
                    <a:lnTo>
                      <a:pt x="142" y="92"/>
                    </a:lnTo>
                    <a:lnTo>
                      <a:pt x="146" y="88"/>
                    </a:lnTo>
                    <a:lnTo>
                      <a:pt x="152" y="82"/>
                    </a:lnTo>
                    <a:lnTo>
                      <a:pt x="158" y="80"/>
                    </a:lnTo>
                    <a:lnTo>
                      <a:pt x="164" y="78"/>
                    </a:lnTo>
                    <a:lnTo>
                      <a:pt x="172" y="76"/>
                    </a:lnTo>
                    <a:lnTo>
                      <a:pt x="172" y="76"/>
                    </a:lnTo>
                    <a:lnTo>
                      <a:pt x="178" y="78"/>
                    </a:lnTo>
                    <a:lnTo>
                      <a:pt x="186" y="80"/>
                    </a:lnTo>
                    <a:lnTo>
                      <a:pt x="192" y="82"/>
                    </a:lnTo>
                    <a:lnTo>
                      <a:pt x="198" y="88"/>
                    </a:lnTo>
                    <a:lnTo>
                      <a:pt x="202" y="92"/>
                    </a:lnTo>
                    <a:lnTo>
                      <a:pt x="204" y="98"/>
                    </a:lnTo>
                    <a:lnTo>
                      <a:pt x="208" y="106"/>
                    </a:lnTo>
                    <a:lnTo>
                      <a:pt x="208" y="112"/>
                    </a:lnTo>
                    <a:lnTo>
                      <a:pt x="208" y="112"/>
                    </a:lnTo>
                    <a:lnTo>
                      <a:pt x="206" y="120"/>
                    </a:lnTo>
                    <a:lnTo>
                      <a:pt x="204" y="128"/>
                    </a:lnTo>
                    <a:lnTo>
                      <a:pt x="200" y="134"/>
                    </a:lnTo>
                    <a:lnTo>
                      <a:pt x="196" y="140"/>
                    </a:lnTo>
                    <a:lnTo>
                      <a:pt x="220" y="228"/>
                    </a:lnTo>
                    <a:lnTo>
                      <a:pt x="126" y="228"/>
                    </a:lnTo>
                    <a:close/>
                  </a:path>
                </a:pathLst>
              </a:custGeom>
              <a:solidFill>
                <a:srgbClr val="E31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" name="Freeform 6"/>
              <p:cNvSpPr>
                <a:spLocks/>
              </p:cNvSpPr>
              <p:nvPr userDrawn="1"/>
            </p:nvSpPr>
            <p:spPr bwMode="auto">
              <a:xfrm>
                <a:off x="7961313" y="101600"/>
                <a:ext cx="260350" cy="88900"/>
              </a:xfrm>
              <a:custGeom>
                <a:avLst/>
                <a:gdLst>
                  <a:gd name="T0" fmla="*/ 20 w 164"/>
                  <a:gd name="T1" fmla="*/ 56 h 56"/>
                  <a:gd name="T2" fmla="*/ 20 w 164"/>
                  <a:gd name="T3" fmla="*/ 56 h 56"/>
                  <a:gd name="T4" fmla="*/ 22 w 164"/>
                  <a:gd name="T5" fmla="*/ 46 h 56"/>
                  <a:gd name="T6" fmla="*/ 26 w 164"/>
                  <a:gd name="T7" fmla="*/ 36 h 56"/>
                  <a:gd name="T8" fmla="*/ 30 w 164"/>
                  <a:gd name="T9" fmla="*/ 30 h 56"/>
                  <a:gd name="T10" fmla="*/ 36 w 164"/>
                  <a:gd name="T11" fmla="*/ 26 h 56"/>
                  <a:gd name="T12" fmla="*/ 42 w 164"/>
                  <a:gd name="T13" fmla="*/ 22 h 56"/>
                  <a:gd name="T14" fmla="*/ 54 w 164"/>
                  <a:gd name="T15" fmla="*/ 20 h 56"/>
                  <a:gd name="T16" fmla="*/ 82 w 164"/>
                  <a:gd name="T17" fmla="*/ 20 h 56"/>
                  <a:gd name="T18" fmla="*/ 82 w 164"/>
                  <a:gd name="T19" fmla="*/ 20 h 56"/>
                  <a:gd name="T20" fmla="*/ 112 w 164"/>
                  <a:gd name="T21" fmla="*/ 20 h 56"/>
                  <a:gd name="T22" fmla="*/ 122 w 164"/>
                  <a:gd name="T23" fmla="*/ 22 h 56"/>
                  <a:gd name="T24" fmla="*/ 130 w 164"/>
                  <a:gd name="T25" fmla="*/ 26 h 56"/>
                  <a:gd name="T26" fmla="*/ 136 w 164"/>
                  <a:gd name="T27" fmla="*/ 30 h 56"/>
                  <a:gd name="T28" fmla="*/ 140 w 164"/>
                  <a:gd name="T29" fmla="*/ 36 h 56"/>
                  <a:gd name="T30" fmla="*/ 142 w 164"/>
                  <a:gd name="T31" fmla="*/ 46 h 56"/>
                  <a:gd name="T32" fmla="*/ 144 w 164"/>
                  <a:gd name="T33" fmla="*/ 56 h 56"/>
                  <a:gd name="T34" fmla="*/ 164 w 164"/>
                  <a:gd name="T35" fmla="*/ 56 h 56"/>
                  <a:gd name="T36" fmla="*/ 164 w 164"/>
                  <a:gd name="T37" fmla="*/ 56 h 56"/>
                  <a:gd name="T38" fmla="*/ 162 w 164"/>
                  <a:gd name="T39" fmla="*/ 38 h 56"/>
                  <a:gd name="T40" fmla="*/ 156 w 164"/>
                  <a:gd name="T41" fmla="*/ 24 h 56"/>
                  <a:gd name="T42" fmla="*/ 148 w 164"/>
                  <a:gd name="T43" fmla="*/ 14 h 56"/>
                  <a:gd name="T44" fmla="*/ 138 w 164"/>
                  <a:gd name="T45" fmla="*/ 6 h 56"/>
                  <a:gd name="T46" fmla="*/ 126 w 164"/>
                  <a:gd name="T47" fmla="*/ 2 h 56"/>
                  <a:gd name="T48" fmla="*/ 112 w 164"/>
                  <a:gd name="T49" fmla="*/ 0 h 56"/>
                  <a:gd name="T50" fmla="*/ 82 w 164"/>
                  <a:gd name="T51" fmla="*/ 0 h 56"/>
                  <a:gd name="T52" fmla="*/ 82 w 164"/>
                  <a:gd name="T53" fmla="*/ 0 h 56"/>
                  <a:gd name="T54" fmla="*/ 52 w 164"/>
                  <a:gd name="T55" fmla="*/ 0 h 56"/>
                  <a:gd name="T56" fmla="*/ 38 w 164"/>
                  <a:gd name="T57" fmla="*/ 2 h 56"/>
                  <a:gd name="T58" fmla="*/ 26 w 164"/>
                  <a:gd name="T59" fmla="*/ 6 h 56"/>
                  <a:gd name="T60" fmla="*/ 16 w 164"/>
                  <a:gd name="T61" fmla="*/ 14 h 56"/>
                  <a:gd name="T62" fmla="*/ 8 w 164"/>
                  <a:gd name="T63" fmla="*/ 24 h 56"/>
                  <a:gd name="T64" fmla="*/ 2 w 164"/>
                  <a:gd name="T65" fmla="*/ 38 h 56"/>
                  <a:gd name="T66" fmla="*/ 0 w 164"/>
                  <a:gd name="T67" fmla="*/ 56 h 56"/>
                  <a:gd name="T68" fmla="*/ 20 w 164"/>
                  <a:gd name="T6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64" h="56">
                    <a:moveTo>
                      <a:pt x="20" y="56"/>
                    </a:moveTo>
                    <a:lnTo>
                      <a:pt x="20" y="56"/>
                    </a:lnTo>
                    <a:lnTo>
                      <a:pt x="22" y="46"/>
                    </a:lnTo>
                    <a:lnTo>
                      <a:pt x="26" y="36"/>
                    </a:lnTo>
                    <a:lnTo>
                      <a:pt x="30" y="30"/>
                    </a:lnTo>
                    <a:lnTo>
                      <a:pt x="36" y="26"/>
                    </a:lnTo>
                    <a:lnTo>
                      <a:pt x="42" y="22"/>
                    </a:lnTo>
                    <a:lnTo>
                      <a:pt x="54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112" y="20"/>
                    </a:lnTo>
                    <a:lnTo>
                      <a:pt x="122" y="22"/>
                    </a:lnTo>
                    <a:lnTo>
                      <a:pt x="130" y="26"/>
                    </a:lnTo>
                    <a:lnTo>
                      <a:pt x="136" y="30"/>
                    </a:lnTo>
                    <a:lnTo>
                      <a:pt x="140" y="36"/>
                    </a:lnTo>
                    <a:lnTo>
                      <a:pt x="142" y="46"/>
                    </a:lnTo>
                    <a:lnTo>
                      <a:pt x="14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2" y="38"/>
                    </a:lnTo>
                    <a:lnTo>
                      <a:pt x="156" y="24"/>
                    </a:lnTo>
                    <a:lnTo>
                      <a:pt x="148" y="14"/>
                    </a:lnTo>
                    <a:lnTo>
                      <a:pt x="138" y="6"/>
                    </a:lnTo>
                    <a:lnTo>
                      <a:pt x="126" y="2"/>
                    </a:lnTo>
                    <a:lnTo>
                      <a:pt x="11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52" y="0"/>
                    </a:lnTo>
                    <a:lnTo>
                      <a:pt x="38" y="2"/>
                    </a:lnTo>
                    <a:lnTo>
                      <a:pt x="26" y="6"/>
                    </a:lnTo>
                    <a:lnTo>
                      <a:pt x="16" y="14"/>
                    </a:lnTo>
                    <a:lnTo>
                      <a:pt x="8" y="24"/>
                    </a:lnTo>
                    <a:lnTo>
                      <a:pt x="2" y="38"/>
                    </a:lnTo>
                    <a:lnTo>
                      <a:pt x="0" y="56"/>
                    </a:lnTo>
                    <a:lnTo>
                      <a:pt x="20" y="56"/>
                    </a:lnTo>
                    <a:close/>
                  </a:path>
                </a:pathLst>
              </a:custGeom>
              <a:solidFill>
                <a:srgbClr val="E31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16200000">
              <a:off x="8191735" y="233433"/>
              <a:ext cx="563729" cy="1693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500" dirty="0" smtClean="0">
                  <a:solidFill>
                    <a:schemeClr val="bg1">
                      <a:lumMod val="65000"/>
                    </a:schemeClr>
                  </a:solidFill>
                </a:rPr>
                <a:t>strictly</a:t>
              </a:r>
              <a:endParaRPr lang="en-GB" sz="500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29" name="TextBox 28"/>
            <p:cNvSpPr txBox="1"/>
            <p:nvPr userDrawn="1"/>
          </p:nvSpPr>
          <p:spPr>
            <a:xfrm>
              <a:off x="8410803" y="506408"/>
              <a:ext cx="851853" cy="185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600" dirty="0" smtClean="0">
                  <a:solidFill>
                    <a:srgbClr val="FF0000"/>
                  </a:solidFill>
                </a:rPr>
                <a:t>CONFIDENTIAL</a:t>
              </a:r>
              <a:endParaRPr lang="en-GB" sz="600" dirty="0">
                <a:solidFill>
                  <a:srgbClr val="FF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61605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3"/>
      </a:buClr>
      <a:buSzPct val="120000"/>
      <a:buFont typeface="Verdana" pitchFamily="34" charset="0"/>
      <a:buChar char="_"/>
      <a:defRPr sz="1200" kern="1200">
        <a:solidFill>
          <a:srgbClr val="4D4D4D"/>
        </a:solidFill>
        <a:latin typeface="+mn-lt"/>
        <a:ea typeface="+mn-ea"/>
        <a:cs typeface="+mn-cs"/>
      </a:defRPr>
    </a:lvl1pPr>
    <a:lvl2pPr marL="628650" indent="-171450" algn="l" defTabSz="914400" rtl="0" eaLnBrk="1" latinLnBrk="0" hangingPunct="1">
      <a:buClr>
        <a:schemeClr val="accent3"/>
      </a:buClr>
      <a:buSzPct val="120000"/>
      <a:buFont typeface="Arial" pitchFamily="34" charset="0"/>
      <a:buChar char="•"/>
      <a:defRPr sz="1200" kern="1200">
        <a:solidFill>
          <a:srgbClr val="4D4D4D"/>
        </a:solidFill>
        <a:latin typeface="+mn-lt"/>
        <a:ea typeface="+mn-ea"/>
        <a:cs typeface="+mn-cs"/>
      </a:defRPr>
    </a:lvl2pPr>
    <a:lvl3pPr marL="1085850" indent="-171450" algn="l" defTabSz="914400" rtl="0" eaLnBrk="1" latinLnBrk="0" hangingPunct="1">
      <a:buClr>
        <a:schemeClr val="accent3"/>
      </a:buClr>
      <a:buSzPct val="120000"/>
      <a:buFont typeface="Arial" pitchFamily="34" charset="0"/>
      <a:buChar char="•"/>
      <a:defRPr sz="1200" kern="1200">
        <a:solidFill>
          <a:srgbClr val="4D4D4D"/>
        </a:solidFill>
        <a:latin typeface="+mn-lt"/>
        <a:ea typeface="+mn-ea"/>
        <a:cs typeface="+mn-cs"/>
      </a:defRPr>
    </a:lvl3pPr>
    <a:lvl4pPr marL="1543050" indent="-171450" algn="l" defTabSz="914400" rtl="0" eaLnBrk="1" latinLnBrk="0" hangingPunct="1">
      <a:buClr>
        <a:schemeClr val="accent3"/>
      </a:buClr>
      <a:buSzPct val="120000"/>
      <a:buFont typeface="Arial" pitchFamily="34" charset="0"/>
      <a:buChar char="•"/>
      <a:defRPr sz="1200" kern="1200">
        <a:solidFill>
          <a:srgbClr val="4D4D4D"/>
        </a:solidFill>
        <a:latin typeface="+mn-lt"/>
        <a:ea typeface="+mn-ea"/>
        <a:cs typeface="+mn-cs"/>
      </a:defRPr>
    </a:lvl4pPr>
    <a:lvl5pPr marL="2000250" indent="-171450" algn="l" defTabSz="914400" rtl="0" eaLnBrk="1" latinLnBrk="0" hangingPunct="1">
      <a:buClr>
        <a:schemeClr val="accent3"/>
      </a:buClr>
      <a:buSzPct val="120000"/>
      <a:buFont typeface="Arial" pitchFamily="34" charset="0"/>
      <a:buChar char="•"/>
      <a:defRPr sz="1200" kern="1200">
        <a:solidFill>
          <a:srgbClr val="4D4D4D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w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w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w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ST -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1463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0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n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5621" y="2395098"/>
            <a:ext cx="6718887" cy="4479258"/>
          </a:xfrm>
          <a:prstGeom prst="rect">
            <a:avLst/>
          </a:prstGeom>
        </p:spPr>
      </p:pic>
      <p:pic>
        <p:nvPicPr>
          <p:cNvPr id="3" name="Imagen 14" descr="mascara 2.w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5621" y="-54496"/>
            <a:ext cx="9252519" cy="693939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itle 6"/>
          <p:cNvSpPr>
            <a:spLocks noGrp="1"/>
          </p:cNvSpPr>
          <p:nvPr>
            <p:ph type="title" hasCustomPrompt="1"/>
          </p:nvPr>
        </p:nvSpPr>
        <p:spPr>
          <a:xfrm>
            <a:off x="424309" y="1052736"/>
            <a:ext cx="5947891" cy="1908118"/>
          </a:xfrm>
          <a:prstGeom prst="rect">
            <a:avLst/>
          </a:prstGeom>
          <a:ln>
            <a:noFill/>
          </a:ln>
        </p:spPr>
        <p:txBody>
          <a:bodyPr anchor="b">
            <a:normAutofit/>
          </a:bodyPr>
          <a:lstStyle>
            <a:lvl1pPr algn="r">
              <a:defRPr kumimoji="0" lang="en-US" sz="2600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</a:defRPr>
            </a:lvl1pPr>
          </a:lstStyle>
          <a:p>
            <a:pPr marL="0" marR="0" lvl="0" indent="0" algn="r" defTabSz="914400" fontAlgn="auto" latinLnBrk="0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&lt;Name of the project&gt;</a:t>
            </a:r>
            <a:endParaRPr lang="en-US" dirty="0"/>
          </a:p>
        </p:txBody>
      </p:sp>
      <p:cxnSp>
        <p:nvCxnSpPr>
          <p:cNvPr id="5" name="Conector recto 12"/>
          <p:cNvCxnSpPr/>
          <p:nvPr userDrawn="1"/>
        </p:nvCxnSpPr>
        <p:spPr>
          <a:xfrm flipH="1">
            <a:off x="6419269" y="2836310"/>
            <a:ext cx="2166838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6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419269" y="2924944"/>
            <a:ext cx="2166838" cy="566309"/>
          </a:xfrm>
          <a:prstGeom prst="rect">
            <a:avLst/>
          </a:prstGeom>
          <a:ln>
            <a:noFill/>
          </a:ln>
        </p:spPr>
        <p:txBody>
          <a:bodyPr lIns="0" rIns="0">
            <a:spAutoFit/>
          </a:bodyPr>
          <a:lstStyle>
            <a:lvl1pPr marL="342900" indent="-342900">
              <a:buNone/>
              <a:defRPr lang="en-US" sz="1400" kern="1200" baseline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2400" kern="1200" smtClean="0">
                <a:solidFill>
                  <a:schemeClr val="tx1">
                    <a:tint val="75000"/>
                  </a:schemeClr>
                </a:solidFill>
                <a:ea typeface="+mn-ea"/>
                <a:cs typeface="+mn-cs"/>
              </a:defRPr>
            </a:lvl2pPr>
            <a:lvl3pPr>
              <a:defRPr lang="en-US" sz="2000" kern="1200" smtClean="0">
                <a:solidFill>
                  <a:schemeClr val="tx1">
                    <a:tint val="75000"/>
                  </a:schemeClr>
                </a:solidFill>
                <a:ea typeface="+mn-ea"/>
                <a:cs typeface="+mn-cs"/>
              </a:defRPr>
            </a:lvl3pPr>
            <a:lvl4pPr>
              <a:defRPr lang="en-US" sz="1800" kern="1200" smtClean="0">
                <a:solidFill>
                  <a:schemeClr val="tx1">
                    <a:tint val="75000"/>
                  </a:schemeClr>
                </a:solidFill>
                <a:ea typeface="+mn-ea"/>
                <a:cs typeface="+mn-cs"/>
              </a:defRPr>
            </a:lvl4pPr>
            <a:lvl5pPr>
              <a:defRPr lang="en-US" sz="1800" kern="1200">
                <a:solidFill>
                  <a:schemeClr val="tx1">
                    <a:tint val="75000"/>
                  </a:schemeClr>
                </a:solidFill>
                <a:ea typeface="+mn-ea"/>
                <a:cs typeface="+mn-cs"/>
              </a:defRPr>
            </a:lvl5pPr>
          </a:lstStyle>
          <a:p>
            <a:pPr marL="0" lvl="0" indent="0" defTabSz="914400" latinLnBrk="0">
              <a:buSzPct val="25000"/>
            </a:pPr>
            <a:r>
              <a:rPr lang="en-US" dirty="0" smtClean="0"/>
              <a:t>&lt;Meeting description&gt;</a:t>
            </a:r>
          </a:p>
          <a:p>
            <a:pPr marL="0" lvl="0" indent="0" defTabSz="914400" latinLnBrk="0">
              <a:buSzPct val="25000"/>
            </a:pPr>
            <a:r>
              <a:rPr lang="en-US" dirty="0" smtClean="0"/>
              <a:t>&lt;Date&gt;</a:t>
            </a:r>
            <a:endParaRPr lang="en-US" dirty="0"/>
          </a:p>
        </p:txBody>
      </p:sp>
      <p:sp>
        <p:nvSpPr>
          <p:cNvPr id="15" name="Text Box 11"/>
          <p:cNvSpPr txBox="1">
            <a:spLocks noChangeArrowheads="1"/>
          </p:cNvSpPr>
          <p:nvPr userDrawn="1"/>
        </p:nvSpPr>
        <p:spPr bwMode="auto">
          <a:xfrm rot="16200000">
            <a:off x="6347717" y="3020626"/>
            <a:ext cx="528796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defRPr/>
            </a:pPr>
            <a:r>
              <a:rPr lang="en-GB" sz="700" b="0" dirty="0" smtClean="0">
                <a:solidFill>
                  <a:srgbClr val="D7D2CB"/>
                </a:solidFill>
                <a:latin typeface="Verdana"/>
              </a:rPr>
              <a:t>© 2013 Amadeus IT Group SA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7051675" y="6305550"/>
            <a:ext cx="1762125" cy="43088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1A61A9"/>
              </a:buClr>
              <a:buSzPct val="80000"/>
              <a:buFont typeface="Wingdings 2" pitchFamily="18" charset="2"/>
              <a:buNone/>
              <a:defRPr/>
            </a:pPr>
            <a:r>
              <a:rPr lang="en-GB" sz="1000" b="1" dirty="0" smtClean="0">
                <a:solidFill>
                  <a:srgbClr val="FFFFFF"/>
                </a:solidFill>
              </a:rPr>
              <a:t>Corporate Strategy/</a:t>
            </a:r>
          </a:p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1A61A9"/>
              </a:buClr>
              <a:buSzPct val="80000"/>
              <a:buFont typeface="Wingdings 2" pitchFamily="18" charset="2"/>
              <a:buNone/>
              <a:defRPr/>
            </a:pPr>
            <a:r>
              <a:rPr lang="en-GB" sz="1000" b="1" dirty="0" smtClean="0">
                <a:solidFill>
                  <a:srgbClr val="FFFFFF"/>
                </a:solidFill>
              </a:rPr>
              <a:t>Business</a:t>
            </a:r>
            <a:r>
              <a:rPr lang="en-GB" sz="1000" b="1" baseline="0" dirty="0" smtClean="0">
                <a:solidFill>
                  <a:srgbClr val="FFFFFF"/>
                </a:solidFill>
              </a:rPr>
              <a:t> Strategy</a:t>
            </a:r>
            <a:endParaRPr lang="en-GB" sz="1000" b="1" dirty="0" smtClean="0">
              <a:solidFill>
                <a:srgbClr val="FFFFFF"/>
              </a:solidFill>
            </a:endParaRPr>
          </a:p>
        </p:txBody>
      </p:sp>
      <p:grpSp>
        <p:nvGrpSpPr>
          <p:cNvPr id="19" name="Group 4"/>
          <p:cNvGrpSpPr>
            <a:grpSpLocks noChangeAspect="1"/>
          </p:cNvGrpSpPr>
          <p:nvPr userDrawn="1"/>
        </p:nvGrpSpPr>
        <p:grpSpPr bwMode="auto">
          <a:xfrm>
            <a:off x="84643" y="105070"/>
            <a:ext cx="679332" cy="743201"/>
            <a:chOff x="1991" y="250"/>
            <a:chExt cx="3276" cy="3584"/>
          </a:xfrm>
        </p:grpSpPr>
        <p:sp>
          <p:nvSpPr>
            <p:cNvPr id="20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1991" y="250"/>
              <a:ext cx="3276" cy="35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" name="Freeform 5"/>
            <p:cNvSpPr>
              <a:spLocks/>
            </p:cNvSpPr>
            <p:nvPr userDrawn="1"/>
          </p:nvSpPr>
          <p:spPr bwMode="auto">
            <a:xfrm>
              <a:off x="3287" y="3560"/>
              <a:ext cx="158" cy="274"/>
            </a:xfrm>
            <a:custGeom>
              <a:avLst/>
              <a:gdLst>
                <a:gd name="T0" fmla="*/ 158 w 158"/>
                <a:gd name="T1" fmla="*/ 188 h 274"/>
                <a:gd name="T2" fmla="*/ 152 w 158"/>
                <a:gd name="T3" fmla="*/ 222 h 274"/>
                <a:gd name="T4" fmla="*/ 144 w 158"/>
                <a:gd name="T5" fmla="*/ 238 h 274"/>
                <a:gd name="T6" fmla="*/ 132 w 158"/>
                <a:gd name="T7" fmla="*/ 250 h 274"/>
                <a:gd name="T8" fmla="*/ 102 w 158"/>
                <a:gd name="T9" fmla="*/ 268 h 274"/>
                <a:gd name="T10" fmla="*/ 82 w 158"/>
                <a:gd name="T11" fmla="*/ 272 h 274"/>
                <a:gd name="T12" fmla="*/ 62 w 158"/>
                <a:gd name="T13" fmla="*/ 274 h 274"/>
                <a:gd name="T14" fmla="*/ 4 w 158"/>
                <a:gd name="T15" fmla="*/ 268 h 274"/>
                <a:gd name="T16" fmla="*/ 10 w 158"/>
                <a:gd name="T17" fmla="*/ 218 h 274"/>
                <a:gd name="T18" fmla="*/ 34 w 158"/>
                <a:gd name="T19" fmla="*/ 226 h 274"/>
                <a:gd name="T20" fmla="*/ 48 w 158"/>
                <a:gd name="T21" fmla="*/ 228 h 274"/>
                <a:gd name="T22" fmla="*/ 64 w 158"/>
                <a:gd name="T23" fmla="*/ 230 h 274"/>
                <a:gd name="T24" fmla="*/ 80 w 158"/>
                <a:gd name="T25" fmla="*/ 228 h 274"/>
                <a:gd name="T26" fmla="*/ 94 w 158"/>
                <a:gd name="T27" fmla="*/ 222 h 274"/>
                <a:gd name="T28" fmla="*/ 98 w 158"/>
                <a:gd name="T29" fmla="*/ 216 h 274"/>
                <a:gd name="T30" fmla="*/ 102 w 158"/>
                <a:gd name="T31" fmla="*/ 210 h 274"/>
                <a:gd name="T32" fmla="*/ 106 w 158"/>
                <a:gd name="T33" fmla="*/ 194 h 274"/>
                <a:gd name="T34" fmla="*/ 104 w 158"/>
                <a:gd name="T35" fmla="*/ 184 h 274"/>
                <a:gd name="T36" fmla="*/ 98 w 158"/>
                <a:gd name="T37" fmla="*/ 174 h 274"/>
                <a:gd name="T38" fmla="*/ 78 w 158"/>
                <a:gd name="T39" fmla="*/ 162 h 274"/>
                <a:gd name="T40" fmla="*/ 54 w 158"/>
                <a:gd name="T41" fmla="*/ 152 h 274"/>
                <a:gd name="T42" fmla="*/ 40 w 158"/>
                <a:gd name="T43" fmla="*/ 146 h 274"/>
                <a:gd name="T44" fmla="*/ 28 w 158"/>
                <a:gd name="T45" fmla="*/ 138 h 274"/>
                <a:gd name="T46" fmla="*/ 8 w 158"/>
                <a:gd name="T47" fmla="*/ 116 h 274"/>
                <a:gd name="T48" fmla="*/ 4 w 158"/>
                <a:gd name="T49" fmla="*/ 108 h 274"/>
                <a:gd name="T50" fmla="*/ 0 w 158"/>
                <a:gd name="T51" fmla="*/ 80 h 274"/>
                <a:gd name="T52" fmla="*/ 2 w 158"/>
                <a:gd name="T53" fmla="*/ 64 h 274"/>
                <a:gd name="T54" fmla="*/ 6 w 158"/>
                <a:gd name="T55" fmla="*/ 48 h 274"/>
                <a:gd name="T56" fmla="*/ 24 w 158"/>
                <a:gd name="T57" fmla="*/ 24 h 274"/>
                <a:gd name="T58" fmla="*/ 38 w 158"/>
                <a:gd name="T59" fmla="*/ 14 h 274"/>
                <a:gd name="T60" fmla="*/ 54 w 158"/>
                <a:gd name="T61" fmla="*/ 6 h 274"/>
                <a:gd name="T62" fmla="*/ 94 w 158"/>
                <a:gd name="T63" fmla="*/ 0 h 274"/>
                <a:gd name="T64" fmla="*/ 118 w 158"/>
                <a:gd name="T65" fmla="*/ 2 h 274"/>
                <a:gd name="T66" fmla="*/ 140 w 158"/>
                <a:gd name="T67" fmla="*/ 6 h 274"/>
                <a:gd name="T68" fmla="*/ 136 w 158"/>
                <a:gd name="T69" fmla="*/ 50 h 274"/>
                <a:gd name="T70" fmla="*/ 114 w 158"/>
                <a:gd name="T71" fmla="*/ 44 h 274"/>
                <a:gd name="T72" fmla="*/ 92 w 158"/>
                <a:gd name="T73" fmla="*/ 42 h 274"/>
                <a:gd name="T74" fmla="*/ 74 w 158"/>
                <a:gd name="T75" fmla="*/ 46 h 274"/>
                <a:gd name="T76" fmla="*/ 62 w 158"/>
                <a:gd name="T77" fmla="*/ 52 h 274"/>
                <a:gd name="T78" fmla="*/ 58 w 158"/>
                <a:gd name="T79" fmla="*/ 56 h 274"/>
                <a:gd name="T80" fmla="*/ 52 w 158"/>
                <a:gd name="T81" fmla="*/ 68 h 274"/>
                <a:gd name="T82" fmla="*/ 52 w 158"/>
                <a:gd name="T83" fmla="*/ 74 h 274"/>
                <a:gd name="T84" fmla="*/ 60 w 158"/>
                <a:gd name="T85" fmla="*/ 94 h 274"/>
                <a:gd name="T86" fmla="*/ 68 w 158"/>
                <a:gd name="T87" fmla="*/ 100 h 274"/>
                <a:gd name="T88" fmla="*/ 80 w 158"/>
                <a:gd name="T89" fmla="*/ 106 h 274"/>
                <a:gd name="T90" fmla="*/ 106 w 158"/>
                <a:gd name="T91" fmla="*/ 118 h 274"/>
                <a:gd name="T92" fmla="*/ 130 w 158"/>
                <a:gd name="T93" fmla="*/ 132 h 274"/>
                <a:gd name="T94" fmla="*/ 142 w 158"/>
                <a:gd name="T95" fmla="*/ 142 h 274"/>
                <a:gd name="T96" fmla="*/ 150 w 158"/>
                <a:gd name="T97" fmla="*/ 154 h 274"/>
                <a:gd name="T98" fmla="*/ 156 w 158"/>
                <a:gd name="T99" fmla="*/ 170 h 274"/>
                <a:gd name="T100" fmla="*/ 158 w 158"/>
                <a:gd name="T101" fmla="*/ 188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8" h="274">
                  <a:moveTo>
                    <a:pt x="158" y="188"/>
                  </a:moveTo>
                  <a:lnTo>
                    <a:pt x="158" y="188"/>
                  </a:lnTo>
                  <a:lnTo>
                    <a:pt x="156" y="206"/>
                  </a:lnTo>
                  <a:lnTo>
                    <a:pt x="152" y="222"/>
                  </a:lnTo>
                  <a:lnTo>
                    <a:pt x="152" y="222"/>
                  </a:lnTo>
                  <a:lnTo>
                    <a:pt x="144" y="238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18" y="260"/>
                  </a:lnTo>
                  <a:lnTo>
                    <a:pt x="102" y="268"/>
                  </a:lnTo>
                  <a:lnTo>
                    <a:pt x="102" y="268"/>
                  </a:lnTo>
                  <a:lnTo>
                    <a:pt x="82" y="272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30" y="272"/>
                  </a:lnTo>
                  <a:lnTo>
                    <a:pt x="4" y="268"/>
                  </a:lnTo>
                  <a:lnTo>
                    <a:pt x="10" y="218"/>
                  </a:lnTo>
                  <a:lnTo>
                    <a:pt x="10" y="218"/>
                  </a:lnTo>
                  <a:lnTo>
                    <a:pt x="22" y="222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48" y="228"/>
                  </a:lnTo>
                  <a:lnTo>
                    <a:pt x="64" y="230"/>
                  </a:lnTo>
                  <a:lnTo>
                    <a:pt x="64" y="230"/>
                  </a:lnTo>
                  <a:lnTo>
                    <a:pt x="80" y="228"/>
                  </a:lnTo>
                  <a:lnTo>
                    <a:pt x="80" y="228"/>
                  </a:lnTo>
                  <a:lnTo>
                    <a:pt x="88" y="226"/>
                  </a:lnTo>
                  <a:lnTo>
                    <a:pt x="94" y="222"/>
                  </a:lnTo>
                  <a:lnTo>
                    <a:pt x="94" y="222"/>
                  </a:lnTo>
                  <a:lnTo>
                    <a:pt x="98" y="216"/>
                  </a:lnTo>
                  <a:lnTo>
                    <a:pt x="102" y="210"/>
                  </a:lnTo>
                  <a:lnTo>
                    <a:pt x="102" y="210"/>
                  </a:lnTo>
                  <a:lnTo>
                    <a:pt x="106" y="204"/>
                  </a:lnTo>
                  <a:lnTo>
                    <a:pt x="106" y="194"/>
                  </a:lnTo>
                  <a:lnTo>
                    <a:pt x="106" y="194"/>
                  </a:lnTo>
                  <a:lnTo>
                    <a:pt x="104" y="184"/>
                  </a:lnTo>
                  <a:lnTo>
                    <a:pt x="98" y="174"/>
                  </a:lnTo>
                  <a:lnTo>
                    <a:pt x="98" y="174"/>
                  </a:lnTo>
                  <a:lnTo>
                    <a:pt x="90" y="168"/>
                  </a:lnTo>
                  <a:lnTo>
                    <a:pt x="78" y="162"/>
                  </a:lnTo>
                  <a:lnTo>
                    <a:pt x="78" y="162"/>
                  </a:lnTo>
                  <a:lnTo>
                    <a:pt x="54" y="152"/>
                  </a:lnTo>
                  <a:lnTo>
                    <a:pt x="54" y="152"/>
                  </a:lnTo>
                  <a:lnTo>
                    <a:pt x="40" y="146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16" y="128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4" y="108"/>
                  </a:lnTo>
                  <a:lnTo>
                    <a:pt x="2" y="10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2" y="64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14" y="3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38" y="14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74" y="2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118" y="2"/>
                  </a:lnTo>
                  <a:lnTo>
                    <a:pt x="118" y="2"/>
                  </a:lnTo>
                  <a:lnTo>
                    <a:pt x="140" y="6"/>
                  </a:lnTo>
                  <a:lnTo>
                    <a:pt x="136" y="50"/>
                  </a:lnTo>
                  <a:lnTo>
                    <a:pt x="136" y="50"/>
                  </a:lnTo>
                  <a:lnTo>
                    <a:pt x="114" y="44"/>
                  </a:lnTo>
                  <a:lnTo>
                    <a:pt x="114" y="4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82" y="44"/>
                  </a:lnTo>
                  <a:lnTo>
                    <a:pt x="74" y="46"/>
                  </a:lnTo>
                  <a:lnTo>
                    <a:pt x="68" y="48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58" y="56"/>
                  </a:lnTo>
                  <a:lnTo>
                    <a:pt x="54" y="62"/>
                  </a:lnTo>
                  <a:lnTo>
                    <a:pt x="52" y="68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4" y="86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8" y="100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106" y="118"/>
                  </a:lnTo>
                  <a:lnTo>
                    <a:pt x="106" y="118"/>
                  </a:lnTo>
                  <a:lnTo>
                    <a:pt x="118" y="124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42" y="142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4" y="162"/>
                  </a:lnTo>
                  <a:lnTo>
                    <a:pt x="156" y="170"/>
                  </a:lnTo>
                  <a:lnTo>
                    <a:pt x="158" y="188"/>
                  </a:lnTo>
                  <a:lnTo>
                    <a:pt x="158" y="1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3485" y="3566"/>
              <a:ext cx="136" cy="264"/>
            </a:xfrm>
            <a:custGeom>
              <a:avLst/>
              <a:gdLst>
                <a:gd name="T0" fmla="*/ 0 w 136"/>
                <a:gd name="T1" fmla="*/ 264 h 264"/>
                <a:gd name="T2" fmla="*/ 0 w 136"/>
                <a:gd name="T3" fmla="*/ 0 h 264"/>
                <a:gd name="T4" fmla="*/ 136 w 136"/>
                <a:gd name="T5" fmla="*/ 0 h 264"/>
                <a:gd name="T6" fmla="*/ 136 w 136"/>
                <a:gd name="T7" fmla="*/ 42 h 264"/>
                <a:gd name="T8" fmla="*/ 48 w 136"/>
                <a:gd name="T9" fmla="*/ 42 h 264"/>
                <a:gd name="T10" fmla="*/ 48 w 136"/>
                <a:gd name="T11" fmla="*/ 106 h 264"/>
                <a:gd name="T12" fmla="*/ 132 w 136"/>
                <a:gd name="T13" fmla="*/ 106 h 264"/>
                <a:gd name="T14" fmla="*/ 132 w 136"/>
                <a:gd name="T15" fmla="*/ 148 h 264"/>
                <a:gd name="T16" fmla="*/ 48 w 136"/>
                <a:gd name="T17" fmla="*/ 148 h 264"/>
                <a:gd name="T18" fmla="*/ 48 w 136"/>
                <a:gd name="T19" fmla="*/ 220 h 264"/>
                <a:gd name="T20" fmla="*/ 136 w 136"/>
                <a:gd name="T21" fmla="*/ 220 h 264"/>
                <a:gd name="T22" fmla="*/ 136 w 136"/>
                <a:gd name="T23" fmla="*/ 264 h 264"/>
                <a:gd name="T24" fmla="*/ 0 w 136"/>
                <a:gd name="T25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264">
                  <a:moveTo>
                    <a:pt x="0" y="264"/>
                  </a:moveTo>
                  <a:lnTo>
                    <a:pt x="0" y="0"/>
                  </a:lnTo>
                  <a:lnTo>
                    <a:pt x="136" y="0"/>
                  </a:lnTo>
                  <a:lnTo>
                    <a:pt x="136" y="42"/>
                  </a:lnTo>
                  <a:lnTo>
                    <a:pt x="48" y="42"/>
                  </a:lnTo>
                  <a:lnTo>
                    <a:pt x="48" y="106"/>
                  </a:lnTo>
                  <a:lnTo>
                    <a:pt x="132" y="106"/>
                  </a:lnTo>
                  <a:lnTo>
                    <a:pt x="132" y="148"/>
                  </a:lnTo>
                  <a:lnTo>
                    <a:pt x="48" y="148"/>
                  </a:lnTo>
                  <a:lnTo>
                    <a:pt x="48" y="220"/>
                  </a:lnTo>
                  <a:lnTo>
                    <a:pt x="136" y="220"/>
                  </a:lnTo>
                  <a:lnTo>
                    <a:pt x="136" y="264"/>
                  </a:lnTo>
                  <a:lnTo>
                    <a:pt x="0" y="2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Freeform 7"/>
            <p:cNvSpPr>
              <a:spLocks/>
            </p:cNvSpPr>
            <p:nvPr userDrawn="1"/>
          </p:nvSpPr>
          <p:spPr bwMode="auto">
            <a:xfrm>
              <a:off x="3655" y="3562"/>
              <a:ext cx="182" cy="272"/>
            </a:xfrm>
            <a:custGeom>
              <a:avLst/>
              <a:gdLst>
                <a:gd name="T0" fmla="*/ 150 w 182"/>
                <a:gd name="T1" fmla="*/ 268 h 272"/>
                <a:gd name="T2" fmla="*/ 116 w 182"/>
                <a:gd name="T3" fmla="*/ 272 h 272"/>
                <a:gd name="T4" fmla="*/ 100 w 182"/>
                <a:gd name="T5" fmla="*/ 270 h 272"/>
                <a:gd name="T6" fmla="*/ 74 w 182"/>
                <a:gd name="T7" fmla="*/ 266 h 272"/>
                <a:gd name="T8" fmla="*/ 62 w 182"/>
                <a:gd name="T9" fmla="*/ 260 h 272"/>
                <a:gd name="T10" fmla="*/ 42 w 182"/>
                <a:gd name="T11" fmla="*/ 248 h 272"/>
                <a:gd name="T12" fmla="*/ 26 w 182"/>
                <a:gd name="T13" fmla="*/ 232 h 272"/>
                <a:gd name="T14" fmla="*/ 14 w 182"/>
                <a:gd name="T15" fmla="*/ 214 h 272"/>
                <a:gd name="T16" fmla="*/ 6 w 182"/>
                <a:gd name="T17" fmla="*/ 192 h 272"/>
                <a:gd name="T18" fmla="*/ 0 w 182"/>
                <a:gd name="T19" fmla="*/ 144 h 272"/>
                <a:gd name="T20" fmla="*/ 2 w 182"/>
                <a:gd name="T21" fmla="*/ 114 h 272"/>
                <a:gd name="T22" fmla="*/ 8 w 182"/>
                <a:gd name="T23" fmla="*/ 86 h 272"/>
                <a:gd name="T24" fmla="*/ 18 w 182"/>
                <a:gd name="T25" fmla="*/ 62 h 272"/>
                <a:gd name="T26" fmla="*/ 32 w 182"/>
                <a:gd name="T27" fmla="*/ 40 h 272"/>
                <a:gd name="T28" fmla="*/ 40 w 182"/>
                <a:gd name="T29" fmla="*/ 32 h 272"/>
                <a:gd name="T30" fmla="*/ 60 w 182"/>
                <a:gd name="T31" fmla="*/ 18 h 272"/>
                <a:gd name="T32" fmla="*/ 70 w 182"/>
                <a:gd name="T33" fmla="*/ 12 h 272"/>
                <a:gd name="T34" fmla="*/ 96 w 182"/>
                <a:gd name="T35" fmla="*/ 4 h 272"/>
                <a:gd name="T36" fmla="*/ 126 w 182"/>
                <a:gd name="T37" fmla="*/ 0 h 272"/>
                <a:gd name="T38" fmla="*/ 154 w 182"/>
                <a:gd name="T39" fmla="*/ 2 h 272"/>
                <a:gd name="T40" fmla="*/ 180 w 182"/>
                <a:gd name="T41" fmla="*/ 8 h 272"/>
                <a:gd name="T42" fmla="*/ 172 w 182"/>
                <a:gd name="T43" fmla="*/ 56 h 272"/>
                <a:gd name="T44" fmla="*/ 124 w 182"/>
                <a:gd name="T45" fmla="*/ 46 h 272"/>
                <a:gd name="T46" fmla="*/ 106 w 182"/>
                <a:gd name="T47" fmla="*/ 48 h 272"/>
                <a:gd name="T48" fmla="*/ 92 w 182"/>
                <a:gd name="T49" fmla="*/ 52 h 272"/>
                <a:gd name="T50" fmla="*/ 70 w 182"/>
                <a:gd name="T51" fmla="*/ 72 h 272"/>
                <a:gd name="T52" fmla="*/ 64 w 182"/>
                <a:gd name="T53" fmla="*/ 84 h 272"/>
                <a:gd name="T54" fmla="*/ 58 w 182"/>
                <a:gd name="T55" fmla="*/ 100 h 272"/>
                <a:gd name="T56" fmla="*/ 54 w 182"/>
                <a:gd name="T57" fmla="*/ 136 h 272"/>
                <a:gd name="T58" fmla="*/ 54 w 182"/>
                <a:gd name="T59" fmla="*/ 156 h 272"/>
                <a:gd name="T60" fmla="*/ 64 w 182"/>
                <a:gd name="T61" fmla="*/ 188 h 272"/>
                <a:gd name="T62" fmla="*/ 70 w 182"/>
                <a:gd name="T63" fmla="*/ 202 h 272"/>
                <a:gd name="T64" fmla="*/ 94 w 182"/>
                <a:gd name="T65" fmla="*/ 218 h 272"/>
                <a:gd name="T66" fmla="*/ 126 w 182"/>
                <a:gd name="T67" fmla="*/ 224 h 272"/>
                <a:gd name="T68" fmla="*/ 138 w 182"/>
                <a:gd name="T69" fmla="*/ 224 h 272"/>
                <a:gd name="T70" fmla="*/ 152 w 182"/>
                <a:gd name="T71" fmla="*/ 222 h 272"/>
                <a:gd name="T72" fmla="*/ 174 w 182"/>
                <a:gd name="T73" fmla="*/ 214 h 272"/>
                <a:gd name="T74" fmla="*/ 182 w 182"/>
                <a:gd name="T75" fmla="*/ 258 h 272"/>
                <a:gd name="T76" fmla="*/ 150 w 182"/>
                <a:gd name="T77" fmla="*/ 268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2" h="272">
                  <a:moveTo>
                    <a:pt x="150" y="268"/>
                  </a:moveTo>
                  <a:lnTo>
                    <a:pt x="150" y="268"/>
                  </a:lnTo>
                  <a:lnTo>
                    <a:pt x="134" y="270"/>
                  </a:lnTo>
                  <a:lnTo>
                    <a:pt x="116" y="272"/>
                  </a:lnTo>
                  <a:lnTo>
                    <a:pt x="116" y="272"/>
                  </a:lnTo>
                  <a:lnTo>
                    <a:pt x="100" y="270"/>
                  </a:lnTo>
                  <a:lnTo>
                    <a:pt x="86" y="268"/>
                  </a:lnTo>
                  <a:lnTo>
                    <a:pt x="74" y="266"/>
                  </a:lnTo>
                  <a:lnTo>
                    <a:pt x="62" y="260"/>
                  </a:lnTo>
                  <a:lnTo>
                    <a:pt x="62" y="260"/>
                  </a:lnTo>
                  <a:lnTo>
                    <a:pt x="50" y="254"/>
                  </a:lnTo>
                  <a:lnTo>
                    <a:pt x="42" y="248"/>
                  </a:lnTo>
                  <a:lnTo>
                    <a:pt x="34" y="240"/>
                  </a:lnTo>
                  <a:lnTo>
                    <a:pt x="26" y="232"/>
                  </a:lnTo>
                  <a:lnTo>
                    <a:pt x="26" y="232"/>
                  </a:lnTo>
                  <a:lnTo>
                    <a:pt x="14" y="214"/>
                  </a:lnTo>
                  <a:lnTo>
                    <a:pt x="6" y="192"/>
                  </a:lnTo>
                  <a:lnTo>
                    <a:pt x="6" y="192"/>
                  </a:lnTo>
                  <a:lnTo>
                    <a:pt x="2" y="168"/>
                  </a:lnTo>
                  <a:lnTo>
                    <a:pt x="0" y="144"/>
                  </a:lnTo>
                  <a:lnTo>
                    <a:pt x="0" y="144"/>
                  </a:lnTo>
                  <a:lnTo>
                    <a:pt x="2" y="114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12" y="74"/>
                  </a:lnTo>
                  <a:lnTo>
                    <a:pt x="18" y="62"/>
                  </a:lnTo>
                  <a:lnTo>
                    <a:pt x="24" y="5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40" y="32"/>
                  </a:lnTo>
                  <a:lnTo>
                    <a:pt x="50" y="24"/>
                  </a:lnTo>
                  <a:lnTo>
                    <a:pt x="60" y="18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84" y="6"/>
                  </a:lnTo>
                  <a:lnTo>
                    <a:pt x="96" y="4"/>
                  </a:lnTo>
                  <a:lnTo>
                    <a:pt x="110" y="2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54" y="2"/>
                  </a:lnTo>
                  <a:lnTo>
                    <a:pt x="154" y="2"/>
                  </a:lnTo>
                  <a:lnTo>
                    <a:pt x="180" y="8"/>
                  </a:lnTo>
                  <a:lnTo>
                    <a:pt x="172" y="56"/>
                  </a:lnTo>
                  <a:lnTo>
                    <a:pt x="172" y="56"/>
                  </a:lnTo>
                  <a:lnTo>
                    <a:pt x="148" y="48"/>
                  </a:lnTo>
                  <a:lnTo>
                    <a:pt x="124" y="46"/>
                  </a:lnTo>
                  <a:lnTo>
                    <a:pt x="124" y="46"/>
                  </a:lnTo>
                  <a:lnTo>
                    <a:pt x="106" y="48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80" y="60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64" y="84"/>
                  </a:lnTo>
                  <a:lnTo>
                    <a:pt x="58" y="100"/>
                  </a:lnTo>
                  <a:lnTo>
                    <a:pt x="58" y="100"/>
                  </a:lnTo>
                  <a:lnTo>
                    <a:pt x="54" y="116"/>
                  </a:lnTo>
                  <a:lnTo>
                    <a:pt x="54" y="136"/>
                  </a:lnTo>
                  <a:lnTo>
                    <a:pt x="54" y="136"/>
                  </a:lnTo>
                  <a:lnTo>
                    <a:pt x="54" y="156"/>
                  </a:lnTo>
                  <a:lnTo>
                    <a:pt x="58" y="174"/>
                  </a:lnTo>
                  <a:lnTo>
                    <a:pt x="64" y="188"/>
                  </a:lnTo>
                  <a:lnTo>
                    <a:pt x="70" y="202"/>
                  </a:lnTo>
                  <a:lnTo>
                    <a:pt x="70" y="202"/>
                  </a:lnTo>
                  <a:lnTo>
                    <a:pt x="80" y="212"/>
                  </a:lnTo>
                  <a:lnTo>
                    <a:pt x="94" y="218"/>
                  </a:lnTo>
                  <a:lnTo>
                    <a:pt x="108" y="224"/>
                  </a:lnTo>
                  <a:lnTo>
                    <a:pt x="126" y="224"/>
                  </a:lnTo>
                  <a:lnTo>
                    <a:pt x="126" y="224"/>
                  </a:lnTo>
                  <a:lnTo>
                    <a:pt x="138" y="224"/>
                  </a:lnTo>
                  <a:lnTo>
                    <a:pt x="152" y="222"/>
                  </a:lnTo>
                  <a:lnTo>
                    <a:pt x="152" y="222"/>
                  </a:lnTo>
                  <a:lnTo>
                    <a:pt x="164" y="218"/>
                  </a:lnTo>
                  <a:lnTo>
                    <a:pt x="174" y="214"/>
                  </a:lnTo>
                  <a:lnTo>
                    <a:pt x="182" y="258"/>
                  </a:lnTo>
                  <a:lnTo>
                    <a:pt x="182" y="258"/>
                  </a:lnTo>
                  <a:lnTo>
                    <a:pt x="166" y="264"/>
                  </a:lnTo>
                  <a:lnTo>
                    <a:pt x="150" y="268"/>
                  </a:lnTo>
                  <a:lnTo>
                    <a:pt x="150" y="26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Freeform 23"/>
            <p:cNvSpPr>
              <a:spLocks noEditPoints="1"/>
            </p:cNvSpPr>
            <p:nvPr userDrawn="1"/>
          </p:nvSpPr>
          <p:spPr bwMode="auto">
            <a:xfrm>
              <a:off x="3877" y="3564"/>
              <a:ext cx="180" cy="266"/>
            </a:xfrm>
            <a:custGeom>
              <a:avLst/>
              <a:gdLst>
                <a:gd name="T0" fmla="*/ 52 w 180"/>
                <a:gd name="T1" fmla="*/ 156 h 266"/>
                <a:gd name="T2" fmla="*/ 48 w 180"/>
                <a:gd name="T3" fmla="*/ 266 h 266"/>
                <a:gd name="T4" fmla="*/ 0 w 180"/>
                <a:gd name="T5" fmla="*/ 2 h 266"/>
                <a:gd name="T6" fmla="*/ 32 w 180"/>
                <a:gd name="T7" fmla="*/ 0 h 266"/>
                <a:gd name="T8" fmla="*/ 72 w 180"/>
                <a:gd name="T9" fmla="*/ 0 h 266"/>
                <a:gd name="T10" fmla="*/ 92 w 180"/>
                <a:gd name="T11" fmla="*/ 0 h 266"/>
                <a:gd name="T12" fmla="*/ 110 w 180"/>
                <a:gd name="T13" fmla="*/ 4 h 266"/>
                <a:gd name="T14" fmla="*/ 138 w 180"/>
                <a:gd name="T15" fmla="*/ 16 h 266"/>
                <a:gd name="T16" fmla="*/ 148 w 180"/>
                <a:gd name="T17" fmla="*/ 26 h 266"/>
                <a:gd name="T18" fmla="*/ 156 w 180"/>
                <a:gd name="T19" fmla="*/ 40 h 266"/>
                <a:gd name="T20" fmla="*/ 164 w 180"/>
                <a:gd name="T21" fmla="*/ 74 h 266"/>
                <a:gd name="T22" fmla="*/ 162 w 180"/>
                <a:gd name="T23" fmla="*/ 88 h 266"/>
                <a:gd name="T24" fmla="*/ 158 w 180"/>
                <a:gd name="T25" fmla="*/ 102 h 266"/>
                <a:gd name="T26" fmla="*/ 146 w 180"/>
                <a:gd name="T27" fmla="*/ 124 h 266"/>
                <a:gd name="T28" fmla="*/ 136 w 180"/>
                <a:gd name="T29" fmla="*/ 132 h 266"/>
                <a:gd name="T30" fmla="*/ 126 w 180"/>
                <a:gd name="T31" fmla="*/ 140 h 266"/>
                <a:gd name="T32" fmla="*/ 102 w 180"/>
                <a:gd name="T33" fmla="*/ 148 h 266"/>
                <a:gd name="T34" fmla="*/ 112 w 180"/>
                <a:gd name="T35" fmla="*/ 162 h 266"/>
                <a:gd name="T36" fmla="*/ 122 w 180"/>
                <a:gd name="T37" fmla="*/ 176 h 266"/>
                <a:gd name="T38" fmla="*/ 120 w 180"/>
                <a:gd name="T39" fmla="*/ 266 h 266"/>
                <a:gd name="T40" fmla="*/ 112 w 180"/>
                <a:gd name="T41" fmla="*/ 80 h 266"/>
                <a:gd name="T42" fmla="*/ 110 w 180"/>
                <a:gd name="T43" fmla="*/ 62 h 266"/>
                <a:gd name="T44" fmla="*/ 102 w 180"/>
                <a:gd name="T45" fmla="*/ 52 h 266"/>
                <a:gd name="T46" fmla="*/ 88 w 180"/>
                <a:gd name="T47" fmla="*/ 44 h 266"/>
                <a:gd name="T48" fmla="*/ 68 w 180"/>
                <a:gd name="T49" fmla="*/ 42 h 266"/>
                <a:gd name="T50" fmla="*/ 58 w 180"/>
                <a:gd name="T51" fmla="*/ 42 h 266"/>
                <a:gd name="T52" fmla="*/ 48 w 180"/>
                <a:gd name="T53" fmla="*/ 42 h 266"/>
                <a:gd name="T54" fmla="*/ 48 w 180"/>
                <a:gd name="T55" fmla="*/ 118 h 266"/>
                <a:gd name="T56" fmla="*/ 56 w 180"/>
                <a:gd name="T57" fmla="*/ 120 h 266"/>
                <a:gd name="T58" fmla="*/ 66 w 180"/>
                <a:gd name="T59" fmla="*/ 120 h 266"/>
                <a:gd name="T60" fmla="*/ 86 w 180"/>
                <a:gd name="T61" fmla="*/ 116 h 266"/>
                <a:gd name="T62" fmla="*/ 100 w 180"/>
                <a:gd name="T63" fmla="*/ 108 h 266"/>
                <a:gd name="T64" fmla="*/ 106 w 180"/>
                <a:gd name="T65" fmla="*/ 104 h 266"/>
                <a:gd name="T66" fmla="*/ 112 w 180"/>
                <a:gd name="T67" fmla="*/ 88 h 266"/>
                <a:gd name="T68" fmla="*/ 112 w 180"/>
                <a:gd name="T69" fmla="*/ 8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0" h="266">
                  <a:moveTo>
                    <a:pt x="120" y="266"/>
                  </a:moveTo>
                  <a:lnTo>
                    <a:pt x="52" y="156"/>
                  </a:lnTo>
                  <a:lnTo>
                    <a:pt x="48" y="156"/>
                  </a:lnTo>
                  <a:lnTo>
                    <a:pt x="48" y="266"/>
                  </a:lnTo>
                  <a:lnTo>
                    <a:pt x="0" y="266"/>
                  </a:lnTo>
                  <a:lnTo>
                    <a:pt x="0" y="2"/>
                  </a:lnTo>
                  <a:lnTo>
                    <a:pt x="0" y="2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92" y="0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26" y="8"/>
                  </a:lnTo>
                  <a:lnTo>
                    <a:pt x="138" y="16"/>
                  </a:lnTo>
                  <a:lnTo>
                    <a:pt x="138" y="16"/>
                  </a:lnTo>
                  <a:lnTo>
                    <a:pt x="148" y="26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62" y="56"/>
                  </a:lnTo>
                  <a:lnTo>
                    <a:pt x="164" y="74"/>
                  </a:lnTo>
                  <a:lnTo>
                    <a:pt x="164" y="74"/>
                  </a:lnTo>
                  <a:lnTo>
                    <a:pt x="162" y="88"/>
                  </a:lnTo>
                  <a:lnTo>
                    <a:pt x="158" y="102"/>
                  </a:lnTo>
                  <a:lnTo>
                    <a:pt x="158" y="102"/>
                  </a:lnTo>
                  <a:lnTo>
                    <a:pt x="154" y="114"/>
                  </a:lnTo>
                  <a:lnTo>
                    <a:pt x="146" y="124"/>
                  </a:lnTo>
                  <a:lnTo>
                    <a:pt x="146" y="124"/>
                  </a:lnTo>
                  <a:lnTo>
                    <a:pt x="136" y="132"/>
                  </a:lnTo>
                  <a:lnTo>
                    <a:pt x="126" y="140"/>
                  </a:lnTo>
                  <a:lnTo>
                    <a:pt x="126" y="140"/>
                  </a:lnTo>
                  <a:lnTo>
                    <a:pt x="114" y="144"/>
                  </a:lnTo>
                  <a:lnTo>
                    <a:pt x="102" y="148"/>
                  </a:lnTo>
                  <a:lnTo>
                    <a:pt x="102" y="148"/>
                  </a:lnTo>
                  <a:lnTo>
                    <a:pt x="112" y="162"/>
                  </a:lnTo>
                  <a:lnTo>
                    <a:pt x="112" y="162"/>
                  </a:lnTo>
                  <a:lnTo>
                    <a:pt x="122" y="176"/>
                  </a:lnTo>
                  <a:lnTo>
                    <a:pt x="180" y="266"/>
                  </a:lnTo>
                  <a:lnTo>
                    <a:pt x="120" y="266"/>
                  </a:lnTo>
                  <a:close/>
                  <a:moveTo>
                    <a:pt x="112" y="80"/>
                  </a:moveTo>
                  <a:lnTo>
                    <a:pt x="112" y="80"/>
                  </a:lnTo>
                  <a:lnTo>
                    <a:pt x="112" y="70"/>
                  </a:lnTo>
                  <a:lnTo>
                    <a:pt x="110" y="62"/>
                  </a:lnTo>
                  <a:lnTo>
                    <a:pt x="106" y="56"/>
                  </a:lnTo>
                  <a:lnTo>
                    <a:pt x="102" y="52"/>
                  </a:lnTo>
                  <a:lnTo>
                    <a:pt x="96" y="46"/>
                  </a:lnTo>
                  <a:lnTo>
                    <a:pt x="88" y="44"/>
                  </a:lnTo>
                  <a:lnTo>
                    <a:pt x="78" y="42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48" y="42"/>
                  </a:lnTo>
                  <a:lnTo>
                    <a:pt x="48" y="118"/>
                  </a:lnTo>
                  <a:lnTo>
                    <a:pt x="48" y="118"/>
                  </a:lnTo>
                  <a:lnTo>
                    <a:pt x="56" y="120"/>
                  </a:lnTo>
                  <a:lnTo>
                    <a:pt x="56" y="120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76" y="118"/>
                  </a:lnTo>
                  <a:lnTo>
                    <a:pt x="86" y="116"/>
                  </a:lnTo>
                  <a:lnTo>
                    <a:pt x="94" y="114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6" y="104"/>
                  </a:lnTo>
                  <a:lnTo>
                    <a:pt x="110" y="96"/>
                  </a:lnTo>
                  <a:lnTo>
                    <a:pt x="112" y="88"/>
                  </a:lnTo>
                  <a:lnTo>
                    <a:pt x="112" y="80"/>
                  </a:lnTo>
                  <a:lnTo>
                    <a:pt x="112" y="8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4087" y="3566"/>
              <a:ext cx="136" cy="264"/>
            </a:xfrm>
            <a:custGeom>
              <a:avLst/>
              <a:gdLst>
                <a:gd name="T0" fmla="*/ 0 w 136"/>
                <a:gd name="T1" fmla="*/ 264 h 264"/>
                <a:gd name="T2" fmla="*/ 0 w 136"/>
                <a:gd name="T3" fmla="*/ 0 h 264"/>
                <a:gd name="T4" fmla="*/ 136 w 136"/>
                <a:gd name="T5" fmla="*/ 0 h 264"/>
                <a:gd name="T6" fmla="*/ 136 w 136"/>
                <a:gd name="T7" fmla="*/ 42 h 264"/>
                <a:gd name="T8" fmla="*/ 48 w 136"/>
                <a:gd name="T9" fmla="*/ 42 h 264"/>
                <a:gd name="T10" fmla="*/ 48 w 136"/>
                <a:gd name="T11" fmla="*/ 106 h 264"/>
                <a:gd name="T12" fmla="*/ 132 w 136"/>
                <a:gd name="T13" fmla="*/ 106 h 264"/>
                <a:gd name="T14" fmla="*/ 132 w 136"/>
                <a:gd name="T15" fmla="*/ 148 h 264"/>
                <a:gd name="T16" fmla="*/ 48 w 136"/>
                <a:gd name="T17" fmla="*/ 148 h 264"/>
                <a:gd name="T18" fmla="*/ 48 w 136"/>
                <a:gd name="T19" fmla="*/ 220 h 264"/>
                <a:gd name="T20" fmla="*/ 136 w 136"/>
                <a:gd name="T21" fmla="*/ 220 h 264"/>
                <a:gd name="T22" fmla="*/ 136 w 136"/>
                <a:gd name="T23" fmla="*/ 264 h 264"/>
                <a:gd name="T24" fmla="*/ 0 w 136"/>
                <a:gd name="T25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264">
                  <a:moveTo>
                    <a:pt x="0" y="264"/>
                  </a:moveTo>
                  <a:lnTo>
                    <a:pt x="0" y="0"/>
                  </a:lnTo>
                  <a:lnTo>
                    <a:pt x="136" y="0"/>
                  </a:lnTo>
                  <a:lnTo>
                    <a:pt x="136" y="42"/>
                  </a:lnTo>
                  <a:lnTo>
                    <a:pt x="48" y="42"/>
                  </a:lnTo>
                  <a:lnTo>
                    <a:pt x="48" y="106"/>
                  </a:lnTo>
                  <a:lnTo>
                    <a:pt x="132" y="106"/>
                  </a:lnTo>
                  <a:lnTo>
                    <a:pt x="132" y="148"/>
                  </a:lnTo>
                  <a:lnTo>
                    <a:pt x="48" y="148"/>
                  </a:lnTo>
                  <a:lnTo>
                    <a:pt x="48" y="220"/>
                  </a:lnTo>
                  <a:lnTo>
                    <a:pt x="136" y="220"/>
                  </a:lnTo>
                  <a:lnTo>
                    <a:pt x="136" y="264"/>
                  </a:lnTo>
                  <a:lnTo>
                    <a:pt x="0" y="2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4251" y="3566"/>
              <a:ext cx="178" cy="264"/>
            </a:xfrm>
            <a:custGeom>
              <a:avLst/>
              <a:gdLst>
                <a:gd name="T0" fmla="*/ 112 w 178"/>
                <a:gd name="T1" fmla="*/ 42 h 264"/>
                <a:gd name="T2" fmla="*/ 112 w 178"/>
                <a:gd name="T3" fmla="*/ 264 h 264"/>
                <a:gd name="T4" fmla="*/ 64 w 178"/>
                <a:gd name="T5" fmla="*/ 264 h 264"/>
                <a:gd name="T6" fmla="*/ 64 w 178"/>
                <a:gd name="T7" fmla="*/ 42 h 264"/>
                <a:gd name="T8" fmla="*/ 0 w 178"/>
                <a:gd name="T9" fmla="*/ 42 h 264"/>
                <a:gd name="T10" fmla="*/ 0 w 178"/>
                <a:gd name="T11" fmla="*/ 0 h 264"/>
                <a:gd name="T12" fmla="*/ 178 w 178"/>
                <a:gd name="T13" fmla="*/ 0 h 264"/>
                <a:gd name="T14" fmla="*/ 178 w 178"/>
                <a:gd name="T15" fmla="*/ 42 h 264"/>
                <a:gd name="T16" fmla="*/ 112 w 178"/>
                <a:gd name="T17" fmla="*/ 4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8" h="264">
                  <a:moveTo>
                    <a:pt x="112" y="42"/>
                  </a:moveTo>
                  <a:lnTo>
                    <a:pt x="112" y="264"/>
                  </a:lnTo>
                  <a:lnTo>
                    <a:pt x="64" y="264"/>
                  </a:lnTo>
                  <a:lnTo>
                    <a:pt x="64" y="42"/>
                  </a:lnTo>
                  <a:lnTo>
                    <a:pt x="0" y="42"/>
                  </a:lnTo>
                  <a:lnTo>
                    <a:pt x="0" y="0"/>
                  </a:lnTo>
                  <a:lnTo>
                    <a:pt x="178" y="0"/>
                  </a:lnTo>
                  <a:lnTo>
                    <a:pt x="178" y="42"/>
                  </a:lnTo>
                  <a:lnTo>
                    <a:pt x="112" y="4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3287" y="3560"/>
              <a:ext cx="158" cy="274"/>
            </a:xfrm>
            <a:custGeom>
              <a:avLst/>
              <a:gdLst>
                <a:gd name="T0" fmla="*/ 158 w 158"/>
                <a:gd name="T1" fmla="*/ 188 h 274"/>
                <a:gd name="T2" fmla="*/ 152 w 158"/>
                <a:gd name="T3" fmla="*/ 222 h 274"/>
                <a:gd name="T4" fmla="*/ 144 w 158"/>
                <a:gd name="T5" fmla="*/ 238 h 274"/>
                <a:gd name="T6" fmla="*/ 132 w 158"/>
                <a:gd name="T7" fmla="*/ 250 h 274"/>
                <a:gd name="T8" fmla="*/ 102 w 158"/>
                <a:gd name="T9" fmla="*/ 268 h 274"/>
                <a:gd name="T10" fmla="*/ 82 w 158"/>
                <a:gd name="T11" fmla="*/ 272 h 274"/>
                <a:gd name="T12" fmla="*/ 62 w 158"/>
                <a:gd name="T13" fmla="*/ 274 h 274"/>
                <a:gd name="T14" fmla="*/ 4 w 158"/>
                <a:gd name="T15" fmla="*/ 268 h 274"/>
                <a:gd name="T16" fmla="*/ 10 w 158"/>
                <a:gd name="T17" fmla="*/ 218 h 274"/>
                <a:gd name="T18" fmla="*/ 34 w 158"/>
                <a:gd name="T19" fmla="*/ 226 h 274"/>
                <a:gd name="T20" fmla="*/ 48 w 158"/>
                <a:gd name="T21" fmla="*/ 228 h 274"/>
                <a:gd name="T22" fmla="*/ 64 w 158"/>
                <a:gd name="T23" fmla="*/ 230 h 274"/>
                <a:gd name="T24" fmla="*/ 80 w 158"/>
                <a:gd name="T25" fmla="*/ 228 h 274"/>
                <a:gd name="T26" fmla="*/ 94 w 158"/>
                <a:gd name="T27" fmla="*/ 222 h 274"/>
                <a:gd name="T28" fmla="*/ 98 w 158"/>
                <a:gd name="T29" fmla="*/ 216 h 274"/>
                <a:gd name="T30" fmla="*/ 102 w 158"/>
                <a:gd name="T31" fmla="*/ 210 h 274"/>
                <a:gd name="T32" fmla="*/ 106 w 158"/>
                <a:gd name="T33" fmla="*/ 194 h 274"/>
                <a:gd name="T34" fmla="*/ 104 w 158"/>
                <a:gd name="T35" fmla="*/ 184 h 274"/>
                <a:gd name="T36" fmla="*/ 98 w 158"/>
                <a:gd name="T37" fmla="*/ 174 h 274"/>
                <a:gd name="T38" fmla="*/ 78 w 158"/>
                <a:gd name="T39" fmla="*/ 162 h 274"/>
                <a:gd name="T40" fmla="*/ 54 w 158"/>
                <a:gd name="T41" fmla="*/ 152 h 274"/>
                <a:gd name="T42" fmla="*/ 40 w 158"/>
                <a:gd name="T43" fmla="*/ 146 h 274"/>
                <a:gd name="T44" fmla="*/ 28 w 158"/>
                <a:gd name="T45" fmla="*/ 138 h 274"/>
                <a:gd name="T46" fmla="*/ 8 w 158"/>
                <a:gd name="T47" fmla="*/ 116 h 274"/>
                <a:gd name="T48" fmla="*/ 4 w 158"/>
                <a:gd name="T49" fmla="*/ 108 h 274"/>
                <a:gd name="T50" fmla="*/ 0 w 158"/>
                <a:gd name="T51" fmla="*/ 80 h 274"/>
                <a:gd name="T52" fmla="*/ 2 w 158"/>
                <a:gd name="T53" fmla="*/ 64 h 274"/>
                <a:gd name="T54" fmla="*/ 6 w 158"/>
                <a:gd name="T55" fmla="*/ 48 h 274"/>
                <a:gd name="T56" fmla="*/ 24 w 158"/>
                <a:gd name="T57" fmla="*/ 24 h 274"/>
                <a:gd name="T58" fmla="*/ 38 w 158"/>
                <a:gd name="T59" fmla="*/ 14 h 274"/>
                <a:gd name="T60" fmla="*/ 54 w 158"/>
                <a:gd name="T61" fmla="*/ 6 h 274"/>
                <a:gd name="T62" fmla="*/ 94 w 158"/>
                <a:gd name="T63" fmla="*/ 0 h 274"/>
                <a:gd name="T64" fmla="*/ 118 w 158"/>
                <a:gd name="T65" fmla="*/ 2 h 274"/>
                <a:gd name="T66" fmla="*/ 140 w 158"/>
                <a:gd name="T67" fmla="*/ 6 h 274"/>
                <a:gd name="T68" fmla="*/ 136 w 158"/>
                <a:gd name="T69" fmla="*/ 50 h 274"/>
                <a:gd name="T70" fmla="*/ 114 w 158"/>
                <a:gd name="T71" fmla="*/ 44 h 274"/>
                <a:gd name="T72" fmla="*/ 92 w 158"/>
                <a:gd name="T73" fmla="*/ 42 h 274"/>
                <a:gd name="T74" fmla="*/ 74 w 158"/>
                <a:gd name="T75" fmla="*/ 46 h 274"/>
                <a:gd name="T76" fmla="*/ 62 w 158"/>
                <a:gd name="T77" fmla="*/ 52 h 274"/>
                <a:gd name="T78" fmla="*/ 58 w 158"/>
                <a:gd name="T79" fmla="*/ 56 h 274"/>
                <a:gd name="T80" fmla="*/ 52 w 158"/>
                <a:gd name="T81" fmla="*/ 68 h 274"/>
                <a:gd name="T82" fmla="*/ 52 w 158"/>
                <a:gd name="T83" fmla="*/ 74 h 274"/>
                <a:gd name="T84" fmla="*/ 60 w 158"/>
                <a:gd name="T85" fmla="*/ 94 h 274"/>
                <a:gd name="T86" fmla="*/ 68 w 158"/>
                <a:gd name="T87" fmla="*/ 100 h 274"/>
                <a:gd name="T88" fmla="*/ 80 w 158"/>
                <a:gd name="T89" fmla="*/ 106 h 274"/>
                <a:gd name="T90" fmla="*/ 106 w 158"/>
                <a:gd name="T91" fmla="*/ 118 h 274"/>
                <a:gd name="T92" fmla="*/ 130 w 158"/>
                <a:gd name="T93" fmla="*/ 132 h 274"/>
                <a:gd name="T94" fmla="*/ 142 w 158"/>
                <a:gd name="T95" fmla="*/ 142 h 274"/>
                <a:gd name="T96" fmla="*/ 150 w 158"/>
                <a:gd name="T97" fmla="*/ 154 h 274"/>
                <a:gd name="T98" fmla="*/ 156 w 158"/>
                <a:gd name="T99" fmla="*/ 170 h 274"/>
                <a:gd name="T100" fmla="*/ 158 w 158"/>
                <a:gd name="T101" fmla="*/ 188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8" h="274">
                  <a:moveTo>
                    <a:pt x="158" y="188"/>
                  </a:moveTo>
                  <a:lnTo>
                    <a:pt x="158" y="188"/>
                  </a:lnTo>
                  <a:lnTo>
                    <a:pt x="156" y="206"/>
                  </a:lnTo>
                  <a:lnTo>
                    <a:pt x="152" y="222"/>
                  </a:lnTo>
                  <a:lnTo>
                    <a:pt x="152" y="222"/>
                  </a:lnTo>
                  <a:lnTo>
                    <a:pt x="144" y="238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18" y="260"/>
                  </a:lnTo>
                  <a:lnTo>
                    <a:pt x="102" y="268"/>
                  </a:lnTo>
                  <a:lnTo>
                    <a:pt x="102" y="268"/>
                  </a:lnTo>
                  <a:lnTo>
                    <a:pt x="82" y="272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30" y="272"/>
                  </a:lnTo>
                  <a:lnTo>
                    <a:pt x="4" y="268"/>
                  </a:lnTo>
                  <a:lnTo>
                    <a:pt x="10" y="218"/>
                  </a:lnTo>
                  <a:lnTo>
                    <a:pt x="10" y="218"/>
                  </a:lnTo>
                  <a:lnTo>
                    <a:pt x="22" y="222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48" y="228"/>
                  </a:lnTo>
                  <a:lnTo>
                    <a:pt x="64" y="230"/>
                  </a:lnTo>
                  <a:lnTo>
                    <a:pt x="64" y="230"/>
                  </a:lnTo>
                  <a:lnTo>
                    <a:pt x="80" y="228"/>
                  </a:lnTo>
                  <a:lnTo>
                    <a:pt x="80" y="228"/>
                  </a:lnTo>
                  <a:lnTo>
                    <a:pt x="88" y="226"/>
                  </a:lnTo>
                  <a:lnTo>
                    <a:pt x="94" y="222"/>
                  </a:lnTo>
                  <a:lnTo>
                    <a:pt x="94" y="222"/>
                  </a:lnTo>
                  <a:lnTo>
                    <a:pt x="98" y="216"/>
                  </a:lnTo>
                  <a:lnTo>
                    <a:pt x="102" y="210"/>
                  </a:lnTo>
                  <a:lnTo>
                    <a:pt x="102" y="210"/>
                  </a:lnTo>
                  <a:lnTo>
                    <a:pt x="106" y="204"/>
                  </a:lnTo>
                  <a:lnTo>
                    <a:pt x="106" y="194"/>
                  </a:lnTo>
                  <a:lnTo>
                    <a:pt x="106" y="194"/>
                  </a:lnTo>
                  <a:lnTo>
                    <a:pt x="104" y="184"/>
                  </a:lnTo>
                  <a:lnTo>
                    <a:pt x="98" y="174"/>
                  </a:lnTo>
                  <a:lnTo>
                    <a:pt x="98" y="174"/>
                  </a:lnTo>
                  <a:lnTo>
                    <a:pt x="90" y="168"/>
                  </a:lnTo>
                  <a:lnTo>
                    <a:pt x="78" y="162"/>
                  </a:lnTo>
                  <a:lnTo>
                    <a:pt x="78" y="162"/>
                  </a:lnTo>
                  <a:lnTo>
                    <a:pt x="54" y="152"/>
                  </a:lnTo>
                  <a:lnTo>
                    <a:pt x="54" y="152"/>
                  </a:lnTo>
                  <a:lnTo>
                    <a:pt x="40" y="146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16" y="128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4" y="108"/>
                  </a:lnTo>
                  <a:lnTo>
                    <a:pt x="2" y="10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2" y="64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14" y="3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38" y="14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74" y="2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118" y="2"/>
                  </a:lnTo>
                  <a:lnTo>
                    <a:pt x="118" y="2"/>
                  </a:lnTo>
                  <a:lnTo>
                    <a:pt x="140" y="6"/>
                  </a:lnTo>
                  <a:lnTo>
                    <a:pt x="136" y="50"/>
                  </a:lnTo>
                  <a:lnTo>
                    <a:pt x="136" y="50"/>
                  </a:lnTo>
                  <a:lnTo>
                    <a:pt x="114" y="44"/>
                  </a:lnTo>
                  <a:lnTo>
                    <a:pt x="114" y="4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82" y="44"/>
                  </a:lnTo>
                  <a:lnTo>
                    <a:pt x="74" y="46"/>
                  </a:lnTo>
                  <a:lnTo>
                    <a:pt x="68" y="48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58" y="56"/>
                  </a:lnTo>
                  <a:lnTo>
                    <a:pt x="54" y="62"/>
                  </a:lnTo>
                  <a:lnTo>
                    <a:pt x="52" y="68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4" y="86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8" y="100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106" y="118"/>
                  </a:lnTo>
                  <a:lnTo>
                    <a:pt x="106" y="118"/>
                  </a:lnTo>
                  <a:lnTo>
                    <a:pt x="118" y="124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42" y="142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4" y="162"/>
                  </a:lnTo>
                  <a:lnTo>
                    <a:pt x="156" y="170"/>
                  </a:lnTo>
                  <a:lnTo>
                    <a:pt x="158" y="188"/>
                  </a:lnTo>
                  <a:lnTo>
                    <a:pt x="158" y="18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3485" y="3566"/>
              <a:ext cx="136" cy="264"/>
            </a:xfrm>
            <a:custGeom>
              <a:avLst/>
              <a:gdLst>
                <a:gd name="T0" fmla="*/ 0 w 136"/>
                <a:gd name="T1" fmla="*/ 264 h 264"/>
                <a:gd name="T2" fmla="*/ 0 w 136"/>
                <a:gd name="T3" fmla="*/ 0 h 264"/>
                <a:gd name="T4" fmla="*/ 136 w 136"/>
                <a:gd name="T5" fmla="*/ 0 h 264"/>
                <a:gd name="T6" fmla="*/ 136 w 136"/>
                <a:gd name="T7" fmla="*/ 42 h 264"/>
                <a:gd name="T8" fmla="*/ 48 w 136"/>
                <a:gd name="T9" fmla="*/ 42 h 264"/>
                <a:gd name="T10" fmla="*/ 48 w 136"/>
                <a:gd name="T11" fmla="*/ 106 h 264"/>
                <a:gd name="T12" fmla="*/ 132 w 136"/>
                <a:gd name="T13" fmla="*/ 106 h 264"/>
                <a:gd name="T14" fmla="*/ 132 w 136"/>
                <a:gd name="T15" fmla="*/ 148 h 264"/>
                <a:gd name="T16" fmla="*/ 48 w 136"/>
                <a:gd name="T17" fmla="*/ 148 h 264"/>
                <a:gd name="T18" fmla="*/ 48 w 136"/>
                <a:gd name="T19" fmla="*/ 220 h 264"/>
                <a:gd name="T20" fmla="*/ 136 w 136"/>
                <a:gd name="T21" fmla="*/ 220 h 264"/>
                <a:gd name="T22" fmla="*/ 136 w 136"/>
                <a:gd name="T23" fmla="*/ 264 h 264"/>
                <a:gd name="T24" fmla="*/ 0 w 136"/>
                <a:gd name="T25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264">
                  <a:moveTo>
                    <a:pt x="0" y="264"/>
                  </a:moveTo>
                  <a:lnTo>
                    <a:pt x="0" y="0"/>
                  </a:lnTo>
                  <a:lnTo>
                    <a:pt x="136" y="0"/>
                  </a:lnTo>
                  <a:lnTo>
                    <a:pt x="136" y="42"/>
                  </a:lnTo>
                  <a:lnTo>
                    <a:pt x="48" y="42"/>
                  </a:lnTo>
                  <a:lnTo>
                    <a:pt x="48" y="106"/>
                  </a:lnTo>
                  <a:lnTo>
                    <a:pt x="132" y="106"/>
                  </a:lnTo>
                  <a:lnTo>
                    <a:pt x="132" y="148"/>
                  </a:lnTo>
                  <a:lnTo>
                    <a:pt x="48" y="148"/>
                  </a:lnTo>
                  <a:lnTo>
                    <a:pt x="48" y="220"/>
                  </a:lnTo>
                  <a:lnTo>
                    <a:pt x="136" y="220"/>
                  </a:lnTo>
                  <a:lnTo>
                    <a:pt x="136" y="264"/>
                  </a:lnTo>
                  <a:lnTo>
                    <a:pt x="0" y="26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3655" y="3562"/>
              <a:ext cx="182" cy="272"/>
            </a:xfrm>
            <a:custGeom>
              <a:avLst/>
              <a:gdLst>
                <a:gd name="T0" fmla="*/ 150 w 182"/>
                <a:gd name="T1" fmla="*/ 268 h 272"/>
                <a:gd name="T2" fmla="*/ 116 w 182"/>
                <a:gd name="T3" fmla="*/ 272 h 272"/>
                <a:gd name="T4" fmla="*/ 100 w 182"/>
                <a:gd name="T5" fmla="*/ 270 h 272"/>
                <a:gd name="T6" fmla="*/ 74 w 182"/>
                <a:gd name="T7" fmla="*/ 266 h 272"/>
                <a:gd name="T8" fmla="*/ 62 w 182"/>
                <a:gd name="T9" fmla="*/ 260 h 272"/>
                <a:gd name="T10" fmla="*/ 42 w 182"/>
                <a:gd name="T11" fmla="*/ 248 h 272"/>
                <a:gd name="T12" fmla="*/ 26 w 182"/>
                <a:gd name="T13" fmla="*/ 232 h 272"/>
                <a:gd name="T14" fmla="*/ 14 w 182"/>
                <a:gd name="T15" fmla="*/ 214 h 272"/>
                <a:gd name="T16" fmla="*/ 6 w 182"/>
                <a:gd name="T17" fmla="*/ 192 h 272"/>
                <a:gd name="T18" fmla="*/ 0 w 182"/>
                <a:gd name="T19" fmla="*/ 144 h 272"/>
                <a:gd name="T20" fmla="*/ 2 w 182"/>
                <a:gd name="T21" fmla="*/ 114 h 272"/>
                <a:gd name="T22" fmla="*/ 8 w 182"/>
                <a:gd name="T23" fmla="*/ 86 h 272"/>
                <a:gd name="T24" fmla="*/ 18 w 182"/>
                <a:gd name="T25" fmla="*/ 62 h 272"/>
                <a:gd name="T26" fmla="*/ 32 w 182"/>
                <a:gd name="T27" fmla="*/ 40 h 272"/>
                <a:gd name="T28" fmla="*/ 40 w 182"/>
                <a:gd name="T29" fmla="*/ 32 h 272"/>
                <a:gd name="T30" fmla="*/ 60 w 182"/>
                <a:gd name="T31" fmla="*/ 18 h 272"/>
                <a:gd name="T32" fmla="*/ 70 w 182"/>
                <a:gd name="T33" fmla="*/ 12 h 272"/>
                <a:gd name="T34" fmla="*/ 96 w 182"/>
                <a:gd name="T35" fmla="*/ 4 h 272"/>
                <a:gd name="T36" fmla="*/ 126 w 182"/>
                <a:gd name="T37" fmla="*/ 0 h 272"/>
                <a:gd name="T38" fmla="*/ 154 w 182"/>
                <a:gd name="T39" fmla="*/ 2 h 272"/>
                <a:gd name="T40" fmla="*/ 180 w 182"/>
                <a:gd name="T41" fmla="*/ 8 h 272"/>
                <a:gd name="T42" fmla="*/ 172 w 182"/>
                <a:gd name="T43" fmla="*/ 56 h 272"/>
                <a:gd name="T44" fmla="*/ 124 w 182"/>
                <a:gd name="T45" fmla="*/ 46 h 272"/>
                <a:gd name="T46" fmla="*/ 106 w 182"/>
                <a:gd name="T47" fmla="*/ 48 h 272"/>
                <a:gd name="T48" fmla="*/ 92 w 182"/>
                <a:gd name="T49" fmla="*/ 52 h 272"/>
                <a:gd name="T50" fmla="*/ 70 w 182"/>
                <a:gd name="T51" fmla="*/ 72 h 272"/>
                <a:gd name="T52" fmla="*/ 64 w 182"/>
                <a:gd name="T53" fmla="*/ 84 h 272"/>
                <a:gd name="T54" fmla="*/ 58 w 182"/>
                <a:gd name="T55" fmla="*/ 100 h 272"/>
                <a:gd name="T56" fmla="*/ 54 w 182"/>
                <a:gd name="T57" fmla="*/ 136 h 272"/>
                <a:gd name="T58" fmla="*/ 54 w 182"/>
                <a:gd name="T59" fmla="*/ 156 h 272"/>
                <a:gd name="T60" fmla="*/ 64 w 182"/>
                <a:gd name="T61" fmla="*/ 188 h 272"/>
                <a:gd name="T62" fmla="*/ 70 w 182"/>
                <a:gd name="T63" fmla="*/ 202 h 272"/>
                <a:gd name="T64" fmla="*/ 94 w 182"/>
                <a:gd name="T65" fmla="*/ 218 h 272"/>
                <a:gd name="T66" fmla="*/ 126 w 182"/>
                <a:gd name="T67" fmla="*/ 224 h 272"/>
                <a:gd name="T68" fmla="*/ 138 w 182"/>
                <a:gd name="T69" fmla="*/ 224 h 272"/>
                <a:gd name="T70" fmla="*/ 152 w 182"/>
                <a:gd name="T71" fmla="*/ 222 h 272"/>
                <a:gd name="T72" fmla="*/ 174 w 182"/>
                <a:gd name="T73" fmla="*/ 214 h 272"/>
                <a:gd name="T74" fmla="*/ 182 w 182"/>
                <a:gd name="T75" fmla="*/ 258 h 272"/>
                <a:gd name="T76" fmla="*/ 150 w 182"/>
                <a:gd name="T77" fmla="*/ 268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2" h="272">
                  <a:moveTo>
                    <a:pt x="150" y="268"/>
                  </a:moveTo>
                  <a:lnTo>
                    <a:pt x="150" y="268"/>
                  </a:lnTo>
                  <a:lnTo>
                    <a:pt x="134" y="270"/>
                  </a:lnTo>
                  <a:lnTo>
                    <a:pt x="116" y="272"/>
                  </a:lnTo>
                  <a:lnTo>
                    <a:pt x="116" y="272"/>
                  </a:lnTo>
                  <a:lnTo>
                    <a:pt x="100" y="270"/>
                  </a:lnTo>
                  <a:lnTo>
                    <a:pt x="86" y="268"/>
                  </a:lnTo>
                  <a:lnTo>
                    <a:pt x="74" y="266"/>
                  </a:lnTo>
                  <a:lnTo>
                    <a:pt x="62" y="260"/>
                  </a:lnTo>
                  <a:lnTo>
                    <a:pt x="62" y="260"/>
                  </a:lnTo>
                  <a:lnTo>
                    <a:pt x="50" y="254"/>
                  </a:lnTo>
                  <a:lnTo>
                    <a:pt x="42" y="248"/>
                  </a:lnTo>
                  <a:lnTo>
                    <a:pt x="34" y="240"/>
                  </a:lnTo>
                  <a:lnTo>
                    <a:pt x="26" y="232"/>
                  </a:lnTo>
                  <a:lnTo>
                    <a:pt x="26" y="232"/>
                  </a:lnTo>
                  <a:lnTo>
                    <a:pt x="14" y="214"/>
                  </a:lnTo>
                  <a:lnTo>
                    <a:pt x="6" y="192"/>
                  </a:lnTo>
                  <a:lnTo>
                    <a:pt x="6" y="192"/>
                  </a:lnTo>
                  <a:lnTo>
                    <a:pt x="2" y="168"/>
                  </a:lnTo>
                  <a:lnTo>
                    <a:pt x="0" y="144"/>
                  </a:lnTo>
                  <a:lnTo>
                    <a:pt x="0" y="144"/>
                  </a:lnTo>
                  <a:lnTo>
                    <a:pt x="2" y="114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12" y="74"/>
                  </a:lnTo>
                  <a:lnTo>
                    <a:pt x="18" y="62"/>
                  </a:lnTo>
                  <a:lnTo>
                    <a:pt x="24" y="5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40" y="32"/>
                  </a:lnTo>
                  <a:lnTo>
                    <a:pt x="50" y="24"/>
                  </a:lnTo>
                  <a:lnTo>
                    <a:pt x="60" y="18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84" y="6"/>
                  </a:lnTo>
                  <a:lnTo>
                    <a:pt x="96" y="4"/>
                  </a:lnTo>
                  <a:lnTo>
                    <a:pt x="110" y="2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54" y="2"/>
                  </a:lnTo>
                  <a:lnTo>
                    <a:pt x="154" y="2"/>
                  </a:lnTo>
                  <a:lnTo>
                    <a:pt x="180" y="8"/>
                  </a:lnTo>
                  <a:lnTo>
                    <a:pt x="172" y="56"/>
                  </a:lnTo>
                  <a:lnTo>
                    <a:pt x="172" y="56"/>
                  </a:lnTo>
                  <a:lnTo>
                    <a:pt x="148" y="48"/>
                  </a:lnTo>
                  <a:lnTo>
                    <a:pt x="124" y="46"/>
                  </a:lnTo>
                  <a:lnTo>
                    <a:pt x="124" y="46"/>
                  </a:lnTo>
                  <a:lnTo>
                    <a:pt x="106" y="48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80" y="60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64" y="84"/>
                  </a:lnTo>
                  <a:lnTo>
                    <a:pt x="58" y="100"/>
                  </a:lnTo>
                  <a:lnTo>
                    <a:pt x="58" y="100"/>
                  </a:lnTo>
                  <a:lnTo>
                    <a:pt x="54" y="116"/>
                  </a:lnTo>
                  <a:lnTo>
                    <a:pt x="54" y="136"/>
                  </a:lnTo>
                  <a:lnTo>
                    <a:pt x="54" y="136"/>
                  </a:lnTo>
                  <a:lnTo>
                    <a:pt x="54" y="156"/>
                  </a:lnTo>
                  <a:lnTo>
                    <a:pt x="58" y="174"/>
                  </a:lnTo>
                  <a:lnTo>
                    <a:pt x="64" y="188"/>
                  </a:lnTo>
                  <a:lnTo>
                    <a:pt x="70" y="202"/>
                  </a:lnTo>
                  <a:lnTo>
                    <a:pt x="70" y="202"/>
                  </a:lnTo>
                  <a:lnTo>
                    <a:pt x="80" y="212"/>
                  </a:lnTo>
                  <a:lnTo>
                    <a:pt x="94" y="218"/>
                  </a:lnTo>
                  <a:lnTo>
                    <a:pt x="108" y="224"/>
                  </a:lnTo>
                  <a:lnTo>
                    <a:pt x="126" y="224"/>
                  </a:lnTo>
                  <a:lnTo>
                    <a:pt x="126" y="224"/>
                  </a:lnTo>
                  <a:lnTo>
                    <a:pt x="138" y="224"/>
                  </a:lnTo>
                  <a:lnTo>
                    <a:pt x="152" y="222"/>
                  </a:lnTo>
                  <a:lnTo>
                    <a:pt x="152" y="222"/>
                  </a:lnTo>
                  <a:lnTo>
                    <a:pt x="164" y="218"/>
                  </a:lnTo>
                  <a:lnTo>
                    <a:pt x="174" y="214"/>
                  </a:lnTo>
                  <a:lnTo>
                    <a:pt x="182" y="258"/>
                  </a:lnTo>
                  <a:lnTo>
                    <a:pt x="182" y="258"/>
                  </a:lnTo>
                  <a:lnTo>
                    <a:pt x="166" y="264"/>
                  </a:lnTo>
                  <a:lnTo>
                    <a:pt x="150" y="268"/>
                  </a:lnTo>
                  <a:lnTo>
                    <a:pt x="150" y="26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0" name="Freeform 29"/>
            <p:cNvSpPr>
              <a:spLocks noEditPoints="1"/>
            </p:cNvSpPr>
            <p:nvPr userDrawn="1"/>
          </p:nvSpPr>
          <p:spPr bwMode="auto">
            <a:xfrm>
              <a:off x="3877" y="3564"/>
              <a:ext cx="180" cy="266"/>
            </a:xfrm>
            <a:custGeom>
              <a:avLst/>
              <a:gdLst>
                <a:gd name="T0" fmla="*/ 52 w 180"/>
                <a:gd name="T1" fmla="*/ 156 h 266"/>
                <a:gd name="T2" fmla="*/ 48 w 180"/>
                <a:gd name="T3" fmla="*/ 266 h 266"/>
                <a:gd name="T4" fmla="*/ 0 w 180"/>
                <a:gd name="T5" fmla="*/ 2 h 266"/>
                <a:gd name="T6" fmla="*/ 32 w 180"/>
                <a:gd name="T7" fmla="*/ 0 h 266"/>
                <a:gd name="T8" fmla="*/ 72 w 180"/>
                <a:gd name="T9" fmla="*/ 0 h 266"/>
                <a:gd name="T10" fmla="*/ 92 w 180"/>
                <a:gd name="T11" fmla="*/ 0 h 266"/>
                <a:gd name="T12" fmla="*/ 110 w 180"/>
                <a:gd name="T13" fmla="*/ 4 h 266"/>
                <a:gd name="T14" fmla="*/ 138 w 180"/>
                <a:gd name="T15" fmla="*/ 16 h 266"/>
                <a:gd name="T16" fmla="*/ 148 w 180"/>
                <a:gd name="T17" fmla="*/ 26 h 266"/>
                <a:gd name="T18" fmla="*/ 156 w 180"/>
                <a:gd name="T19" fmla="*/ 40 h 266"/>
                <a:gd name="T20" fmla="*/ 164 w 180"/>
                <a:gd name="T21" fmla="*/ 74 h 266"/>
                <a:gd name="T22" fmla="*/ 162 w 180"/>
                <a:gd name="T23" fmla="*/ 88 h 266"/>
                <a:gd name="T24" fmla="*/ 158 w 180"/>
                <a:gd name="T25" fmla="*/ 102 h 266"/>
                <a:gd name="T26" fmla="*/ 146 w 180"/>
                <a:gd name="T27" fmla="*/ 124 h 266"/>
                <a:gd name="T28" fmla="*/ 136 w 180"/>
                <a:gd name="T29" fmla="*/ 132 h 266"/>
                <a:gd name="T30" fmla="*/ 126 w 180"/>
                <a:gd name="T31" fmla="*/ 140 h 266"/>
                <a:gd name="T32" fmla="*/ 102 w 180"/>
                <a:gd name="T33" fmla="*/ 148 h 266"/>
                <a:gd name="T34" fmla="*/ 112 w 180"/>
                <a:gd name="T35" fmla="*/ 162 h 266"/>
                <a:gd name="T36" fmla="*/ 122 w 180"/>
                <a:gd name="T37" fmla="*/ 176 h 266"/>
                <a:gd name="T38" fmla="*/ 120 w 180"/>
                <a:gd name="T39" fmla="*/ 266 h 266"/>
                <a:gd name="T40" fmla="*/ 112 w 180"/>
                <a:gd name="T41" fmla="*/ 80 h 266"/>
                <a:gd name="T42" fmla="*/ 110 w 180"/>
                <a:gd name="T43" fmla="*/ 62 h 266"/>
                <a:gd name="T44" fmla="*/ 102 w 180"/>
                <a:gd name="T45" fmla="*/ 52 h 266"/>
                <a:gd name="T46" fmla="*/ 88 w 180"/>
                <a:gd name="T47" fmla="*/ 44 h 266"/>
                <a:gd name="T48" fmla="*/ 68 w 180"/>
                <a:gd name="T49" fmla="*/ 42 h 266"/>
                <a:gd name="T50" fmla="*/ 58 w 180"/>
                <a:gd name="T51" fmla="*/ 42 h 266"/>
                <a:gd name="T52" fmla="*/ 48 w 180"/>
                <a:gd name="T53" fmla="*/ 42 h 266"/>
                <a:gd name="T54" fmla="*/ 48 w 180"/>
                <a:gd name="T55" fmla="*/ 118 h 266"/>
                <a:gd name="T56" fmla="*/ 56 w 180"/>
                <a:gd name="T57" fmla="*/ 120 h 266"/>
                <a:gd name="T58" fmla="*/ 66 w 180"/>
                <a:gd name="T59" fmla="*/ 120 h 266"/>
                <a:gd name="T60" fmla="*/ 86 w 180"/>
                <a:gd name="T61" fmla="*/ 116 h 266"/>
                <a:gd name="T62" fmla="*/ 100 w 180"/>
                <a:gd name="T63" fmla="*/ 108 h 266"/>
                <a:gd name="T64" fmla="*/ 106 w 180"/>
                <a:gd name="T65" fmla="*/ 104 h 266"/>
                <a:gd name="T66" fmla="*/ 112 w 180"/>
                <a:gd name="T67" fmla="*/ 88 h 266"/>
                <a:gd name="T68" fmla="*/ 112 w 180"/>
                <a:gd name="T69" fmla="*/ 8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0" h="266">
                  <a:moveTo>
                    <a:pt x="120" y="266"/>
                  </a:moveTo>
                  <a:lnTo>
                    <a:pt x="52" y="156"/>
                  </a:lnTo>
                  <a:lnTo>
                    <a:pt x="48" y="156"/>
                  </a:lnTo>
                  <a:lnTo>
                    <a:pt x="48" y="266"/>
                  </a:lnTo>
                  <a:lnTo>
                    <a:pt x="0" y="266"/>
                  </a:lnTo>
                  <a:lnTo>
                    <a:pt x="0" y="2"/>
                  </a:lnTo>
                  <a:lnTo>
                    <a:pt x="0" y="2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92" y="0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26" y="8"/>
                  </a:lnTo>
                  <a:lnTo>
                    <a:pt x="138" y="16"/>
                  </a:lnTo>
                  <a:lnTo>
                    <a:pt x="138" y="16"/>
                  </a:lnTo>
                  <a:lnTo>
                    <a:pt x="148" y="26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62" y="56"/>
                  </a:lnTo>
                  <a:lnTo>
                    <a:pt x="164" y="74"/>
                  </a:lnTo>
                  <a:lnTo>
                    <a:pt x="164" y="74"/>
                  </a:lnTo>
                  <a:lnTo>
                    <a:pt x="162" y="88"/>
                  </a:lnTo>
                  <a:lnTo>
                    <a:pt x="158" y="102"/>
                  </a:lnTo>
                  <a:lnTo>
                    <a:pt x="158" y="102"/>
                  </a:lnTo>
                  <a:lnTo>
                    <a:pt x="154" y="114"/>
                  </a:lnTo>
                  <a:lnTo>
                    <a:pt x="146" y="124"/>
                  </a:lnTo>
                  <a:lnTo>
                    <a:pt x="146" y="124"/>
                  </a:lnTo>
                  <a:lnTo>
                    <a:pt x="136" y="132"/>
                  </a:lnTo>
                  <a:lnTo>
                    <a:pt x="126" y="140"/>
                  </a:lnTo>
                  <a:lnTo>
                    <a:pt x="126" y="140"/>
                  </a:lnTo>
                  <a:lnTo>
                    <a:pt x="114" y="144"/>
                  </a:lnTo>
                  <a:lnTo>
                    <a:pt x="102" y="148"/>
                  </a:lnTo>
                  <a:lnTo>
                    <a:pt x="102" y="148"/>
                  </a:lnTo>
                  <a:lnTo>
                    <a:pt x="112" y="162"/>
                  </a:lnTo>
                  <a:lnTo>
                    <a:pt x="112" y="162"/>
                  </a:lnTo>
                  <a:lnTo>
                    <a:pt x="122" y="176"/>
                  </a:lnTo>
                  <a:lnTo>
                    <a:pt x="180" y="266"/>
                  </a:lnTo>
                  <a:lnTo>
                    <a:pt x="120" y="266"/>
                  </a:lnTo>
                  <a:close/>
                  <a:moveTo>
                    <a:pt x="112" y="80"/>
                  </a:moveTo>
                  <a:lnTo>
                    <a:pt x="112" y="80"/>
                  </a:lnTo>
                  <a:lnTo>
                    <a:pt x="112" y="70"/>
                  </a:lnTo>
                  <a:lnTo>
                    <a:pt x="110" y="62"/>
                  </a:lnTo>
                  <a:lnTo>
                    <a:pt x="106" y="56"/>
                  </a:lnTo>
                  <a:lnTo>
                    <a:pt x="102" y="52"/>
                  </a:lnTo>
                  <a:lnTo>
                    <a:pt x="96" y="46"/>
                  </a:lnTo>
                  <a:lnTo>
                    <a:pt x="88" y="44"/>
                  </a:lnTo>
                  <a:lnTo>
                    <a:pt x="78" y="42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48" y="42"/>
                  </a:lnTo>
                  <a:lnTo>
                    <a:pt x="48" y="118"/>
                  </a:lnTo>
                  <a:lnTo>
                    <a:pt x="48" y="118"/>
                  </a:lnTo>
                  <a:lnTo>
                    <a:pt x="56" y="120"/>
                  </a:lnTo>
                  <a:lnTo>
                    <a:pt x="56" y="120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76" y="118"/>
                  </a:lnTo>
                  <a:lnTo>
                    <a:pt x="86" y="116"/>
                  </a:lnTo>
                  <a:lnTo>
                    <a:pt x="94" y="114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6" y="104"/>
                  </a:lnTo>
                  <a:lnTo>
                    <a:pt x="110" y="96"/>
                  </a:lnTo>
                  <a:lnTo>
                    <a:pt x="112" y="88"/>
                  </a:lnTo>
                  <a:lnTo>
                    <a:pt x="112" y="80"/>
                  </a:lnTo>
                  <a:lnTo>
                    <a:pt x="112" y="8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4087" y="3566"/>
              <a:ext cx="136" cy="264"/>
            </a:xfrm>
            <a:custGeom>
              <a:avLst/>
              <a:gdLst>
                <a:gd name="T0" fmla="*/ 0 w 136"/>
                <a:gd name="T1" fmla="*/ 264 h 264"/>
                <a:gd name="T2" fmla="*/ 0 w 136"/>
                <a:gd name="T3" fmla="*/ 0 h 264"/>
                <a:gd name="T4" fmla="*/ 136 w 136"/>
                <a:gd name="T5" fmla="*/ 0 h 264"/>
                <a:gd name="T6" fmla="*/ 136 w 136"/>
                <a:gd name="T7" fmla="*/ 42 h 264"/>
                <a:gd name="T8" fmla="*/ 48 w 136"/>
                <a:gd name="T9" fmla="*/ 42 h 264"/>
                <a:gd name="T10" fmla="*/ 48 w 136"/>
                <a:gd name="T11" fmla="*/ 106 h 264"/>
                <a:gd name="T12" fmla="*/ 132 w 136"/>
                <a:gd name="T13" fmla="*/ 106 h 264"/>
                <a:gd name="T14" fmla="*/ 132 w 136"/>
                <a:gd name="T15" fmla="*/ 148 h 264"/>
                <a:gd name="T16" fmla="*/ 48 w 136"/>
                <a:gd name="T17" fmla="*/ 148 h 264"/>
                <a:gd name="T18" fmla="*/ 48 w 136"/>
                <a:gd name="T19" fmla="*/ 220 h 264"/>
                <a:gd name="T20" fmla="*/ 136 w 136"/>
                <a:gd name="T21" fmla="*/ 220 h 264"/>
                <a:gd name="T22" fmla="*/ 136 w 136"/>
                <a:gd name="T23" fmla="*/ 264 h 264"/>
                <a:gd name="T24" fmla="*/ 0 w 136"/>
                <a:gd name="T25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264">
                  <a:moveTo>
                    <a:pt x="0" y="264"/>
                  </a:moveTo>
                  <a:lnTo>
                    <a:pt x="0" y="0"/>
                  </a:lnTo>
                  <a:lnTo>
                    <a:pt x="136" y="0"/>
                  </a:lnTo>
                  <a:lnTo>
                    <a:pt x="136" y="42"/>
                  </a:lnTo>
                  <a:lnTo>
                    <a:pt x="48" y="42"/>
                  </a:lnTo>
                  <a:lnTo>
                    <a:pt x="48" y="106"/>
                  </a:lnTo>
                  <a:lnTo>
                    <a:pt x="132" y="106"/>
                  </a:lnTo>
                  <a:lnTo>
                    <a:pt x="132" y="148"/>
                  </a:lnTo>
                  <a:lnTo>
                    <a:pt x="48" y="148"/>
                  </a:lnTo>
                  <a:lnTo>
                    <a:pt x="48" y="220"/>
                  </a:lnTo>
                  <a:lnTo>
                    <a:pt x="136" y="220"/>
                  </a:lnTo>
                  <a:lnTo>
                    <a:pt x="136" y="264"/>
                  </a:lnTo>
                  <a:lnTo>
                    <a:pt x="0" y="26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4251" y="3566"/>
              <a:ext cx="178" cy="264"/>
            </a:xfrm>
            <a:custGeom>
              <a:avLst/>
              <a:gdLst>
                <a:gd name="T0" fmla="*/ 112 w 178"/>
                <a:gd name="T1" fmla="*/ 42 h 264"/>
                <a:gd name="T2" fmla="*/ 112 w 178"/>
                <a:gd name="T3" fmla="*/ 264 h 264"/>
                <a:gd name="T4" fmla="*/ 64 w 178"/>
                <a:gd name="T5" fmla="*/ 264 h 264"/>
                <a:gd name="T6" fmla="*/ 64 w 178"/>
                <a:gd name="T7" fmla="*/ 42 h 264"/>
                <a:gd name="T8" fmla="*/ 0 w 178"/>
                <a:gd name="T9" fmla="*/ 42 h 264"/>
                <a:gd name="T10" fmla="*/ 0 w 178"/>
                <a:gd name="T11" fmla="*/ 0 h 264"/>
                <a:gd name="T12" fmla="*/ 178 w 178"/>
                <a:gd name="T13" fmla="*/ 0 h 264"/>
                <a:gd name="T14" fmla="*/ 178 w 178"/>
                <a:gd name="T15" fmla="*/ 42 h 264"/>
                <a:gd name="T16" fmla="*/ 112 w 178"/>
                <a:gd name="T17" fmla="*/ 4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8" h="264">
                  <a:moveTo>
                    <a:pt x="112" y="42"/>
                  </a:moveTo>
                  <a:lnTo>
                    <a:pt x="112" y="264"/>
                  </a:lnTo>
                  <a:lnTo>
                    <a:pt x="64" y="264"/>
                  </a:lnTo>
                  <a:lnTo>
                    <a:pt x="64" y="42"/>
                  </a:lnTo>
                  <a:lnTo>
                    <a:pt x="0" y="42"/>
                  </a:lnTo>
                  <a:lnTo>
                    <a:pt x="0" y="0"/>
                  </a:lnTo>
                  <a:lnTo>
                    <a:pt x="178" y="0"/>
                  </a:lnTo>
                  <a:lnTo>
                    <a:pt x="178" y="42"/>
                  </a:lnTo>
                  <a:lnTo>
                    <a:pt x="112" y="4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2487" y="508"/>
              <a:ext cx="2780" cy="2780"/>
            </a:xfrm>
            <a:custGeom>
              <a:avLst/>
              <a:gdLst>
                <a:gd name="T0" fmla="*/ 2042 w 2780"/>
                <a:gd name="T1" fmla="*/ 76 h 2780"/>
                <a:gd name="T2" fmla="*/ 2012 w 2780"/>
                <a:gd name="T3" fmla="*/ 52 h 2780"/>
                <a:gd name="T4" fmla="*/ 1964 w 2780"/>
                <a:gd name="T5" fmla="*/ 24 h 2780"/>
                <a:gd name="T6" fmla="*/ 1914 w 2780"/>
                <a:gd name="T7" fmla="*/ 6 h 2780"/>
                <a:gd name="T8" fmla="*/ 1878 w 2780"/>
                <a:gd name="T9" fmla="*/ 0 h 2780"/>
                <a:gd name="T10" fmla="*/ 922 w 2780"/>
                <a:gd name="T11" fmla="*/ 0 h 2780"/>
                <a:gd name="T12" fmla="*/ 904 w 2780"/>
                <a:gd name="T13" fmla="*/ 0 h 2780"/>
                <a:gd name="T14" fmla="*/ 858 w 2780"/>
                <a:gd name="T15" fmla="*/ 10 h 2780"/>
                <a:gd name="T16" fmla="*/ 798 w 2780"/>
                <a:gd name="T17" fmla="*/ 32 h 2780"/>
                <a:gd name="T18" fmla="*/ 768 w 2780"/>
                <a:gd name="T19" fmla="*/ 52 h 2780"/>
                <a:gd name="T20" fmla="*/ 738 w 2780"/>
                <a:gd name="T21" fmla="*/ 76 h 2780"/>
                <a:gd name="T22" fmla="*/ 76 w 2780"/>
                <a:gd name="T23" fmla="*/ 738 h 2780"/>
                <a:gd name="T24" fmla="*/ 52 w 2780"/>
                <a:gd name="T25" fmla="*/ 768 h 2780"/>
                <a:gd name="T26" fmla="*/ 24 w 2780"/>
                <a:gd name="T27" fmla="*/ 816 h 2780"/>
                <a:gd name="T28" fmla="*/ 6 w 2780"/>
                <a:gd name="T29" fmla="*/ 866 h 2780"/>
                <a:gd name="T30" fmla="*/ 0 w 2780"/>
                <a:gd name="T31" fmla="*/ 902 h 2780"/>
                <a:gd name="T32" fmla="*/ 0 w 2780"/>
                <a:gd name="T33" fmla="*/ 1858 h 2780"/>
                <a:gd name="T34" fmla="*/ 0 w 2780"/>
                <a:gd name="T35" fmla="*/ 1876 h 2780"/>
                <a:gd name="T36" fmla="*/ 10 w 2780"/>
                <a:gd name="T37" fmla="*/ 1922 h 2780"/>
                <a:gd name="T38" fmla="*/ 32 w 2780"/>
                <a:gd name="T39" fmla="*/ 1982 h 2780"/>
                <a:gd name="T40" fmla="*/ 50 w 2780"/>
                <a:gd name="T41" fmla="*/ 2012 h 2780"/>
                <a:gd name="T42" fmla="*/ 76 w 2780"/>
                <a:gd name="T43" fmla="*/ 2042 h 2780"/>
                <a:gd name="T44" fmla="*/ 738 w 2780"/>
                <a:gd name="T45" fmla="*/ 2704 h 2780"/>
                <a:gd name="T46" fmla="*/ 768 w 2780"/>
                <a:gd name="T47" fmla="*/ 2728 h 2780"/>
                <a:gd name="T48" fmla="*/ 816 w 2780"/>
                <a:gd name="T49" fmla="*/ 2756 h 2780"/>
                <a:gd name="T50" fmla="*/ 866 w 2780"/>
                <a:gd name="T51" fmla="*/ 2774 h 2780"/>
                <a:gd name="T52" fmla="*/ 902 w 2780"/>
                <a:gd name="T53" fmla="*/ 2780 h 2780"/>
                <a:gd name="T54" fmla="*/ 1858 w 2780"/>
                <a:gd name="T55" fmla="*/ 2780 h 2780"/>
                <a:gd name="T56" fmla="*/ 1876 w 2780"/>
                <a:gd name="T57" fmla="*/ 2780 h 2780"/>
                <a:gd name="T58" fmla="*/ 1922 w 2780"/>
                <a:gd name="T59" fmla="*/ 2770 h 2780"/>
                <a:gd name="T60" fmla="*/ 1982 w 2780"/>
                <a:gd name="T61" fmla="*/ 2748 h 2780"/>
                <a:gd name="T62" fmla="*/ 2012 w 2780"/>
                <a:gd name="T63" fmla="*/ 2728 h 2780"/>
                <a:gd name="T64" fmla="*/ 2042 w 2780"/>
                <a:gd name="T65" fmla="*/ 2704 h 2780"/>
                <a:gd name="T66" fmla="*/ 2704 w 2780"/>
                <a:gd name="T67" fmla="*/ 2042 h 2780"/>
                <a:gd name="T68" fmla="*/ 2728 w 2780"/>
                <a:gd name="T69" fmla="*/ 2012 h 2780"/>
                <a:gd name="T70" fmla="*/ 2756 w 2780"/>
                <a:gd name="T71" fmla="*/ 1964 h 2780"/>
                <a:gd name="T72" fmla="*/ 2774 w 2780"/>
                <a:gd name="T73" fmla="*/ 1914 h 2780"/>
                <a:gd name="T74" fmla="*/ 2780 w 2780"/>
                <a:gd name="T75" fmla="*/ 1878 h 2780"/>
                <a:gd name="T76" fmla="*/ 2780 w 2780"/>
                <a:gd name="T77" fmla="*/ 922 h 2780"/>
                <a:gd name="T78" fmla="*/ 2780 w 2780"/>
                <a:gd name="T79" fmla="*/ 904 h 2780"/>
                <a:gd name="T80" fmla="*/ 2770 w 2780"/>
                <a:gd name="T81" fmla="*/ 858 h 2780"/>
                <a:gd name="T82" fmla="*/ 2748 w 2780"/>
                <a:gd name="T83" fmla="*/ 798 h 2780"/>
                <a:gd name="T84" fmla="*/ 2728 w 2780"/>
                <a:gd name="T85" fmla="*/ 768 h 2780"/>
                <a:gd name="T86" fmla="*/ 2704 w 2780"/>
                <a:gd name="T87" fmla="*/ 738 h 2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0" h="2780">
                  <a:moveTo>
                    <a:pt x="2042" y="76"/>
                  </a:moveTo>
                  <a:lnTo>
                    <a:pt x="2042" y="76"/>
                  </a:lnTo>
                  <a:lnTo>
                    <a:pt x="2028" y="64"/>
                  </a:lnTo>
                  <a:lnTo>
                    <a:pt x="2012" y="52"/>
                  </a:lnTo>
                  <a:lnTo>
                    <a:pt x="1990" y="38"/>
                  </a:lnTo>
                  <a:lnTo>
                    <a:pt x="1964" y="24"/>
                  </a:lnTo>
                  <a:lnTo>
                    <a:pt x="1932" y="12"/>
                  </a:lnTo>
                  <a:lnTo>
                    <a:pt x="1914" y="6"/>
                  </a:lnTo>
                  <a:lnTo>
                    <a:pt x="1896" y="2"/>
                  </a:lnTo>
                  <a:lnTo>
                    <a:pt x="1878" y="0"/>
                  </a:lnTo>
                  <a:lnTo>
                    <a:pt x="1858" y="0"/>
                  </a:lnTo>
                  <a:lnTo>
                    <a:pt x="922" y="0"/>
                  </a:lnTo>
                  <a:lnTo>
                    <a:pt x="922" y="0"/>
                  </a:lnTo>
                  <a:lnTo>
                    <a:pt x="904" y="0"/>
                  </a:lnTo>
                  <a:lnTo>
                    <a:pt x="884" y="4"/>
                  </a:lnTo>
                  <a:lnTo>
                    <a:pt x="858" y="10"/>
                  </a:lnTo>
                  <a:lnTo>
                    <a:pt x="830" y="18"/>
                  </a:lnTo>
                  <a:lnTo>
                    <a:pt x="798" y="32"/>
                  </a:lnTo>
                  <a:lnTo>
                    <a:pt x="782" y="40"/>
                  </a:lnTo>
                  <a:lnTo>
                    <a:pt x="768" y="52"/>
                  </a:lnTo>
                  <a:lnTo>
                    <a:pt x="752" y="62"/>
                  </a:lnTo>
                  <a:lnTo>
                    <a:pt x="738" y="76"/>
                  </a:lnTo>
                  <a:lnTo>
                    <a:pt x="76" y="738"/>
                  </a:lnTo>
                  <a:lnTo>
                    <a:pt x="76" y="738"/>
                  </a:lnTo>
                  <a:lnTo>
                    <a:pt x="64" y="750"/>
                  </a:lnTo>
                  <a:lnTo>
                    <a:pt x="52" y="768"/>
                  </a:lnTo>
                  <a:lnTo>
                    <a:pt x="38" y="790"/>
                  </a:lnTo>
                  <a:lnTo>
                    <a:pt x="24" y="816"/>
                  </a:lnTo>
                  <a:lnTo>
                    <a:pt x="12" y="848"/>
                  </a:lnTo>
                  <a:lnTo>
                    <a:pt x="6" y="866"/>
                  </a:lnTo>
                  <a:lnTo>
                    <a:pt x="2" y="884"/>
                  </a:lnTo>
                  <a:lnTo>
                    <a:pt x="0" y="902"/>
                  </a:lnTo>
                  <a:lnTo>
                    <a:pt x="0" y="922"/>
                  </a:lnTo>
                  <a:lnTo>
                    <a:pt x="0" y="1858"/>
                  </a:lnTo>
                  <a:lnTo>
                    <a:pt x="0" y="1858"/>
                  </a:lnTo>
                  <a:lnTo>
                    <a:pt x="0" y="1876"/>
                  </a:lnTo>
                  <a:lnTo>
                    <a:pt x="4" y="1896"/>
                  </a:lnTo>
                  <a:lnTo>
                    <a:pt x="10" y="1922"/>
                  </a:lnTo>
                  <a:lnTo>
                    <a:pt x="18" y="1950"/>
                  </a:lnTo>
                  <a:lnTo>
                    <a:pt x="32" y="1982"/>
                  </a:lnTo>
                  <a:lnTo>
                    <a:pt x="40" y="1998"/>
                  </a:lnTo>
                  <a:lnTo>
                    <a:pt x="50" y="2012"/>
                  </a:lnTo>
                  <a:lnTo>
                    <a:pt x="62" y="2028"/>
                  </a:lnTo>
                  <a:lnTo>
                    <a:pt x="76" y="2042"/>
                  </a:lnTo>
                  <a:lnTo>
                    <a:pt x="738" y="2704"/>
                  </a:lnTo>
                  <a:lnTo>
                    <a:pt x="738" y="2704"/>
                  </a:lnTo>
                  <a:lnTo>
                    <a:pt x="750" y="2716"/>
                  </a:lnTo>
                  <a:lnTo>
                    <a:pt x="768" y="2728"/>
                  </a:lnTo>
                  <a:lnTo>
                    <a:pt x="790" y="2742"/>
                  </a:lnTo>
                  <a:lnTo>
                    <a:pt x="816" y="2756"/>
                  </a:lnTo>
                  <a:lnTo>
                    <a:pt x="848" y="2768"/>
                  </a:lnTo>
                  <a:lnTo>
                    <a:pt x="866" y="2774"/>
                  </a:lnTo>
                  <a:lnTo>
                    <a:pt x="884" y="2778"/>
                  </a:lnTo>
                  <a:lnTo>
                    <a:pt x="902" y="2780"/>
                  </a:lnTo>
                  <a:lnTo>
                    <a:pt x="922" y="2780"/>
                  </a:lnTo>
                  <a:lnTo>
                    <a:pt x="1858" y="2780"/>
                  </a:lnTo>
                  <a:lnTo>
                    <a:pt x="1858" y="2780"/>
                  </a:lnTo>
                  <a:lnTo>
                    <a:pt x="1876" y="2780"/>
                  </a:lnTo>
                  <a:lnTo>
                    <a:pt x="1896" y="2776"/>
                  </a:lnTo>
                  <a:lnTo>
                    <a:pt x="1922" y="2770"/>
                  </a:lnTo>
                  <a:lnTo>
                    <a:pt x="1950" y="2762"/>
                  </a:lnTo>
                  <a:lnTo>
                    <a:pt x="1982" y="2748"/>
                  </a:lnTo>
                  <a:lnTo>
                    <a:pt x="1996" y="2740"/>
                  </a:lnTo>
                  <a:lnTo>
                    <a:pt x="2012" y="2728"/>
                  </a:lnTo>
                  <a:lnTo>
                    <a:pt x="2028" y="2718"/>
                  </a:lnTo>
                  <a:lnTo>
                    <a:pt x="2042" y="2704"/>
                  </a:lnTo>
                  <a:lnTo>
                    <a:pt x="2704" y="2042"/>
                  </a:lnTo>
                  <a:lnTo>
                    <a:pt x="2704" y="2042"/>
                  </a:lnTo>
                  <a:lnTo>
                    <a:pt x="2716" y="2030"/>
                  </a:lnTo>
                  <a:lnTo>
                    <a:pt x="2728" y="2012"/>
                  </a:lnTo>
                  <a:lnTo>
                    <a:pt x="2742" y="1990"/>
                  </a:lnTo>
                  <a:lnTo>
                    <a:pt x="2756" y="1964"/>
                  </a:lnTo>
                  <a:lnTo>
                    <a:pt x="2768" y="1932"/>
                  </a:lnTo>
                  <a:lnTo>
                    <a:pt x="2774" y="1914"/>
                  </a:lnTo>
                  <a:lnTo>
                    <a:pt x="2778" y="1896"/>
                  </a:lnTo>
                  <a:lnTo>
                    <a:pt x="2780" y="1878"/>
                  </a:lnTo>
                  <a:lnTo>
                    <a:pt x="2780" y="1858"/>
                  </a:lnTo>
                  <a:lnTo>
                    <a:pt x="2780" y="922"/>
                  </a:lnTo>
                  <a:lnTo>
                    <a:pt x="2780" y="922"/>
                  </a:lnTo>
                  <a:lnTo>
                    <a:pt x="2780" y="904"/>
                  </a:lnTo>
                  <a:lnTo>
                    <a:pt x="2776" y="884"/>
                  </a:lnTo>
                  <a:lnTo>
                    <a:pt x="2770" y="858"/>
                  </a:lnTo>
                  <a:lnTo>
                    <a:pt x="2762" y="830"/>
                  </a:lnTo>
                  <a:lnTo>
                    <a:pt x="2748" y="798"/>
                  </a:lnTo>
                  <a:lnTo>
                    <a:pt x="2740" y="782"/>
                  </a:lnTo>
                  <a:lnTo>
                    <a:pt x="2728" y="768"/>
                  </a:lnTo>
                  <a:lnTo>
                    <a:pt x="2718" y="752"/>
                  </a:lnTo>
                  <a:lnTo>
                    <a:pt x="2704" y="738"/>
                  </a:lnTo>
                  <a:lnTo>
                    <a:pt x="2042" y="7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2719" y="740"/>
              <a:ext cx="2316" cy="2316"/>
            </a:xfrm>
            <a:custGeom>
              <a:avLst/>
              <a:gdLst>
                <a:gd name="T0" fmla="*/ 1702 w 2316"/>
                <a:gd name="T1" fmla="*/ 64 h 2316"/>
                <a:gd name="T2" fmla="*/ 1676 w 2316"/>
                <a:gd name="T3" fmla="*/ 44 h 2316"/>
                <a:gd name="T4" fmla="*/ 1636 w 2316"/>
                <a:gd name="T5" fmla="*/ 22 h 2316"/>
                <a:gd name="T6" fmla="*/ 1580 w 2316"/>
                <a:gd name="T7" fmla="*/ 4 h 2316"/>
                <a:gd name="T8" fmla="*/ 1546 w 2316"/>
                <a:gd name="T9" fmla="*/ 0 h 2316"/>
                <a:gd name="T10" fmla="*/ 768 w 2316"/>
                <a:gd name="T11" fmla="*/ 0 h 2316"/>
                <a:gd name="T12" fmla="*/ 736 w 2316"/>
                <a:gd name="T13" fmla="*/ 4 h 2316"/>
                <a:gd name="T14" fmla="*/ 692 w 2316"/>
                <a:gd name="T15" fmla="*/ 16 h 2316"/>
                <a:gd name="T16" fmla="*/ 640 w 2316"/>
                <a:gd name="T17" fmla="*/ 44 h 2316"/>
                <a:gd name="T18" fmla="*/ 614 w 2316"/>
                <a:gd name="T19" fmla="*/ 64 h 2316"/>
                <a:gd name="T20" fmla="*/ 64 w 2316"/>
                <a:gd name="T21" fmla="*/ 614 h 2316"/>
                <a:gd name="T22" fmla="*/ 44 w 2316"/>
                <a:gd name="T23" fmla="*/ 640 h 2316"/>
                <a:gd name="T24" fmla="*/ 20 w 2316"/>
                <a:gd name="T25" fmla="*/ 680 h 2316"/>
                <a:gd name="T26" fmla="*/ 4 w 2316"/>
                <a:gd name="T27" fmla="*/ 736 h 2316"/>
                <a:gd name="T28" fmla="*/ 0 w 2316"/>
                <a:gd name="T29" fmla="*/ 770 h 2316"/>
                <a:gd name="T30" fmla="*/ 0 w 2316"/>
                <a:gd name="T31" fmla="*/ 1546 h 2316"/>
                <a:gd name="T32" fmla="*/ 4 w 2316"/>
                <a:gd name="T33" fmla="*/ 1578 h 2316"/>
                <a:gd name="T34" fmla="*/ 16 w 2316"/>
                <a:gd name="T35" fmla="*/ 1624 h 2316"/>
                <a:gd name="T36" fmla="*/ 44 w 2316"/>
                <a:gd name="T37" fmla="*/ 1676 h 2316"/>
                <a:gd name="T38" fmla="*/ 64 w 2316"/>
                <a:gd name="T39" fmla="*/ 1702 h 2316"/>
                <a:gd name="T40" fmla="*/ 614 w 2316"/>
                <a:gd name="T41" fmla="*/ 2252 h 2316"/>
                <a:gd name="T42" fmla="*/ 640 w 2316"/>
                <a:gd name="T43" fmla="*/ 2272 h 2316"/>
                <a:gd name="T44" fmla="*/ 680 w 2316"/>
                <a:gd name="T45" fmla="*/ 2296 h 2316"/>
                <a:gd name="T46" fmla="*/ 736 w 2316"/>
                <a:gd name="T47" fmla="*/ 2312 h 2316"/>
                <a:gd name="T48" fmla="*/ 768 w 2316"/>
                <a:gd name="T49" fmla="*/ 2316 h 2316"/>
                <a:gd name="T50" fmla="*/ 1546 w 2316"/>
                <a:gd name="T51" fmla="*/ 2316 h 2316"/>
                <a:gd name="T52" fmla="*/ 1578 w 2316"/>
                <a:gd name="T53" fmla="*/ 2312 h 2316"/>
                <a:gd name="T54" fmla="*/ 1624 w 2316"/>
                <a:gd name="T55" fmla="*/ 2300 h 2316"/>
                <a:gd name="T56" fmla="*/ 1676 w 2316"/>
                <a:gd name="T57" fmla="*/ 2272 h 2316"/>
                <a:gd name="T58" fmla="*/ 1702 w 2316"/>
                <a:gd name="T59" fmla="*/ 2252 h 2316"/>
                <a:gd name="T60" fmla="*/ 2252 w 2316"/>
                <a:gd name="T61" fmla="*/ 1702 h 2316"/>
                <a:gd name="T62" fmla="*/ 2272 w 2316"/>
                <a:gd name="T63" fmla="*/ 1676 h 2316"/>
                <a:gd name="T64" fmla="*/ 2294 w 2316"/>
                <a:gd name="T65" fmla="*/ 1636 h 2316"/>
                <a:gd name="T66" fmla="*/ 2312 w 2316"/>
                <a:gd name="T67" fmla="*/ 1580 h 2316"/>
                <a:gd name="T68" fmla="*/ 2316 w 2316"/>
                <a:gd name="T69" fmla="*/ 1546 h 2316"/>
                <a:gd name="T70" fmla="*/ 2316 w 2316"/>
                <a:gd name="T71" fmla="*/ 770 h 2316"/>
                <a:gd name="T72" fmla="*/ 2312 w 2316"/>
                <a:gd name="T73" fmla="*/ 738 h 2316"/>
                <a:gd name="T74" fmla="*/ 2300 w 2316"/>
                <a:gd name="T75" fmla="*/ 692 h 2316"/>
                <a:gd name="T76" fmla="*/ 2272 w 2316"/>
                <a:gd name="T77" fmla="*/ 640 h 2316"/>
                <a:gd name="T78" fmla="*/ 2252 w 2316"/>
                <a:gd name="T79" fmla="*/ 614 h 2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16" h="2316">
                  <a:moveTo>
                    <a:pt x="1702" y="64"/>
                  </a:moveTo>
                  <a:lnTo>
                    <a:pt x="1702" y="64"/>
                  </a:lnTo>
                  <a:lnTo>
                    <a:pt x="1690" y="54"/>
                  </a:lnTo>
                  <a:lnTo>
                    <a:pt x="1676" y="44"/>
                  </a:lnTo>
                  <a:lnTo>
                    <a:pt x="1658" y="32"/>
                  </a:lnTo>
                  <a:lnTo>
                    <a:pt x="1636" y="22"/>
                  </a:lnTo>
                  <a:lnTo>
                    <a:pt x="1610" y="10"/>
                  </a:lnTo>
                  <a:lnTo>
                    <a:pt x="1580" y="4"/>
                  </a:lnTo>
                  <a:lnTo>
                    <a:pt x="1564" y="2"/>
                  </a:lnTo>
                  <a:lnTo>
                    <a:pt x="1546" y="0"/>
                  </a:lnTo>
                  <a:lnTo>
                    <a:pt x="768" y="0"/>
                  </a:lnTo>
                  <a:lnTo>
                    <a:pt x="768" y="0"/>
                  </a:lnTo>
                  <a:lnTo>
                    <a:pt x="754" y="2"/>
                  </a:lnTo>
                  <a:lnTo>
                    <a:pt x="736" y="4"/>
                  </a:lnTo>
                  <a:lnTo>
                    <a:pt x="716" y="8"/>
                  </a:lnTo>
                  <a:lnTo>
                    <a:pt x="692" y="16"/>
                  </a:lnTo>
                  <a:lnTo>
                    <a:pt x="666" y="28"/>
                  </a:lnTo>
                  <a:lnTo>
                    <a:pt x="640" y="44"/>
                  </a:lnTo>
                  <a:lnTo>
                    <a:pt x="626" y="54"/>
                  </a:lnTo>
                  <a:lnTo>
                    <a:pt x="614" y="64"/>
                  </a:lnTo>
                  <a:lnTo>
                    <a:pt x="64" y="614"/>
                  </a:lnTo>
                  <a:lnTo>
                    <a:pt x="64" y="614"/>
                  </a:lnTo>
                  <a:lnTo>
                    <a:pt x="54" y="626"/>
                  </a:lnTo>
                  <a:lnTo>
                    <a:pt x="44" y="640"/>
                  </a:lnTo>
                  <a:lnTo>
                    <a:pt x="32" y="658"/>
                  </a:lnTo>
                  <a:lnTo>
                    <a:pt x="20" y="680"/>
                  </a:lnTo>
                  <a:lnTo>
                    <a:pt x="10" y="706"/>
                  </a:lnTo>
                  <a:lnTo>
                    <a:pt x="4" y="736"/>
                  </a:lnTo>
                  <a:lnTo>
                    <a:pt x="2" y="752"/>
                  </a:lnTo>
                  <a:lnTo>
                    <a:pt x="0" y="770"/>
                  </a:lnTo>
                  <a:lnTo>
                    <a:pt x="0" y="1546"/>
                  </a:lnTo>
                  <a:lnTo>
                    <a:pt x="0" y="1546"/>
                  </a:lnTo>
                  <a:lnTo>
                    <a:pt x="2" y="1562"/>
                  </a:lnTo>
                  <a:lnTo>
                    <a:pt x="4" y="1578"/>
                  </a:lnTo>
                  <a:lnTo>
                    <a:pt x="8" y="1600"/>
                  </a:lnTo>
                  <a:lnTo>
                    <a:pt x="16" y="1624"/>
                  </a:lnTo>
                  <a:lnTo>
                    <a:pt x="28" y="1650"/>
                  </a:lnTo>
                  <a:lnTo>
                    <a:pt x="44" y="1676"/>
                  </a:lnTo>
                  <a:lnTo>
                    <a:pt x="54" y="1690"/>
                  </a:lnTo>
                  <a:lnTo>
                    <a:pt x="64" y="1702"/>
                  </a:lnTo>
                  <a:lnTo>
                    <a:pt x="614" y="2252"/>
                  </a:lnTo>
                  <a:lnTo>
                    <a:pt x="614" y="2252"/>
                  </a:lnTo>
                  <a:lnTo>
                    <a:pt x="626" y="2262"/>
                  </a:lnTo>
                  <a:lnTo>
                    <a:pt x="640" y="2272"/>
                  </a:lnTo>
                  <a:lnTo>
                    <a:pt x="658" y="2284"/>
                  </a:lnTo>
                  <a:lnTo>
                    <a:pt x="680" y="2296"/>
                  </a:lnTo>
                  <a:lnTo>
                    <a:pt x="706" y="2306"/>
                  </a:lnTo>
                  <a:lnTo>
                    <a:pt x="736" y="2312"/>
                  </a:lnTo>
                  <a:lnTo>
                    <a:pt x="752" y="2314"/>
                  </a:lnTo>
                  <a:lnTo>
                    <a:pt x="768" y="2316"/>
                  </a:lnTo>
                  <a:lnTo>
                    <a:pt x="1546" y="2316"/>
                  </a:lnTo>
                  <a:lnTo>
                    <a:pt x="1546" y="2316"/>
                  </a:lnTo>
                  <a:lnTo>
                    <a:pt x="1562" y="2314"/>
                  </a:lnTo>
                  <a:lnTo>
                    <a:pt x="1578" y="2312"/>
                  </a:lnTo>
                  <a:lnTo>
                    <a:pt x="1600" y="2308"/>
                  </a:lnTo>
                  <a:lnTo>
                    <a:pt x="1624" y="2300"/>
                  </a:lnTo>
                  <a:lnTo>
                    <a:pt x="1650" y="2288"/>
                  </a:lnTo>
                  <a:lnTo>
                    <a:pt x="1676" y="2272"/>
                  </a:lnTo>
                  <a:lnTo>
                    <a:pt x="1688" y="2262"/>
                  </a:lnTo>
                  <a:lnTo>
                    <a:pt x="1702" y="2252"/>
                  </a:lnTo>
                  <a:lnTo>
                    <a:pt x="2252" y="1702"/>
                  </a:lnTo>
                  <a:lnTo>
                    <a:pt x="2252" y="1702"/>
                  </a:lnTo>
                  <a:lnTo>
                    <a:pt x="2262" y="1690"/>
                  </a:lnTo>
                  <a:lnTo>
                    <a:pt x="2272" y="1676"/>
                  </a:lnTo>
                  <a:lnTo>
                    <a:pt x="2284" y="1658"/>
                  </a:lnTo>
                  <a:lnTo>
                    <a:pt x="2294" y="1636"/>
                  </a:lnTo>
                  <a:lnTo>
                    <a:pt x="2306" y="1610"/>
                  </a:lnTo>
                  <a:lnTo>
                    <a:pt x="2312" y="1580"/>
                  </a:lnTo>
                  <a:lnTo>
                    <a:pt x="2314" y="1564"/>
                  </a:lnTo>
                  <a:lnTo>
                    <a:pt x="2316" y="1546"/>
                  </a:lnTo>
                  <a:lnTo>
                    <a:pt x="2316" y="770"/>
                  </a:lnTo>
                  <a:lnTo>
                    <a:pt x="2316" y="770"/>
                  </a:lnTo>
                  <a:lnTo>
                    <a:pt x="2314" y="754"/>
                  </a:lnTo>
                  <a:lnTo>
                    <a:pt x="2312" y="738"/>
                  </a:lnTo>
                  <a:lnTo>
                    <a:pt x="2308" y="716"/>
                  </a:lnTo>
                  <a:lnTo>
                    <a:pt x="2300" y="692"/>
                  </a:lnTo>
                  <a:lnTo>
                    <a:pt x="2288" y="666"/>
                  </a:lnTo>
                  <a:lnTo>
                    <a:pt x="2272" y="640"/>
                  </a:lnTo>
                  <a:lnTo>
                    <a:pt x="2262" y="628"/>
                  </a:lnTo>
                  <a:lnTo>
                    <a:pt x="2252" y="614"/>
                  </a:lnTo>
                  <a:lnTo>
                    <a:pt x="1702" y="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3327" y="924"/>
              <a:ext cx="1100" cy="1948"/>
            </a:xfrm>
            <a:custGeom>
              <a:avLst/>
              <a:gdLst>
                <a:gd name="T0" fmla="*/ 1094 w 1100"/>
                <a:gd name="T1" fmla="*/ 762 h 1948"/>
                <a:gd name="T2" fmla="*/ 1072 w 1100"/>
                <a:gd name="T3" fmla="*/ 692 h 1948"/>
                <a:gd name="T4" fmla="*/ 1040 w 1100"/>
                <a:gd name="T5" fmla="*/ 666 h 1948"/>
                <a:gd name="T6" fmla="*/ 984 w 1100"/>
                <a:gd name="T7" fmla="*/ 660 h 1948"/>
                <a:gd name="T8" fmla="*/ 938 w 1100"/>
                <a:gd name="T9" fmla="*/ 680 h 1948"/>
                <a:gd name="T10" fmla="*/ 910 w 1100"/>
                <a:gd name="T11" fmla="*/ 722 h 1948"/>
                <a:gd name="T12" fmla="*/ 904 w 1100"/>
                <a:gd name="T13" fmla="*/ 1136 h 1948"/>
                <a:gd name="T14" fmla="*/ 882 w 1100"/>
                <a:gd name="T15" fmla="*/ 204 h 1948"/>
                <a:gd name="T16" fmla="*/ 866 w 1100"/>
                <a:gd name="T17" fmla="*/ 150 h 1948"/>
                <a:gd name="T18" fmla="*/ 826 w 1100"/>
                <a:gd name="T19" fmla="*/ 114 h 1948"/>
                <a:gd name="T20" fmla="*/ 792 w 1100"/>
                <a:gd name="T21" fmla="*/ 100 h 1948"/>
                <a:gd name="T22" fmla="*/ 754 w 1100"/>
                <a:gd name="T23" fmla="*/ 100 h 1948"/>
                <a:gd name="T24" fmla="*/ 704 w 1100"/>
                <a:gd name="T25" fmla="*/ 124 h 1948"/>
                <a:gd name="T26" fmla="*/ 674 w 1100"/>
                <a:gd name="T27" fmla="*/ 162 h 1948"/>
                <a:gd name="T28" fmla="*/ 664 w 1100"/>
                <a:gd name="T29" fmla="*/ 222 h 1948"/>
                <a:gd name="T30" fmla="*/ 644 w 1100"/>
                <a:gd name="T31" fmla="*/ 132 h 1948"/>
                <a:gd name="T32" fmla="*/ 632 w 1100"/>
                <a:gd name="T33" fmla="*/ 66 h 1948"/>
                <a:gd name="T34" fmla="*/ 602 w 1100"/>
                <a:gd name="T35" fmla="*/ 28 h 1948"/>
                <a:gd name="T36" fmla="*/ 548 w 1100"/>
                <a:gd name="T37" fmla="*/ 2 h 1948"/>
                <a:gd name="T38" fmla="*/ 508 w 1100"/>
                <a:gd name="T39" fmla="*/ 2 h 1948"/>
                <a:gd name="T40" fmla="*/ 472 w 1100"/>
                <a:gd name="T41" fmla="*/ 16 h 1948"/>
                <a:gd name="T42" fmla="*/ 430 w 1100"/>
                <a:gd name="T43" fmla="*/ 54 h 1948"/>
                <a:gd name="T44" fmla="*/ 412 w 1100"/>
                <a:gd name="T45" fmla="*/ 112 h 1948"/>
                <a:gd name="T46" fmla="*/ 388 w 1100"/>
                <a:gd name="T47" fmla="*/ 302 h 1948"/>
                <a:gd name="T48" fmla="*/ 384 w 1100"/>
                <a:gd name="T49" fmla="*/ 256 h 1948"/>
                <a:gd name="T50" fmla="*/ 350 w 1100"/>
                <a:gd name="T51" fmla="*/ 208 h 1948"/>
                <a:gd name="T52" fmla="*/ 302 w 1100"/>
                <a:gd name="T53" fmla="*/ 184 h 1948"/>
                <a:gd name="T54" fmla="*/ 266 w 1100"/>
                <a:gd name="T55" fmla="*/ 184 h 1948"/>
                <a:gd name="T56" fmla="*/ 232 w 1100"/>
                <a:gd name="T57" fmla="*/ 198 h 1948"/>
                <a:gd name="T58" fmla="*/ 190 w 1100"/>
                <a:gd name="T59" fmla="*/ 244 h 1948"/>
                <a:gd name="T60" fmla="*/ 180 w 1100"/>
                <a:gd name="T61" fmla="*/ 302 h 1948"/>
                <a:gd name="T62" fmla="*/ 156 w 1100"/>
                <a:gd name="T63" fmla="*/ 542 h 1948"/>
                <a:gd name="T64" fmla="*/ 138 w 1100"/>
                <a:gd name="T65" fmla="*/ 488 h 1948"/>
                <a:gd name="T66" fmla="*/ 110 w 1100"/>
                <a:gd name="T67" fmla="*/ 466 h 1948"/>
                <a:gd name="T68" fmla="*/ 66 w 1100"/>
                <a:gd name="T69" fmla="*/ 462 h 1948"/>
                <a:gd name="T70" fmla="*/ 30 w 1100"/>
                <a:gd name="T71" fmla="*/ 478 h 1948"/>
                <a:gd name="T72" fmla="*/ 2 w 1100"/>
                <a:gd name="T73" fmla="*/ 530 h 1948"/>
                <a:gd name="T74" fmla="*/ 0 w 1100"/>
                <a:gd name="T75" fmla="*/ 1228 h 1948"/>
                <a:gd name="T76" fmla="*/ 2 w 1100"/>
                <a:gd name="T77" fmla="*/ 1388 h 1948"/>
                <a:gd name="T78" fmla="*/ 22 w 1100"/>
                <a:gd name="T79" fmla="*/ 1510 h 1948"/>
                <a:gd name="T80" fmla="*/ 64 w 1100"/>
                <a:gd name="T81" fmla="*/ 1622 h 1948"/>
                <a:gd name="T82" fmla="*/ 124 w 1100"/>
                <a:gd name="T83" fmla="*/ 1720 h 1948"/>
                <a:gd name="T84" fmla="*/ 198 w 1100"/>
                <a:gd name="T85" fmla="*/ 1806 h 1948"/>
                <a:gd name="T86" fmla="*/ 288 w 1100"/>
                <a:gd name="T87" fmla="*/ 1872 h 1948"/>
                <a:gd name="T88" fmla="*/ 386 w 1100"/>
                <a:gd name="T89" fmla="*/ 1920 h 1948"/>
                <a:gd name="T90" fmla="*/ 494 w 1100"/>
                <a:gd name="T91" fmla="*/ 1944 h 1948"/>
                <a:gd name="T92" fmla="*/ 580 w 1100"/>
                <a:gd name="T93" fmla="*/ 1948 h 1948"/>
                <a:gd name="T94" fmla="*/ 688 w 1100"/>
                <a:gd name="T95" fmla="*/ 1928 h 1948"/>
                <a:gd name="T96" fmla="*/ 790 w 1100"/>
                <a:gd name="T97" fmla="*/ 1886 h 1948"/>
                <a:gd name="T98" fmla="*/ 880 w 1100"/>
                <a:gd name="T99" fmla="*/ 1824 h 1948"/>
                <a:gd name="T100" fmla="*/ 958 w 1100"/>
                <a:gd name="T101" fmla="*/ 1744 h 1948"/>
                <a:gd name="T102" fmla="*/ 1020 w 1100"/>
                <a:gd name="T103" fmla="*/ 1648 h 1948"/>
                <a:gd name="T104" fmla="*/ 1066 w 1100"/>
                <a:gd name="T105" fmla="*/ 1538 h 1948"/>
                <a:gd name="T106" fmla="*/ 1094 w 1100"/>
                <a:gd name="T107" fmla="*/ 1418 h 1948"/>
                <a:gd name="T108" fmla="*/ 1100 w 1100"/>
                <a:gd name="T109" fmla="*/ 1324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0" h="1948">
                  <a:moveTo>
                    <a:pt x="1100" y="1136"/>
                  </a:moveTo>
                  <a:lnTo>
                    <a:pt x="1100" y="1136"/>
                  </a:lnTo>
                  <a:lnTo>
                    <a:pt x="1094" y="762"/>
                  </a:lnTo>
                  <a:lnTo>
                    <a:pt x="1094" y="762"/>
                  </a:lnTo>
                  <a:lnTo>
                    <a:pt x="1092" y="746"/>
                  </a:lnTo>
                  <a:lnTo>
                    <a:pt x="1090" y="730"/>
                  </a:lnTo>
                  <a:lnTo>
                    <a:pt x="1082" y="712"/>
                  </a:lnTo>
                  <a:lnTo>
                    <a:pt x="1072" y="692"/>
                  </a:lnTo>
                  <a:lnTo>
                    <a:pt x="1066" y="684"/>
                  </a:lnTo>
                  <a:lnTo>
                    <a:pt x="1058" y="676"/>
                  </a:lnTo>
                  <a:lnTo>
                    <a:pt x="1050" y="670"/>
                  </a:lnTo>
                  <a:lnTo>
                    <a:pt x="1040" y="666"/>
                  </a:lnTo>
                  <a:lnTo>
                    <a:pt x="1028" y="662"/>
                  </a:lnTo>
                  <a:lnTo>
                    <a:pt x="1014" y="660"/>
                  </a:lnTo>
                  <a:lnTo>
                    <a:pt x="984" y="660"/>
                  </a:lnTo>
                  <a:lnTo>
                    <a:pt x="984" y="660"/>
                  </a:lnTo>
                  <a:lnTo>
                    <a:pt x="976" y="662"/>
                  </a:lnTo>
                  <a:lnTo>
                    <a:pt x="966" y="666"/>
                  </a:lnTo>
                  <a:lnTo>
                    <a:pt x="952" y="672"/>
                  </a:lnTo>
                  <a:lnTo>
                    <a:pt x="938" y="680"/>
                  </a:lnTo>
                  <a:lnTo>
                    <a:pt x="924" y="694"/>
                  </a:lnTo>
                  <a:lnTo>
                    <a:pt x="920" y="702"/>
                  </a:lnTo>
                  <a:lnTo>
                    <a:pt x="914" y="712"/>
                  </a:lnTo>
                  <a:lnTo>
                    <a:pt x="910" y="722"/>
                  </a:lnTo>
                  <a:lnTo>
                    <a:pt x="906" y="734"/>
                  </a:lnTo>
                  <a:lnTo>
                    <a:pt x="904" y="746"/>
                  </a:lnTo>
                  <a:lnTo>
                    <a:pt x="904" y="762"/>
                  </a:lnTo>
                  <a:lnTo>
                    <a:pt x="904" y="1136"/>
                  </a:lnTo>
                  <a:lnTo>
                    <a:pt x="882" y="1136"/>
                  </a:lnTo>
                  <a:lnTo>
                    <a:pt x="882" y="222"/>
                  </a:lnTo>
                  <a:lnTo>
                    <a:pt x="882" y="222"/>
                  </a:lnTo>
                  <a:lnTo>
                    <a:pt x="882" y="204"/>
                  </a:lnTo>
                  <a:lnTo>
                    <a:pt x="880" y="188"/>
                  </a:lnTo>
                  <a:lnTo>
                    <a:pt x="876" y="174"/>
                  </a:lnTo>
                  <a:lnTo>
                    <a:pt x="872" y="162"/>
                  </a:lnTo>
                  <a:lnTo>
                    <a:pt x="866" y="150"/>
                  </a:lnTo>
                  <a:lnTo>
                    <a:pt x="858" y="140"/>
                  </a:lnTo>
                  <a:lnTo>
                    <a:pt x="850" y="132"/>
                  </a:lnTo>
                  <a:lnTo>
                    <a:pt x="842" y="124"/>
                  </a:lnTo>
                  <a:lnTo>
                    <a:pt x="826" y="114"/>
                  </a:lnTo>
                  <a:lnTo>
                    <a:pt x="812" y="106"/>
                  </a:lnTo>
                  <a:lnTo>
                    <a:pt x="800" y="102"/>
                  </a:lnTo>
                  <a:lnTo>
                    <a:pt x="792" y="100"/>
                  </a:lnTo>
                  <a:lnTo>
                    <a:pt x="792" y="100"/>
                  </a:lnTo>
                  <a:lnTo>
                    <a:pt x="774" y="98"/>
                  </a:lnTo>
                  <a:lnTo>
                    <a:pt x="774" y="98"/>
                  </a:lnTo>
                  <a:lnTo>
                    <a:pt x="754" y="100"/>
                  </a:lnTo>
                  <a:lnTo>
                    <a:pt x="754" y="100"/>
                  </a:lnTo>
                  <a:lnTo>
                    <a:pt x="748" y="102"/>
                  </a:lnTo>
                  <a:lnTo>
                    <a:pt x="736" y="106"/>
                  </a:lnTo>
                  <a:lnTo>
                    <a:pt x="720" y="114"/>
                  </a:lnTo>
                  <a:lnTo>
                    <a:pt x="704" y="124"/>
                  </a:lnTo>
                  <a:lnTo>
                    <a:pt x="696" y="132"/>
                  </a:lnTo>
                  <a:lnTo>
                    <a:pt x="688" y="140"/>
                  </a:lnTo>
                  <a:lnTo>
                    <a:pt x="682" y="150"/>
                  </a:lnTo>
                  <a:lnTo>
                    <a:pt x="674" y="162"/>
                  </a:lnTo>
                  <a:lnTo>
                    <a:pt x="670" y="174"/>
                  </a:lnTo>
                  <a:lnTo>
                    <a:pt x="666" y="188"/>
                  </a:lnTo>
                  <a:lnTo>
                    <a:pt x="664" y="204"/>
                  </a:lnTo>
                  <a:lnTo>
                    <a:pt x="664" y="222"/>
                  </a:lnTo>
                  <a:lnTo>
                    <a:pt x="664" y="1136"/>
                  </a:lnTo>
                  <a:lnTo>
                    <a:pt x="644" y="1136"/>
                  </a:lnTo>
                  <a:lnTo>
                    <a:pt x="644" y="132"/>
                  </a:lnTo>
                  <a:lnTo>
                    <a:pt x="644" y="132"/>
                  </a:lnTo>
                  <a:lnTo>
                    <a:pt x="644" y="112"/>
                  </a:lnTo>
                  <a:lnTo>
                    <a:pt x="642" y="96"/>
                  </a:lnTo>
                  <a:lnTo>
                    <a:pt x="638" y="80"/>
                  </a:lnTo>
                  <a:lnTo>
                    <a:pt x="632" y="66"/>
                  </a:lnTo>
                  <a:lnTo>
                    <a:pt x="626" y="54"/>
                  </a:lnTo>
                  <a:lnTo>
                    <a:pt x="618" y="44"/>
                  </a:lnTo>
                  <a:lnTo>
                    <a:pt x="610" y="36"/>
                  </a:lnTo>
                  <a:lnTo>
                    <a:pt x="602" y="28"/>
                  </a:lnTo>
                  <a:lnTo>
                    <a:pt x="584" y="16"/>
                  </a:lnTo>
                  <a:lnTo>
                    <a:pt x="568" y="8"/>
                  </a:lnTo>
                  <a:lnTo>
                    <a:pt x="556" y="2"/>
                  </a:lnTo>
                  <a:lnTo>
                    <a:pt x="548" y="2"/>
                  </a:lnTo>
                  <a:lnTo>
                    <a:pt x="548" y="2"/>
                  </a:lnTo>
                  <a:lnTo>
                    <a:pt x="528" y="0"/>
                  </a:lnTo>
                  <a:lnTo>
                    <a:pt x="528" y="0"/>
                  </a:lnTo>
                  <a:lnTo>
                    <a:pt x="508" y="2"/>
                  </a:lnTo>
                  <a:lnTo>
                    <a:pt x="508" y="2"/>
                  </a:lnTo>
                  <a:lnTo>
                    <a:pt x="500" y="2"/>
                  </a:lnTo>
                  <a:lnTo>
                    <a:pt x="488" y="8"/>
                  </a:lnTo>
                  <a:lnTo>
                    <a:pt x="472" y="16"/>
                  </a:lnTo>
                  <a:lnTo>
                    <a:pt x="454" y="28"/>
                  </a:lnTo>
                  <a:lnTo>
                    <a:pt x="446" y="36"/>
                  </a:lnTo>
                  <a:lnTo>
                    <a:pt x="438" y="44"/>
                  </a:lnTo>
                  <a:lnTo>
                    <a:pt x="430" y="54"/>
                  </a:lnTo>
                  <a:lnTo>
                    <a:pt x="424" y="66"/>
                  </a:lnTo>
                  <a:lnTo>
                    <a:pt x="418" y="80"/>
                  </a:lnTo>
                  <a:lnTo>
                    <a:pt x="414" y="96"/>
                  </a:lnTo>
                  <a:lnTo>
                    <a:pt x="412" y="112"/>
                  </a:lnTo>
                  <a:lnTo>
                    <a:pt x="412" y="132"/>
                  </a:lnTo>
                  <a:lnTo>
                    <a:pt x="412" y="1136"/>
                  </a:lnTo>
                  <a:lnTo>
                    <a:pt x="388" y="1136"/>
                  </a:lnTo>
                  <a:lnTo>
                    <a:pt x="388" y="302"/>
                  </a:lnTo>
                  <a:lnTo>
                    <a:pt x="388" y="302"/>
                  </a:lnTo>
                  <a:lnTo>
                    <a:pt x="388" y="286"/>
                  </a:lnTo>
                  <a:lnTo>
                    <a:pt x="386" y="270"/>
                  </a:lnTo>
                  <a:lnTo>
                    <a:pt x="384" y="256"/>
                  </a:lnTo>
                  <a:lnTo>
                    <a:pt x="378" y="244"/>
                  </a:lnTo>
                  <a:lnTo>
                    <a:pt x="372" y="234"/>
                  </a:lnTo>
                  <a:lnTo>
                    <a:pt x="366" y="224"/>
                  </a:lnTo>
                  <a:lnTo>
                    <a:pt x="350" y="208"/>
                  </a:lnTo>
                  <a:lnTo>
                    <a:pt x="336" y="198"/>
                  </a:lnTo>
                  <a:lnTo>
                    <a:pt x="320" y="190"/>
                  </a:lnTo>
                  <a:lnTo>
                    <a:pt x="308" y="186"/>
                  </a:lnTo>
                  <a:lnTo>
                    <a:pt x="302" y="184"/>
                  </a:lnTo>
                  <a:lnTo>
                    <a:pt x="302" y="184"/>
                  </a:lnTo>
                  <a:lnTo>
                    <a:pt x="284" y="184"/>
                  </a:lnTo>
                  <a:lnTo>
                    <a:pt x="284" y="184"/>
                  </a:lnTo>
                  <a:lnTo>
                    <a:pt x="266" y="184"/>
                  </a:lnTo>
                  <a:lnTo>
                    <a:pt x="266" y="184"/>
                  </a:lnTo>
                  <a:lnTo>
                    <a:pt x="260" y="186"/>
                  </a:lnTo>
                  <a:lnTo>
                    <a:pt x="248" y="190"/>
                  </a:lnTo>
                  <a:lnTo>
                    <a:pt x="232" y="198"/>
                  </a:lnTo>
                  <a:lnTo>
                    <a:pt x="218" y="208"/>
                  </a:lnTo>
                  <a:lnTo>
                    <a:pt x="202" y="224"/>
                  </a:lnTo>
                  <a:lnTo>
                    <a:pt x="196" y="234"/>
                  </a:lnTo>
                  <a:lnTo>
                    <a:pt x="190" y="244"/>
                  </a:lnTo>
                  <a:lnTo>
                    <a:pt x="184" y="256"/>
                  </a:lnTo>
                  <a:lnTo>
                    <a:pt x="182" y="270"/>
                  </a:lnTo>
                  <a:lnTo>
                    <a:pt x="180" y="286"/>
                  </a:lnTo>
                  <a:lnTo>
                    <a:pt x="180" y="302"/>
                  </a:lnTo>
                  <a:lnTo>
                    <a:pt x="180" y="1136"/>
                  </a:lnTo>
                  <a:lnTo>
                    <a:pt x="156" y="1136"/>
                  </a:lnTo>
                  <a:lnTo>
                    <a:pt x="156" y="542"/>
                  </a:lnTo>
                  <a:lnTo>
                    <a:pt x="156" y="542"/>
                  </a:lnTo>
                  <a:lnTo>
                    <a:pt x="154" y="530"/>
                  </a:lnTo>
                  <a:lnTo>
                    <a:pt x="152" y="516"/>
                  </a:lnTo>
                  <a:lnTo>
                    <a:pt x="146" y="502"/>
                  </a:lnTo>
                  <a:lnTo>
                    <a:pt x="138" y="488"/>
                  </a:lnTo>
                  <a:lnTo>
                    <a:pt x="132" y="480"/>
                  </a:lnTo>
                  <a:lnTo>
                    <a:pt x="126" y="474"/>
                  </a:lnTo>
                  <a:lnTo>
                    <a:pt x="120" y="470"/>
                  </a:lnTo>
                  <a:lnTo>
                    <a:pt x="110" y="466"/>
                  </a:lnTo>
                  <a:lnTo>
                    <a:pt x="100" y="462"/>
                  </a:lnTo>
                  <a:lnTo>
                    <a:pt x="90" y="462"/>
                  </a:lnTo>
                  <a:lnTo>
                    <a:pt x="66" y="462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50" y="466"/>
                  </a:lnTo>
                  <a:lnTo>
                    <a:pt x="40" y="470"/>
                  </a:lnTo>
                  <a:lnTo>
                    <a:pt x="30" y="478"/>
                  </a:lnTo>
                  <a:lnTo>
                    <a:pt x="18" y="488"/>
                  </a:lnTo>
                  <a:lnTo>
                    <a:pt x="10" y="502"/>
                  </a:lnTo>
                  <a:lnTo>
                    <a:pt x="4" y="520"/>
                  </a:lnTo>
                  <a:lnTo>
                    <a:pt x="2" y="530"/>
                  </a:lnTo>
                  <a:lnTo>
                    <a:pt x="2" y="542"/>
                  </a:lnTo>
                  <a:lnTo>
                    <a:pt x="2" y="1136"/>
                  </a:lnTo>
                  <a:lnTo>
                    <a:pt x="2" y="1136"/>
                  </a:lnTo>
                  <a:lnTo>
                    <a:pt x="0" y="1228"/>
                  </a:lnTo>
                  <a:lnTo>
                    <a:pt x="0" y="1324"/>
                  </a:lnTo>
                  <a:lnTo>
                    <a:pt x="0" y="1324"/>
                  </a:lnTo>
                  <a:lnTo>
                    <a:pt x="0" y="1356"/>
                  </a:lnTo>
                  <a:lnTo>
                    <a:pt x="2" y="1388"/>
                  </a:lnTo>
                  <a:lnTo>
                    <a:pt x="4" y="1418"/>
                  </a:lnTo>
                  <a:lnTo>
                    <a:pt x="10" y="1450"/>
                  </a:lnTo>
                  <a:lnTo>
                    <a:pt x="16" y="1480"/>
                  </a:lnTo>
                  <a:lnTo>
                    <a:pt x="22" y="1510"/>
                  </a:lnTo>
                  <a:lnTo>
                    <a:pt x="30" y="1538"/>
                  </a:lnTo>
                  <a:lnTo>
                    <a:pt x="40" y="1566"/>
                  </a:lnTo>
                  <a:lnTo>
                    <a:pt x="52" y="1594"/>
                  </a:lnTo>
                  <a:lnTo>
                    <a:pt x="64" y="1622"/>
                  </a:lnTo>
                  <a:lnTo>
                    <a:pt x="78" y="1648"/>
                  </a:lnTo>
                  <a:lnTo>
                    <a:pt x="92" y="1672"/>
                  </a:lnTo>
                  <a:lnTo>
                    <a:pt x="108" y="1698"/>
                  </a:lnTo>
                  <a:lnTo>
                    <a:pt x="124" y="1720"/>
                  </a:lnTo>
                  <a:lnTo>
                    <a:pt x="140" y="1744"/>
                  </a:lnTo>
                  <a:lnTo>
                    <a:pt x="160" y="1766"/>
                  </a:lnTo>
                  <a:lnTo>
                    <a:pt x="178" y="1786"/>
                  </a:lnTo>
                  <a:lnTo>
                    <a:pt x="198" y="1806"/>
                  </a:lnTo>
                  <a:lnTo>
                    <a:pt x="220" y="1824"/>
                  </a:lnTo>
                  <a:lnTo>
                    <a:pt x="242" y="1842"/>
                  </a:lnTo>
                  <a:lnTo>
                    <a:pt x="264" y="1858"/>
                  </a:lnTo>
                  <a:lnTo>
                    <a:pt x="288" y="1872"/>
                  </a:lnTo>
                  <a:lnTo>
                    <a:pt x="312" y="1886"/>
                  </a:lnTo>
                  <a:lnTo>
                    <a:pt x="336" y="1900"/>
                  </a:lnTo>
                  <a:lnTo>
                    <a:pt x="360" y="1910"/>
                  </a:lnTo>
                  <a:lnTo>
                    <a:pt x="386" y="1920"/>
                  </a:lnTo>
                  <a:lnTo>
                    <a:pt x="412" y="1928"/>
                  </a:lnTo>
                  <a:lnTo>
                    <a:pt x="440" y="1936"/>
                  </a:lnTo>
                  <a:lnTo>
                    <a:pt x="466" y="1940"/>
                  </a:lnTo>
                  <a:lnTo>
                    <a:pt x="494" y="1944"/>
                  </a:lnTo>
                  <a:lnTo>
                    <a:pt x="522" y="1948"/>
                  </a:lnTo>
                  <a:lnTo>
                    <a:pt x="552" y="1948"/>
                  </a:lnTo>
                  <a:lnTo>
                    <a:pt x="552" y="1948"/>
                  </a:lnTo>
                  <a:lnTo>
                    <a:pt x="580" y="1948"/>
                  </a:lnTo>
                  <a:lnTo>
                    <a:pt x="608" y="1944"/>
                  </a:lnTo>
                  <a:lnTo>
                    <a:pt x="636" y="1940"/>
                  </a:lnTo>
                  <a:lnTo>
                    <a:pt x="662" y="1936"/>
                  </a:lnTo>
                  <a:lnTo>
                    <a:pt x="688" y="1928"/>
                  </a:lnTo>
                  <a:lnTo>
                    <a:pt x="714" y="1920"/>
                  </a:lnTo>
                  <a:lnTo>
                    <a:pt x="740" y="1910"/>
                  </a:lnTo>
                  <a:lnTo>
                    <a:pt x="766" y="1900"/>
                  </a:lnTo>
                  <a:lnTo>
                    <a:pt x="790" y="1886"/>
                  </a:lnTo>
                  <a:lnTo>
                    <a:pt x="814" y="1872"/>
                  </a:lnTo>
                  <a:lnTo>
                    <a:pt x="836" y="1858"/>
                  </a:lnTo>
                  <a:lnTo>
                    <a:pt x="858" y="1842"/>
                  </a:lnTo>
                  <a:lnTo>
                    <a:pt x="880" y="1824"/>
                  </a:lnTo>
                  <a:lnTo>
                    <a:pt x="900" y="1806"/>
                  </a:lnTo>
                  <a:lnTo>
                    <a:pt x="920" y="1786"/>
                  </a:lnTo>
                  <a:lnTo>
                    <a:pt x="940" y="1766"/>
                  </a:lnTo>
                  <a:lnTo>
                    <a:pt x="958" y="1744"/>
                  </a:lnTo>
                  <a:lnTo>
                    <a:pt x="974" y="1722"/>
                  </a:lnTo>
                  <a:lnTo>
                    <a:pt x="992" y="1698"/>
                  </a:lnTo>
                  <a:lnTo>
                    <a:pt x="1006" y="1672"/>
                  </a:lnTo>
                  <a:lnTo>
                    <a:pt x="1020" y="1648"/>
                  </a:lnTo>
                  <a:lnTo>
                    <a:pt x="1034" y="1622"/>
                  </a:lnTo>
                  <a:lnTo>
                    <a:pt x="1046" y="1594"/>
                  </a:lnTo>
                  <a:lnTo>
                    <a:pt x="1056" y="1566"/>
                  </a:lnTo>
                  <a:lnTo>
                    <a:pt x="1066" y="1538"/>
                  </a:lnTo>
                  <a:lnTo>
                    <a:pt x="1074" y="1510"/>
                  </a:lnTo>
                  <a:lnTo>
                    <a:pt x="1082" y="1480"/>
                  </a:lnTo>
                  <a:lnTo>
                    <a:pt x="1088" y="1450"/>
                  </a:lnTo>
                  <a:lnTo>
                    <a:pt x="1094" y="1418"/>
                  </a:lnTo>
                  <a:lnTo>
                    <a:pt x="1096" y="1388"/>
                  </a:lnTo>
                  <a:lnTo>
                    <a:pt x="1098" y="1356"/>
                  </a:lnTo>
                  <a:lnTo>
                    <a:pt x="1100" y="1324"/>
                  </a:lnTo>
                  <a:lnTo>
                    <a:pt x="1100" y="1324"/>
                  </a:lnTo>
                  <a:lnTo>
                    <a:pt x="1100" y="1228"/>
                  </a:lnTo>
                  <a:lnTo>
                    <a:pt x="1100" y="1180"/>
                  </a:lnTo>
                  <a:lnTo>
                    <a:pt x="1100" y="113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3327" y="924"/>
              <a:ext cx="1100" cy="1948"/>
            </a:xfrm>
            <a:custGeom>
              <a:avLst/>
              <a:gdLst>
                <a:gd name="T0" fmla="*/ 1094 w 1100"/>
                <a:gd name="T1" fmla="*/ 762 h 1948"/>
                <a:gd name="T2" fmla="*/ 1072 w 1100"/>
                <a:gd name="T3" fmla="*/ 692 h 1948"/>
                <a:gd name="T4" fmla="*/ 1040 w 1100"/>
                <a:gd name="T5" fmla="*/ 666 h 1948"/>
                <a:gd name="T6" fmla="*/ 984 w 1100"/>
                <a:gd name="T7" fmla="*/ 660 h 1948"/>
                <a:gd name="T8" fmla="*/ 938 w 1100"/>
                <a:gd name="T9" fmla="*/ 680 h 1948"/>
                <a:gd name="T10" fmla="*/ 910 w 1100"/>
                <a:gd name="T11" fmla="*/ 722 h 1948"/>
                <a:gd name="T12" fmla="*/ 904 w 1100"/>
                <a:gd name="T13" fmla="*/ 1136 h 1948"/>
                <a:gd name="T14" fmla="*/ 882 w 1100"/>
                <a:gd name="T15" fmla="*/ 204 h 1948"/>
                <a:gd name="T16" fmla="*/ 866 w 1100"/>
                <a:gd name="T17" fmla="*/ 150 h 1948"/>
                <a:gd name="T18" fmla="*/ 826 w 1100"/>
                <a:gd name="T19" fmla="*/ 114 h 1948"/>
                <a:gd name="T20" fmla="*/ 792 w 1100"/>
                <a:gd name="T21" fmla="*/ 100 h 1948"/>
                <a:gd name="T22" fmla="*/ 754 w 1100"/>
                <a:gd name="T23" fmla="*/ 100 h 1948"/>
                <a:gd name="T24" fmla="*/ 704 w 1100"/>
                <a:gd name="T25" fmla="*/ 124 h 1948"/>
                <a:gd name="T26" fmla="*/ 674 w 1100"/>
                <a:gd name="T27" fmla="*/ 162 h 1948"/>
                <a:gd name="T28" fmla="*/ 664 w 1100"/>
                <a:gd name="T29" fmla="*/ 222 h 1948"/>
                <a:gd name="T30" fmla="*/ 644 w 1100"/>
                <a:gd name="T31" fmla="*/ 132 h 1948"/>
                <a:gd name="T32" fmla="*/ 632 w 1100"/>
                <a:gd name="T33" fmla="*/ 66 h 1948"/>
                <a:gd name="T34" fmla="*/ 602 w 1100"/>
                <a:gd name="T35" fmla="*/ 28 h 1948"/>
                <a:gd name="T36" fmla="*/ 548 w 1100"/>
                <a:gd name="T37" fmla="*/ 2 h 1948"/>
                <a:gd name="T38" fmla="*/ 508 w 1100"/>
                <a:gd name="T39" fmla="*/ 2 h 1948"/>
                <a:gd name="T40" fmla="*/ 472 w 1100"/>
                <a:gd name="T41" fmla="*/ 16 h 1948"/>
                <a:gd name="T42" fmla="*/ 430 w 1100"/>
                <a:gd name="T43" fmla="*/ 54 h 1948"/>
                <a:gd name="T44" fmla="*/ 412 w 1100"/>
                <a:gd name="T45" fmla="*/ 112 h 1948"/>
                <a:gd name="T46" fmla="*/ 388 w 1100"/>
                <a:gd name="T47" fmla="*/ 302 h 1948"/>
                <a:gd name="T48" fmla="*/ 384 w 1100"/>
                <a:gd name="T49" fmla="*/ 256 h 1948"/>
                <a:gd name="T50" fmla="*/ 350 w 1100"/>
                <a:gd name="T51" fmla="*/ 208 h 1948"/>
                <a:gd name="T52" fmla="*/ 302 w 1100"/>
                <a:gd name="T53" fmla="*/ 184 h 1948"/>
                <a:gd name="T54" fmla="*/ 266 w 1100"/>
                <a:gd name="T55" fmla="*/ 184 h 1948"/>
                <a:gd name="T56" fmla="*/ 232 w 1100"/>
                <a:gd name="T57" fmla="*/ 198 h 1948"/>
                <a:gd name="T58" fmla="*/ 190 w 1100"/>
                <a:gd name="T59" fmla="*/ 244 h 1948"/>
                <a:gd name="T60" fmla="*/ 180 w 1100"/>
                <a:gd name="T61" fmla="*/ 302 h 1948"/>
                <a:gd name="T62" fmla="*/ 156 w 1100"/>
                <a:gd name="T63" fmla="*/ 542 h 1948"/>
                <a:gd name="T64" fmla="*/ 138 w 1100"/>
                <a:gd name="T65" fmla="*/ 488 h 1948"/>
                <a:gd name="T66" fmla="*/ 110 w 1100"/>
                <a:gd name="T67" fmla="*/ 466 h 1948"/>
                <a:gd name="T68" fmla="*/ 66 w 1100"/>
                <a:gd name="T69" fmla="*/ 462 h 1948"/>
                <a:gd name="T70" fmla="*/ 30 w 1100"/>
                <a:gd name="T71" fmla="*/ 478 h 1948"/>
                <a:gd name="T72" fmla="*/ 2 w 1100"/>
                <a:gd name="T73" fmla="*/ 530 h 1948"/>
                <a:gd name="T74" fmla="*/ 0 w 1100"/>
                <a:gd name="T75" fmla="*/ 1228 h 1948"/>
                <a:gd name="T76" fmla="*/ 2 w 1100"/>
                <a:gd name="T77" fmla="*/ 1388 h 1948"/>
                <a:gd name="T78" fmla="*/ 22 w 1100"/>
                <a:gd name="T79" fmla="*/ 1510 h 1948"/>
                <a:gd name="T80" fmla="*/ 64 w 1100"/>
                <a:gd name="T81" fmla="*/ 1622 h 1948"/>
                <a:gd name="T82" fmla="*/ 124 w 1100"/>
                <a:gd name="T83" fmla="*/ 1720 h 1948"/>
                <a:gd name="T84" fmla="*/ 198 w 1100"/>
                <a:gd name="T85" fmla="*/ 1806 h 1948"/>
                <a:gd name="T86" fmla="*/ 288 w 1100"/>
                <a:gd name="T87" fmla="*/ 1872 h 1948"/>
                <a:gd name="T88" fmla="*/ 386 w 1100"/>
                <a:gd name="T89" fmla="*/ 1920 h 1948"/>
                <a:gd name="T90" fmla="*/ 494 w 1100"/>
                <a:gd name="T91" fmla="*/ 1944 h 1948"/>
                <a:gd name="T92" fmla="*/ 580 w 1100"/>
                <a:gd name="T93" fmla="*/ 1948 h 1948"/>
                <a:gd name="T94" fmla="*/ 688 w 1100"/>
                <a:gd name="T95" fmla="*/ 1928 h 1948"/>
                <a:gd name="T96" fmla="*/ 790 w 1100"/>
                <a:gd name="T97" fmla="*/ 1886 h 1948"/>
                <a:gd name="T98" fmla="*/ 880 w 1100"/>
                <a:gd name="T99" fmla="*/ 1824 h 1948"/>
                <a:gd name="T100" fmla="*/ 958 w 1100"/>
                <a:gd name="T101" fmla="*/ 1744 h 1948"/>
                <a:gd name="T102" fmla="*/ 1020 w 1100"/>
                <a:gd name="T103" fmla="*/ 1648 h 1948"/>
                <a:gd name="T104" fmla="*/ 1066 w 1100"/>
                <a:gd name="T105" fmla="*/ 1538 h 1948"/>
                <a:gd name="T106" fmla="*/ 1094 w 1100"/>
                <a:gd name="T107" fmla="*/ 1418 h 1948"/>
                <a:gd name="T108" fmla="*/ 1100 w 1100"/>
                <a:gd name="T109" fmla="*/ 1324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0" h="1948">
                  <a:moveTo>
                    <a:pt x="1100" y="1136"/>
                  </a:moveTo>
                  <a:lnTo>
                    <a:pt x="1100" y="1136"/>
                  </a:lnTo>
                  <a:lnTo>
                    <a:pt x="1094" y="762"/>
                  </a:lnTo>
                  <a:lnTo>
                    <a:pt x="1094" y="762"/>
                  </a:lnTo>
                  <a:lnTo>
                    <a:pt x="1092" y="746"/>
                  </a:lnTo>
                  <a:lnTo>
                    <a:pt x="1090" y="730"/>
                  </a:lnTo>
                  <a:lnTo>
                    <a:pt x="1082" y="712"/>
                  </a:lnTo>
                  <a:lnTo>
                    <a:pt x="1072" y="692"/>
                  </a:lnTo>
                  <a:lnTo>
                    <a:pt x="1066" y="684"/>
                  </a:lnTo>
                  <a:lnTo>
                    <a:pt x="1058" y="676"/>
                  </a:lnTo>
                  <a:lnTo>
                    <a:pt x="1050" y="670"/>
                  </a:lnTo>
                  <a:lnTo>
                    <a:pt x="1040" y="666"/>
                  </a:lnTo>
                  <a:lnTo>
                    <a:pt x="1028" y="662"/>
                  </a:lnTo>
                  <a:lnTo>
                    <a:pt x="1014" y="660"/>
                  </a:lnTo>
                  <a:lnTo>
                    <a:pt x="984" y="660"/>
                  </a:lnTo>
                  <a:lnTo>
                    <a:pt x="984" y="660"/>
                  </a:lnTo>
                  <a:lnTo>
                    <a:pt x="976" y="662"/>
                  </a:lnTo>
                  <a:lnTo>
                    <a:pt x="966" y="666"/>
                  </a:lnTo>
                  <a:lnTo>
                    <a:pt x="952" y="672"/>
                  </a:lnTo>
                  <a:lnTo>
                    <a:pt x="938" y="680"/>
                  </a:lnTo>
                  <a:lnTo>
                    <a:pt x="924" y="694"/>
                  </a:lnTo>
                  <a:lnTo>
                    <a:pt x="920" y="702"/>
                  </a:lnTo>
                  <a:lnTo>
                    <a:pt x="914" y="712"/>
                  </a:lnTo>
                  <a:lnTo>
                    <a:pt x="910" y="722"/>
                  </a:lnTo>
                  <a:lnTo>
                    <a:pt x="906" y="734"/>
                  </a:lnTo>
                  <a:lnTo>
                    <a:pt x="904" y="746"/>
                  </a:lnTo>
                  <a:lnTo>
                    <a:pt x="904" y="762"/>
                  </a:lnTo>
                  <a:lnTo>
                    <a:pt x="904" y="1136"/>
                  </a:lnTo>
                  <a:lnTo>
                    <a:pt x="882" y="1136"/>
                  </a:lnTo>
                  <a:lnTo>
                    <a:pt x="882" y="222"/>
                  </a:lnTo>
                  <a:lnTo>
                    <a:pt x="882" y="222"/>
                  </a:lnTo>
                  <a:lnTo>
                    <a:pt x="882" y="204"/>
                  </a:lnTo>
                  <a:lnTo>
                    <a:pt x="880" y="188"/>
                  </a:lnTo>
                  <a:lnTo>
                    <a:pt x="876" y="174"/>
                  </a:lnTo>
                  <a:lnTo>
                    <a:pt x="872" y="162"/>
                  </a:lnTo>
                  <a:lnTo>
                    <a:pt x="866" y="150"/>
                  </a:lnTo>
                  <a:lnTo>
                    <a:pt x="858" y="140"/>
                  </a:lnTo>
                  <a:lnTo>
                    <a:pt x="850" y="132"/>
                  </a:lnTo>
                  <a:lnTo>
                    <a:pt x="842" y="124"/>
                  </a:lnTo>
                  <a:lnTo>
                    <a:pt x="826" y="114"/>
                  </a:lnTo>
                  <a:lnTo>
                    <a:pt x="812" y="106"/>
                  </a:lnTo>
                  <a:lnTo>
                    <a:pt x="800" y="102"/>
                  </a:lnTo>
                  <a:lnTo>
                    <a:pt x="792" y="100"/>
                  </a:lnTo>
                  <a:lnTo>
                    <a:pt x="792" y="100"/>
                  </a:lnTo>
                  <a:lnTo>
                    <a:pt x="774" y="98"/>
                  </a:lnTo>
                  <a:lnTo>
                    <a:pt x="774" y="98"/>
                  </a:lnTo>
                  <a:lnTo>
                    <a:pt x="754" y="100"/>
                  </a:lnTo>
                  <a:lnTo>
                    <a:pt x="754" y="100"/>
                  </a:lnTo>
                  <a:lnTo>
                    <a:pt x="748" y="102"/>
                  </a:lnTo>
                  <a:lnTo>
                    <a:pt x="736" y="106"/>
                  </a:lnTo>
                  <a:lnTo>
                    <a:pt x="720" y="114"/>
                  </a:lnTo>
                  <a:lnTo>
                    <a:pt x="704" y="124"/>
                  </a:lnTo>
                  <a:lnTo>
                    <a:pt x="696" y="132"/>
                  </a:lnTo>
                  <a:lnTo>
                    <a:pt x="688" y="140"/>
                  </a:lnTo>
                  <a:lnTo>
                    <a:pt x="682" y="150"/>
                  </a:lnTo>
                  <a:lnTo>
                    <a:pt x="674" y="162"/>
                  </a:lnTo>
                  <a:lnTo>
                    <a:pt x="670" y="174"/>
                  </a:lnTo>
                  <a:lnTo>
                    <a:pt x="666" y="188"/>
                  </a:lnTo>
                  <a:lnTo>
                    <a:pt x="664" y="204"/>
                  </a:lnTo>
                  <a:lnTo>
                    <a:pt x="664" y="222"/>
                  </a:lnTo>
                  <a:lnTo>
                    <a:pt x="664" y="1136"/>
                  </a:lnTo>
                  <a:lnTo>
                    <a:pt x="644" y="1136"/>
                  </a:lnTo>
                  <a:lnTo>
                    <a:pt x="644" y="132"/>
                  </a:lnTo>
                  <a:lnTo>
                    <a:pt x="644" y="132"/>
                  </a:lnTo>
                  <a:lnTo>
                    <a:pt x="644" y="112"/>
                  </a:lnTo>
                  <a:lnTo>
                    <a:pt x="642" y="96"/>
                  </a:lnTo>
                  <a:lnTo>
                    <a:pt x="638" y="80"/>
                  </a:lnTo>
                  <a:lnTo>
                    <a:pt x="632" y="66"/>
                  </a:lnTo>
                  <a:lnTo>
                    <a:pt x="626" y="54"/>
                  </a:lnTo>
                  <a:lnTo>
                    <a:pt x="618" y="44"/>
                  </a:lnTo>
                  <a:lnTo>
                    <a:pt x="610" y="36"/>
                  </a:lnTo>
                  <a:lnTo>
                    <a:pt x="602" y="28"/>
                  </a:lnTo>
                  <a:lnTo>
                    <a:pt x="584" y="16"/>
                  </a:lnTo>
                  <a:lnTo>
                    <a:pt x="568" y="8"/>
                  </a:lnTo>
                  <a:lnTo>
                    <a:pt x="556" y="2"/>
                  </a:lnTo>
                  <a:lnTo>
                    <a:pt x="548" y="2"/>
                  </a:lnTo>
                  <a:lnTo>
                    <a:pt x="548" y="2"/>
                  </a:lnTo>
                  <a:lnTo>
                    <a:pt x="528" y="0"/>
                  </a:lnTo>
                  <a:lnTo>
                    <a:pt x="528" y="0"/>
                  </a:lnTo>
                  <a:lnTo>
                    <a:pt x="508" y="2"/>
                  </a:lnTo>
                  <a:lnTo>
                    <a:pt x="508" y="2"/>
                  </a:lnTo>
                  <a:lnTo>
                    <a:pt x="500" y="2"/>
                  </a:lnTo>
                  <a:lnTo>
                    <a:pt x="488" y="8"/>
                  </a:lnTo>
                  <a:lnTo>
                    <a:pt x="472" y="16"/>
                  </a:lnTo>
                  <a:lnTo>
                    <a:pt x="454" y="28"/>
                  </a:lnTo>
                  <a:lnTo>
                    <a:pt x="446" y="36"/>
                  </a:lnTo>
                  <a:lnTo>
                    <a:pt x="438" y="44"/>
                  </a:lnTo>
                  <a:lnTo>
                    <a:pt x="430" y="54"/>
                  </a:lnTo>
                  <a:lnTo>
                    <a:pt x="424" y="66"/>
                  </a:lnTo>
                  <a:lnTo>
                    <a:pt x="418" y="80"/>
                  </a:lnTo>
                  <a:lnTo>
                    <a:pt x="414" y="96"/>
                  </a:lnTo>
                  <a:lnTo>
                    <a:pt x="412" y="112"/>
                  </a:lnTo>
                  <a:lnTo>
                    <a:pt x="412" y="132"/>
                  </a:lnTo>
                  <a:lnTo>
                    <a:pt x="412" y="1136"/>
                  </a:lnTo>
                  <a:lnTo>
                    <a:pt x="388" y="1136"/>
                  </a:lnTo>
                  <a:lnTo>
                    <a:pt x="388" y="302"/>
                  </a:lnTo>
                  <a:lnTo>
                    <a:pt x="388" y="302"/>
                  </a:lnTo>
                  <a:lnTo>
                    <a:pt x="388" y="286"/>
                  </a:lnTo>
                  <a:lnTo>
                    <a:pt x="386" y="270"/>
                  </a:lnTo>
                  <a:lnTo>
                    <a:pt x="384" y="256"/>
                  </a:lnTo>
                  <a:lnTo>
                    <a:pt x="378" y="244"/>
                  </a:lnTo>
                  <a:lnTo>
                    <a:pt x="372" y="234"/>
                  </a:lnTo>
                  <a:lnTo>
                    <a:pt x="366" y="224"/>
                  </a:lnTo>
                  <a:lnTo>
                    <a:pt x="350" y="208"/>
                  </a:lnTo>
                  <a:lnTo>
                    <a:pt x="336" y="198"/>
                  </a:lnTo>
                  <a:lnTo>
                    <a:pt x="320" y="190"/>
                  </a:lnTo>
                  <a:lnTo>
                    <a:pt x="308" y="186"/>
                  </a:lnTo>
                  <a:lnTo>
                    <a:pt x="302" y="184"/>
                  </a:lnTo>
                  <a:lnTo>
                    <a:pt x="302" y="184"/>
                  </a:lnTo>
                  <a:lnTo>
                    <a:pt x="284" y="184"/>
                  </a:lnTo>
                  <a:lnTo>
                    <a:pt x="284" y="184"/>
                  </a:lnTo>
                  <a:lnTo>
                    <a:pt x="266" y="184"/>
                  </a:lnTo>
                  <a:lnTo>
                    <a:pt x="266" y="184"/>
                  </a:lnTo>
                  <a:lnTo>
                    <a:pt x="260" y="186"/>
                  </a:lnTo>
                  <a:lnTo>
                    <a:pt x="248" y="190"/>
                  </a:lnTo>
                  <a:lnTo>
                    <a:pt x="232" y="198"/>
                  </a:lnTo>
                  <a:lnTo>
                    <a:pt x="218" y="208"/>
                  </a:lnTo>
                  <a:lnTo>
                    <a:pt x="202" y="224"/>
                  </a:lnTo>
                  <a:lnTo>
                    <a:pt x="196" y="234"/>
                  </a:lnTo>
                  <a:lnTo>
                    <a:pt x="190" y="244"/>
                  </a:lnTo>
                  <a:lnTo>
                    <a:pt x="184" y="256"/>
                  </a:lnTo>
                  <a:lnTo>
                    <a:pt x="182" y="270"/>
                  </a:lnTo>
                  <a:lnTo>
                    <a:pt x="180" y="286"/>
                  </a:lnTo>
                  <a:lnTo>
                    <a:pt x="180" y="302"/>
                  </a:lnTo>
                  <a:lnTo>
                    <a:pt x="180" y="1136"/>
                  </a:lnTo>
                  <a:lnTo>
                    <a:pt x="156" y="1136"/>
                  </a:lnTo>
                  <a:lnTo>
                    <a:pt x="156" y="542"/>
                  </a:lnTo>
                  <a:lnTo>
                    <a:pt x="156" y="542"/>
                  </a:lnTo>
                  <a:lnTo>
                    <a:pt x="154" y="530"/>
                  </a:lnTo>
                  <a:lnTo>
                    <a:pt x="152" y="516"/>
                  </a:lnTo>
                  <a:lnTo>
                    <a:pt x="146" y="502"/>
                  </a:lnTo>
                  <a:lnTo>
                    <a:pt x="138" y="488"/>
                  </a:lnTo>
                  <a:lnTo>
                    <a:pt x="132" y="480"/>
                  </a:lnTo>
                  <a:lnTo>
                    <a:pt x="126" y="474"/>
                  </a:lnTo>
                  <a:lnTo>
                    <a:pt x="120" y="470"/>
                  </a:lnTo>
                  <a:lnTo>
                    <a:pt x="110" y="466"/>
                  </a:lnTo>
                  <a:lnTo>
                    <a:pt x="100" y="462"/>
                  </a:lnTo>
                  <a:lnTo>
                    <a:pt x="90" y="462"/>
                  </a:lnTo>
                  <a:lnTo>
                    <a:pt x="66" y="462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50" y="466"/>
                  </a:lnTo>
                  <a:lnTo>
                    <a:pt x="40" y="470"/>
                  </a:lnTo>
                  <a:lnTo>
                    <a:pt x="30" y="478"/>
                  </a:lnTo>
                  <a:lnTo>
                    <a:pt x="18" y="488"/>
                  </a:lnTo>
                  <a:lnTo>
                    <a:pt x="10" y="502"/>
                  </a:lnTo>
                  <a:lnTo>
                    <a:pt x="4" y="520"/>
                  </a:lnTo>
                  <a:lnTo>
                    <a:pt x="2" y="530"/>
                  </a:lnTo>
                  <a:lnTo>
                    <a:pt x="2" y="542"/>
                  </a:lnTo>
                  <a:lnTo>
                    <a:pt x="2" y="1136"/>
                  </a:lnTo>
                  <a:lnTo>
                    <a:pt x="2" y="1136"/>
                  </a:lnTo>
                  <a:lnTo>
                    <a:pt x="0" y="1228"/>
                  </a:lnTo>
                  <a:lnTo>
                    <a:pt x="0" y="1324"/>
                  </a:lnTo>
                  <a:lnTo>
                    <a:pt x="0" y="1324"/>
                  </a:lnTo>
                  <a:lnTo>
                    <a:pt x="0" y="1356"/>
                  </a:lnTo>
                  <a:lnTo>
                    <a:pt x="2" y="1388"/>
                  </a:lnTo>
                  <a:lnTo>
                    <a:pt x="4" y="1418"/>
                  </a:lnTo>
                  <a:lnTo>
                    <a:pt x="10" y="1450"/>
                  </a:lnTo>
                  <a:lnTo>
                    <a:pt x="16" y="1480"/>
                  </a:lnTo>
                  <a:lnTo>
                    <a:pt x="22" y="1510"/>
                  </a:lnTo>
                  <a:lnTo>
                    <a:pt x="30" y="1538"/>
                  </a:lnTo>
                  <a:lnTo>
                    <a:pt x="40" y="1566"/>
                  </a:lnTo>
                  <a:lnTo>
                    <a:pt x="52" y="1594"/>
                  </a:lnTo>
                  <a:lnTo>
                    <a:pt x="64" y="1622"/>
                  </a:lnTo>
                  <a:lnTo>
                    <a:pt x="78" y="1648"/>
                  </a:lnTo>
                  <a:lnTo>
                    <a:pt x="92" y="1672"/>
                  </a:lnTo>
                  <a:lnTo>
                    <a:pt x="108" y="1698"/>
                  </a:lnTo>
                  <a:lnTo>
                    <a:pt x="124" y="1720"/>
                  </a:lnTo>
                  <a:lnTo>
                    <a:pt x="140" y="1744"/>
                  </a:lnTo>
                  <a:lnTo>
                    <a:pt x="160" y="1766"/>
                  </a:lnTo>
                  <a:lnTo>
                    <a:pt x="178" y="1786"/>
                  </a:lnTo>
                  <a:lnTo>
                    <a:pt x="198" y="1806"/>
                  </a:lnTo>
                  <a:lnTo>
                    <a:pt x="220" y="1824"/>
                  </a:lnTo>
                  <a:lnTo>
                    <a:pt x="242" y="1842"/>
                  </a:lnTo>
                  <a:lnTo>
                    <a:pt x="264" y="1858"/>
                  </a:lnTo>
                  <a:lnTo>
                    <a:pt x="288" y="1872"/>
                  </a:lnTo>
                  <a:lnTo>
                    <a:pt x="312" y="1886"/>
                  </a:lnTo>
                  <a:lnTo>
                    <a:pt x="336" y="1900"/>
                  </a:lnTo>
                  <a:lnTo>
                    <a:pt x="360" y="1910"/>
                  </a:lnTo>
                  <a:lnTo>
                    <a:pt x="386" y="1920"/>
                  </a:lnTo>
                  <a:lnTo>
                    <a:pt x="412" y="1928"/>
                  </a:lnTo>
                  <a:lnTo>
                    <a:pt x="440" y="1936"/>
                  </a:lnTo>
                  <a:lnTo>
                    <a:pt x="466" y="1940"/>
                  </a:lnTo>
                  <a:lnTo>
                    <a:pt x="494" y="1944"/>
                  </a:lnTo>
                  <a:lnTo>
                    <a:pt x="522" y="1948"/>
                  </a:lnTo>
                  <a:lnTo>
                    <a:pt x="552" y="1948"/>
                  </a:lnTo>
                  <a:lnTo>
                    <a:pt x="552" y="1948"/>
                  </a:lnTo>
                  <a:lnTo>
                    <a:pt x="580" y="1948"/>
                  </a:lnTo>
                  <a:lnTo>
                    <a:pt x="608" y="1944"/>
                  </a:lnTo>
                  <a:lnTo>
                    <a:pt x="636" y="1940"/>
                  </a:lnTo>
                  <a:lnTo>
                    <a:pt x="662" y="1936"/>
                  </a:lnTo>
                  <a:lnTo>
                    <a:pt x="688" y="1928"/>
                  </a:lnTo>
                  <a:lnTo>
                    <a:pt x="714" y="1920"/>
                  </a:lnTo>
                  <a:lnTo>
                    <a:pt x="740" y="1910"/>
                  </a:lnTo>
                  <a:lnTo>
                    <a:pt x="766" y="1900"/>
                  </a:lnTo>
                  <a:lnTo>
                    <a:pt x="790" y="1886"/>
                  </a:lnTo>
                  <a:lnTo>
                    <a:pt x="814" y="1872"/>
                  </a:lnTo>
                  <a:lnTo>
                    <a:pt x="836" y="1858"/>
                  </a:lnTo>
                  <a:lnTo>
                    <a:pt x="858" y="1842"/>
                  </a:lnTo>
                  <a:lnTo>
                    <a:pt x="880" y="1824"/>
                  </a:lnTo>
                  <a:lnTo>
                    <a:pt x="900" y="1806"/>
                  </a:lnTo>
                  <a:lnTo>
                    <a:pt x="920" y="1786"/>
                  </a:lnTo>
                  <a:lnTo>
                    <a:pt x="940" y="1766"/>
                  </a:lnTo>
                  <a:lnTo>
                    <a:pt x="958" y="1744"/>
                  </a:lnTo>
                  <a:lnTo>
                    <a:pt x="974" y="1722"/>
                  </a:lnTo>
                  <a:lnTo>
                    <a:pt x="992" y="1698"/>
                  </a:lnTo>
                  <a:lnTo>
                    <a:pt x="1006" y="1672"/>
                  </a:lnTo>
                  <a:lnTo>
                    <a:pt x="1020" y="1648"/>
                  </a:lnTo>
                  <a:lnTo>
                    <a:pt x="1034" y="1622"/>
                  </a:lnTo>
                  <a:lnTo>
                    <a:pt x="1046" y="1594"/>
                  </a:lnTo>
                  <a:lnTo>
                    <a:pt x="1056" y="1566"/>
                  </a:lnTo>
                  <a:lnTo>
                    <a:pt x="1066" y="1538"/>
                  </a:lnTo>
                  <a:lnTo>
                    <a:pt x="1074" y="1510"/>
                  </a:lnTo>
                  <a:lnTo>
                    <a:pt x="1082" y="1480"/>
                  </a:lnTo>
                  <a:lnTo>
                    <a:pt x="1088" y="1450"/>
                  </a:lnTo>
                  <a:lnTo>
                    <a:pt x="1094" y="1418"/>
                  </a:lnTo>
                  <a:lnTo>
                    <a:pt x="1096" y="1388"/>
                  </a:lnTo>
                  <a:lnTo>
                    <a:pt x="1098" y="1356"/>
                  </a:lnTo>
                  <a:lnTo>
                    <a:pt x="1100" y="1324"/>
                  </a:lnTo>
                  <a:lnTo>
                    <a:pt x="1100" y="1324"/>
                  </a:lnTo>
                  <a:lnTo>
                    <a:pt x="1100" y="1228"/>
                  </a:lnTo>
                  <a:lnTo>
                    <a:pt x="1100" y="1180"/>
                  </a:lnTo>
                  <a:lnTo>
                    <a:pt x="1100" y="1136"/>
                  </a:lnTo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2025" y="2016"/>
              <a:ext cx="278" cy="200"/>
            </a:xfrm>
            <a:custGeom>
              <a:avLst/>
              <a:gdLst>
                <a:gd name="T0" fmla="*/ 274 w 278"/>
                <a:gd name="T1" fmla="*/ 34 h 200"/>
                <a:gd name="T2" fmla="*/ 278 w 278"/>
                <a:gd name="T3" fmla="*/ 74 h 200"/>
                <a:gd name="T4" fmla="*/ 278 w 278"/>
                <a:gd name="T5" fmla="*/ 90 h 200"/>
                <a:gd name="T6" fmla="*/ 274 w 278"/>
                <a:gd name="T7" fmla="*/ 118 h 200"/>
                <a:gd name="T8" fmla="*/ 270 w 278"/>
                <a:gd name="T9" fmla="*/ 130 h 200"/>
                <a:gd name="T10" fmla="*/ 258 w 278"/>
                <a:gd name="T11" fmla="*/ 152 h 200"/>
                <a:gd name="T12" fmla="*/ 242 w 278"/>
                <a:gd name="T13" fmla="*/ 170 h 200"/>
                <a:gd name="T14" fmla="*/ 234 w 278"/>
                <a:gd name="T15" fmla="*/ 176 h 200"/>
                <a:gd name="T16" fmla="*/ 212 w 278"/>
                <a:gd name="T17" fmla="*/ 188 h 200"/>
                <a:gd name="T18" fmla="*/ 200 w 278"/>
                <a:gd name="T19" fmla="*/ 192 h 200"/>
                <a:gd name="T20" fmla="*/ 148 w 278"/>
                <a:gd name="T21" fmla="*/ 200 h 200"/>
                <a:gd name="T22" fmla="*/ 118 w 278"/>
                <a:gd name="T23" fmla="*/ 200 h 200"/>
                <a:gd name="T24" fmla="*/ 90 w 278"/>
                <a:gd name="T25" fmla="*/ 194 h 200"/>
                <a:gd name="T26" fmla="*/ 66 w 278"/>
                <a:gd name="T27" fmla="*/ 184 h 200"/>
                <a:gd name="T28" fmla="*/ 44 w 278"/>
                <a:gd name="T29" fmla="*/ 170 h 200"/>
                <a:gd name="T30" fmla="*/ 34 w 278"/>
                <a:gd name="T31" fmla="*/ 162 h 200"/>
                <a:gd name="T32" fmla="*/ 18 w 278"/>
                <a:gd name="T33" fmla="*/ 142 h 200"/>
                <a:gd name="T34" fmla="*/ 12 w 278"/>
                <a:gd name="T35" fmla="*/ 130 h 200"/>
                <a:gd name="T36" fmla="*/ 4 w 278"/>
                <a:gd name="T37" fmla="*/ 102 h 200"/>
                <a:gd name="T38" fmla="*/ 0 w 278"/>
                <a:gd name="T39" fmla="*/ 70 h 200"/>
                <a:gd name="T40" fmla="*/ 2 w 278"/>
                <a:gd name="T41" fmla="*/ 38 h 200"/>
                <a:gd name="T42" fmla="*/ 4 w 278"/>
                <a:gd name="T43" fmla="*/ 22 h 200"/>
                <a:gd name="T44" fmla="*/ 42 w 278"/>
                <a:gd name="T45" fmla="*/ 14 h 200"/>
                <a:gd name="T46" fmla="*/ 34 w 278"/>
                <a:gd name="T47" fmla="*/ 42 h 200"/>
                <a:gd name="T48" fmla="*/ 32 w 278"/>
                <a:gd name="T49" fmla="*/ 58 h 200"/>
                <a:gd name="T50" fmla="*/ 32 w 278"/>
                <a:gd name="T51" fmla="*/ 74 h 200"/>
                <a:gd name="T52" fmla="*/ 38 w 278"/>
                <a:gd name="T53" fmla="*/ 104 h 200"/>
                <a:gd name="T54" fmla="*/ 42 w 278"/>
                <a:gd name="T55" fmla="*/ 114 h 200"/>
                <a:gd name="T56" fmla="*/ 66 w 278"/>
                <a:gd name="T57" fmla="*/ 140 h 200"/>
                <a:gd name="T58" fmla="*/ 80 w 278"/>
                <a:gd name="T59" fmla="*/ 150 h 200"/>
                <a:gd name="T60" fmla="*/ 100 w 278"/>
                <a:gd name="T61" fmla="*/ 156 h 200"/>
                <a:gd name="T62" fmla="*/ 142 w 278"/>
                <a:gd name="T63" fmla="*/ 160 h 200"/>
                <a:gd name="T64" fmla="*/ 164 w 278"/>
                <a:gd name="T65" fmla="*/ 158 h 200"/>
                <a:gd name="T66" fmla="*/ 204 w 278"/>
                <a:gd name="T67" fmla="*/ 146 h 200"/>
                <a:gd name="T68" fmla="*/ 218 w 278"/>
                <a:gd name="T69" fmla="*/ 136 h 200"/>
                <a:gd name="T70" fmla="*/ 240 w 278"/>
                <a:gd name="T71" fmla="*/ 108 h 200"/>
                <a:gd name="T72" fmla="*/ 246 w 278"/>
                <a:gd name="T73" fmla="*/ 66 h 200"/>
                <a:gd name="T74" fmla="*/ 244 w 278"/>
                <a:gd name="T75" fmla="*/ 52 h 200"/>
                <a:gd name="T76" fmla="*/ 240 w 278"/>
                <a:gd name="T77" fmla="*/ 36 h 200"/>
                <a:gd name="T78" fmla="*/ 230 w 278"/>
                <a:gd name="T79" fmla="*/ 6 h 200"/>
                <a:gd name="T80" fmla="*/ 262 w 278"/>
                <a:gd name="T81" fmla="*/ 0 h 200"/>
                <a:gd name="T82" fmla="*/ 274 w 278"/>
                <a:gd name="T83" fmla="*/ 3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8" h="200">
                  <a:moveTo>
                    <a:pt x="274" y="34"/>
                  </a:moveTo>
                  <a:lnTo>
                    <a:pt x="274" y="34"/>
                  </a:lnTo>
                  <a:lnTo>
                    <a:pt x="276" y="54"/>
                  </a:lnTo>
                  <a:lnTo>
                    <a:pt x="278" y="74"/>
                  </a:lnTo>
                  <a:lnTo>
                    <a:pt x="278" y="74"/>
                  </a:lnTo>
                  <a:lnTo>
                    <a:pt x="278" y="90"/>
                  </a:lnTo>
                  <a:lnTo>
                    <a:pt x="276" y="104"/>
                  </a:lnTo>
                  <a:lnTo>
                    <a:pt x="274" y="118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64" y="142"/>
                  </a:lnTo>
                  <a:lnTo>
                    <a:pt x="258" y="152"/>
                  </a:lnTo>
                  <a:lnTo>
                    <a:pt x="250" y="162"/>
                  </a:lnTo>
                  <a:lnTo>
                    <a:pt x="242" y="170"/>
                  </a:lnTo>
                  <a:lnTo>
                    <a:pt x="242" y="170"/>
                  </a:lnTo>
                  <a:lnTo>
                    <a:pt x="234" y="176"/>
                  </a:lnTo>
                  <a:lnTo>
                    <a:pt x="224" y="184"/>
                  </a:lnTo>
                  <a:lnTo>
                    <a:pt x="212" y="188"/>
                  </a:lnTo>
                  <a:lnTo>
                    <a:pt x="200" y="192"/>
                  </a:lnTo>
                  <a:lnTo>
                    <a:pt x="200" y="192"/>
                  </a:lnTo>
                  <a:lnTo>
                    <a:pt x="176" y="198"/>
                  </a:lnTo>
                  <a:lnTo>
                    <a:pt x="148" y="200"/>
                  </a:lnTo>
                  <a:lnTo>
                    <a:pt x="148" y="200"/>
                  </a:lnTo>
                  <a:lnTo>
                    <a:pt x="118" y="200"/>
                  </a:lnTo>
                  <a:lnTo>
                    <a:pt x="90" y="194"/>
                  </a:lnTo>
                  <a:lnTo>
                    <a:pt x="90" y="194"/>
                  </a:lnTo>
                  <a:lnTo>
                    <a:pt x="78" y="190"/>
                  </a:lnTo>
                  <a:lnTo>
                    <a:pt x="66" y="184"/>
                  </a:lnTo>
                  <a:lnTo>
                    <a:pt x="54" y="178"/>
                  </a:lnTo>
                  <a:lnTo>
                    <a:pt x="44" y="170"/>
                  </a:lnTo>
                  <a:lnTo>
                    <a:pt x="44" y="170"/>
                  </a:lnTo>
                  <a:lnTo>
                    <a:pt x="34" y="162"/>
                  </a:lnTo>
                  <a:lnTo>
                    <a:pt x="26" y="152"/>
                  </a:lnTo>
                  <a:lnTo>
                    <a:pt x="18" y="142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8" y="116"/>
                  </a:lnTo>
                  <a:lnTo>
                    <a:pt x="4" y="102"/>
                  </a:lnTo>
                  <a:lnTo>
                    <a:pt x="2" y="8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4" y="22"/>
                  </a:lnTo>
                  <a:lnTo>
                    <a:pt x="8" y="8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2" y="58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4" y="96"/>
                  </a:lnTo>
                  <a:lnTo>
                    <a:pt x="38" y="10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52" y="128"/>
                  </a:lnTo>
                  <a:lnTo>
                    <a:pt x="66" y="140"/>
                  </a:lnTo>
                  <a:lnTo>
                    <a:pt x="66" y="140"/>
                  </a:lnTo>
                  <a:lnTo>
                    <a:pt x="80" y="150"/>
                  </a:lnTo>
                  <a:lnTo>
                    <a:pt x="100" y="156"/>
                  </a:lnTo>
                  <a:lnTo>
                    <a:pt x="100" y="156"/>
                  </a:lnTo>
                  <a:lnTo>
                    <a:pt x="120" y="160"/>
                  </a:lnTo>
                  <a:lnTo>
                    <a:pt x="142" y="160"/>
                  </a:lnTo>
                  <a:lnTo>
                    <a:pt x="142" y="160"/>
                  </a:lnTo>
                  <a:lnTo>
                    <a:pt x="164" y="158"/>
                  </a:lnTo>
                  <a:lnTo>
                    <a:pt x="186" y="154"/>
                  </a:lnTo>
                  <a:lnTo>
                    <a:pt x="204" y="146"/>
                  </a:lnTo>
                  <a:lnTo>
                    <a:pt x="218" y="136"/>
                  </a:lnTo>
                  <a:lnTo>
                    <a:pt x="218" y="136"/>
                  </a:lnTo>
                  <a:lnTo>
                    <a:pt x="230" y="124"/>
                  </a:lnTo>
                  <a:lnTo>
                    <a:pt x="240" y="108"/>
                  </a:lnTo>
                  <a:lnTo>
                    <a:pt x="244" y="88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4" y="52"/>
                  </a:lnTo>
                  <a:lnTo>
                    <a:pt x="240" y="36"/>
                  </a:lnTo>
                  <a:lnTo>
                    <a:pt x="240" y="36"/>
                  </a:lnTo>
                  <a:lnTo>
                    <a:pt x="236" y="20"/>
                  </a:lnTo>
                  <a:lnTo>
                    <a:pt x="230" y="6"/>
                  </a:lnTo>
                  <a:lnTo>
                    <a:pt x="262" y="0"/>
                  </a:lnTo>
                  <a:lnTo>
                    <a:pt x="262" y="0"/>
                  </a:lnTo>
                  <a:lnTo>
                    <a:pt x="268" y="16"/>
                  </a:lnTo>
                  <a:lnTo>
                    <a:pt x="274" y="34"/>
                  </a:lnTo>
                  <a:lnTo>
                    <a:pt x="274" y="34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 userDrawn="1"/>
          </p:nvSpPr>
          <p:spPr bwMode="auto">
            <a:xfrm>
              <a:off x="2093" y="1804"/>
              <a:ext cx="206" cy="188"/>
            </a:xfrm>
            <a:custGeom>
              <a:avLst/>
              <a:gdLst>
                <a:gd name="T0" fmla="*/ 98 w 206"/>
                <a:gd name="T1" fmla="*/ 0 h 188"/>
                <a:gd name="T2" fmla="*/ 140 w 206"/>
                <a:gd name="T3" fmla="*/ 8 h 188"/>
                <a:gd name="T4" fmla="*/ 158 w 206"/>
                <a:gd name="T5" fmla="*/ 16 h 188"/>
                <a:gd name="T6" fmla="*/ 174 w 206"/>
                <a:gd name="T7" fmla="*/ 26 h 188"/>
                <a:gd name="T8" fmla="*/ 198 w 206"/>
                <a:gd name="T9" fmla="*/ 56 h 188"/>
                <a:gd name="T10" fmla="*/ 204 w 206"/>
                <a:gd name="T11" fmla="*/ 76 h 188"/>
                <a:gd name="T12" fmla="*/ 206 w 206"/>
                <a:gd name="T13" fmla="*/ 96 h 188"/>
                <a:gd name="T14" fmla="*/ 202 w 206"/>
                <a:gd name="T15" fmla="*/ 134 h 188"/>
                <a:gd name="T16" fmla="*/ 194 w 206"/>
                <a:gd name="T17" fmla="*/ 150 h 188"/>
                <a:gd name="T18" fmla="*/ 184 w 206"/>
                <a:gd name="T19" fmla="*/ 162 h 188"/>
                <a:gd name="T20" fmla="*/ 152 w 206"/>
                <a:gd name="T21" fmla="*/ 182 h 188"/>
                <a:gd name="T22" fmla="*/ 132 w 206"/>
                <a:gd name="T23" fmla="*/ 186 h 188"/>
                <a:gd name="T24" fmla="*/ 106 w 206"/>
                <a:gd name="T25" fmla="*/ 188 h 188"/>
                <a:gd name="T26" fmla="*/ 66 w 206"/>
                <a:gd name="T27" fmla="*/ 182 h 188"/>
                <a:gd name="T28" fmla="*/ 48 w 206"/>
                <a:gd name="T29" fmla="*/ 174 h 188"/>
                <a:gd name="T30" fmla="*/ 32 w 206"/>
                <a:gd name="T31" fmla="*/ 164 h 188"/>
                <a:gd name="T32" fmla="*/ 8 w 206"/>
                <a:gd name="T33" fmla="*/ 134 h 188"/>
                <a:gd name="T34" fmla="*/ 2 w 206"/>
                <a:gd name="T35" fmla="*/ 114 h 188"/>
                <a:gd name="T36" fmla="*/ 0 w 206"/>
                <a:gd name="T37" fmla="*/ 92 h 188"/>
                <a:gd name="T38" fmla="*/ 4 w 206"/>
                <a:gd name="T39" fmla="*/ 56 h 188"/>
                <a:gd name="T40" fmla="*/ 12 w 206"/>
                <a:gd name="T41" fmla="*/ 42 h 188"/>
                <a:gd name="T42" fmla="*/ 22 w 206"/>
                <a:gd name="T43" fmla="*/ 28 h 188"/>
                <a:gd name="T44" fmla="*/ 52 w 206"/>
                <a:gd name="T45" fmla="*/ 8 h 188"/>
                <a:gd name="T46" fmla="*/ 74 w 206"/>
                <a:gd name="T47" fmla="*/ 2 h 188"/>
                <a:gd name="T48" fmla="*/ 98 w 206"/>
                <a:gd name="T49" fmla="*/ 0 h 188"/>
                <a:gd name="T50" fmla="*/ 100 w 206"/>
                <a:gd name="T51" fmla="*/ 40 h 188"/>
                <a:gd name="T52" fmla="*/ 70 w 206"/>
                <a:gd name="T53" fmla="*/ 42 h 188"/>
                <a:gd name="T54" fmla="*/ 48 w 206"/>
                <a:gd name="T55" fmla="*/ 54 h 188"/>
                <a:gd name="T56" fmla="*/ 40 w 206"/>
                <a:gd name="T57" fmla="*/ 62 h 188"/>
                <a:gd name="T58" fmla="*/ 30 w 206"/>
                <a:gd name="T59" fmla="*/ 82 h 188"/>
                <a:gd name="T60" fmla="*/ 30 w 206"/>
                <a:gd name="T61" fmla="*/ 96 h 188"/>
                <a:gd name="T62" fmla="*/ 34 w 206"/>
                <a:gd name="T63" fmla="*/ 116 h 188"/>
                <a:gd name="T64" fmla="*/ 40 w 206"/>
                <a:gd name="T65" fmla="*/ 126 h 188"/>
                <a:gd name="T66" fmla="*/ 48 w 206"/>
                <a:gd name="T67" fmla="*/ 134 h 188"/>
                <a:gd name="T68" fmla="*/ 70 w 206"/>
                <a:gd name="T69" fmla="*/ 146 h 188"/>
                <a:gd name="T70" fmla="*/ 86 w 206"/>
                <a:gd name="T71" fmla="*/ 150 h 188"/>
                <a:gd name="T72" fmla="*/ 102 w 206"/>
                <a:gd name="T73" fmla="*/ 150 h 188"/>
                <a:gd name="T74" fmla="*/ 134 w 206"/>
                <a:gd name="T75" fmla="*/ 146 h 188"/>
                <a:gd name="T76" fmla="*/ 158 w 206"/>
                <a:gd name="T77" fmla="*/ 134 h 188"/>
                <a:gd name="T78" fmla="*/ 166 w 206"/>
                <a:gd name="T79" fmla="*/ 126 h 188"/>
                <a:gd name="T80" fmla="*/ 176 w 206"/>
                <a:gd name="T81" fmla="*/ 106 h 188"/>
                <a:gd name="T82" fmla="*/ 176 w 206"/>
                <a:gd name="T83" fmla="*/ 92 h 188"/>
                <a:gd name="T84" fmla="*/ 172 w 206"/>
                <a:gd name="T85" fmla="*/ 72 h 188"/>
                <a:gd name="T86" fmla="*/ 166 w 206"/>
                <a:gd name="T87" fmla="*/ 62 h 188"/>
                <a:gd name="T88" fmla="*/ 158 w 206"/>
                <a:gd name="T89" fmla="*/ 54 h 188"/>
                <a:gd name="T90" fmla="*/ 134 w 206"/>
                <a:gd name="T91" fmla="*/ 42 h 188"/>
                <a:gd name="T92" fmla="*/ 118 w 206"/>
                <a:gd name="T93" fmla="*/ 40 h 188"/>
                <a:gd name="T94" fmla="*/ 100 w 206"/>
                <a:gd name="T95" fmla="*/ 4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6" h="188">
                  <a:moveTo>
                    <a:pt x="98" y="0"/>
                  </a:moveTo>
                  <a:lnTo>
                    <a:pt x="98" y="0"/>
                  </a:lnTo>
                  <a:lnTo>
                    <a:pt x="120" y="2"/>
                  </a:lnTo>
                  <a:lnTo>
                    <a:pt x="140" y="8"/>
                  </a:lnTo>
                  <a:lnTo>
                    <a:pt x="140" y="8"/>
                  </a:lnTo>
                  <a:lnTo>
                    <a:pt x="158" y="16"/>
                  </a:lnTo>
                  <a:lnTo>
                    <a:pt x="174" y="26"/>
                  </a:lnTo>
                  <a:lnTo>
                    <a:pt x="174" y="26"/>
                  </a:lnTo>
                  <a:lnTo>
                    <a:pt x="188" y="40"/>
                  </a:lnTo>
                  <a:lnTo>
                    <a:pt x="198" y="56"/>
                  </a:lnTo>
                  <a:lnTo>
                    <a:pt x="198" y="56"/>
                  </a:lnTo>
                  <a:lnTo>
                    <a:pt x="204" y="76"/>
                  </a:lnTo>
                  <a:lnTo>
                    <a:pt x="206" y="96"/>
                  </a:lnTo>
                  <a:lnTo>
                    <a:pt x="206" y="96"/>
                  </a:lnTo>
                  <a:lnTo>
                    <a:pt x="206" y="116"/>
                  </a:lnTo>
                  <a:lnTo>
                    <a:pt x="202" y="134"/>
                  </a:lnTo>
                  <a:lnTo>
                    <a:pt x="202" y="134"/>
                  </a:lnTo>
                  <a:lnTo>
                    <a:pt x="194" y="150"/>
                  </a:lnTo>
                  <a:lnTo>
                    <a:pt x="184" y="162"/>
                  </a:lnTo>
                  <a:lnTo>
                    <a:pt x="184" y="162"/>
                  </a:lnTo>
                  <a:lnTo>
                    <a:pt x="170" y="172"/>
                  </a:lnTo>
                  <a:lnTo>
                    <a:pt x="152" y="182"/>
                  </a:lnTo>
                  <a:lnTo>
                    <a:pt x="152" y="182"/>
                  </a:lnTo>
                  <a:lnTo>
                    <a:pt x="132" y="186"/>
                  </a:lnTo>
                  <a:lnTo>
                    <a:pt x="106" y="188"/>
                  </a:lnTo>
                  <a:lnTo>
                    <a:pt x="106" y="188"/>
                  </a:lnTo>
                  <a:lnTo>
                    <a:pt x="86" y="188"/>
                  </a:lnTo>
                  <a:lnTo>
                    <a:pt x="66" y="182"/>
                  </a:lnTo>
                  <a:lnTo>
                    <a:pt x="66" y="182"/>
                  </a:lnTo>
                  <a:lnTo>
                    <a:pt x="48" y="174"/>
                  </a:lnTo>
                  <a:lnTo>
                    <a:pt x="32" y="164"/>
                  </a:lnTo>
                  <a:lnTo>
                    <a:pt x="32" y="164"/>
                  </a:lnTo>
                  <a:lnTo>
                    <a:pt x="18" y="150"/>
                  </a:lnTo>
                  <a:lnTo>
                    <a:pt x="8" y="134"/>
                  </a:lnTo>
                  <a:lnTo>
                    <a:pt x="8" y="134"/>
                  </a:lnTo>
                  <a:lnTo>
                    <a:pt x="2" y="114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74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12" y="42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34" y="16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74" y="2"/>
                  </a:lnTo>
                  <a:lnTo>
                    <a:pt x="98" y="0"/>
                  </a:lnTo>
                  <a:lnTo>
                    <a:pt x="98" y="0"/>
                  </a:lnTo>
                  <a:close/>
                  <a:moveTo>
                    <a:pt x="100" y="40"/>
                  </a:moveTo>
                  <a:lnTo>
                    <a:pt x="100" y="40"/>
                  </a:lnTo>
                  <a:lnTo>
                    <a:pt x="84" y="40"/>
                  </a:lnTo>
                  <a:lnTo>
                    <a:pt x="70" y="42"/>
                  </a:lnTo>
                  <a:lnTo>
                    <a:pt x="58" y="48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40" y="62"/>
                  </a:lnTo>
                  <a:lnTo>
                    <a:pt x="34" y="72"/>
                  </a:lnTo>
                  <a:lnTo>
                    <a:pt x="30" y="82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106"/>
                  </a:lnTo>
                  <a:lnTo>
                    <a:pt x="34" y="116"/>
                  </a:lnTo>
                  <a:lnTo>
                    <a:pt x="34" y="116"/>
                  </a:lnTo>
                  <a:lnTo>
                    <a:pt x="40" y="126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58" y="140"/>
                  </a:lnTo>
                  <a:lnTo>
                    <a:pt x="70" y="146"/>
                  </a:lnTo>
                  <a:lnTo>
                    <a:pt x="70" y="146"/>
                  </a:lnTo>
                  <a:lnTo>
                    <a:pt x="86" y="150"/>
                  </a:lnTo>
                  <a:lnTo>
                    <a:pt x="102" y="150"/>
                  </a:lnTo>
                  <a:lnTo>
                    <a:pt x="102" y="150"/>
                  </a:lnTo>
                  <a:lnTo>
                    <a:pt x="120" y="148"/>
                  </a:lnTo>
                  <a:lnTo>
                    <a:pt x="134" y="146"/>
                  </a:lnTo>
                  <a:lnTo>
                    <a:pt x="148" y="142"/>
                  </a:lnTo>
                  <a:lnTo>
                    <a:pt x="158" y="134"/>
                  </a:lnTo>
                  <a:lnTo>
                    <a:pt x="158" y="134"/>
                  </a:lnTo>
                  <a:lnTo>
                    <a:pt x="166" y="126"/>
                  </a:lnTo>
                  <a:lnTo>
                    <a:pt x="172" y="118"/>
                  </a:lnTo>
                  <a:lnTo>
                    <a:pt x="176" y="106"/>
                  </a:lnTo>
                  <a:lnTo>
                    <a:pt x="176" y="92"/>
                  </a:lnTo>
                  <a:lnTo>
                    <a:pt x="176" y="92"/>
                  </a:lnTo>
                  <a:lnTo>
                    <a:pt x="176" y="82"/>
                  </a:lnTo>
                  <a:lnTo>
                    <a:pt x="172" y="72"/>
                  </a:lnTo>
                  <a:lnTo>
                    <a:pt x="172" y="72"/>
                  </a:lnTo>
                  <a:lnTo>
                    <a:pt x="166" y="62"/>
                  </a:lnTo>
                  <a:lnTo>
                    <a:pt x="158" y="54"/>
                  </a:lnTo>
                  <a:lnTo>
                    <a:pt x="158" y="54"/>
                  </a:lnTo>
                  <a:lnTo>
                    <a:pt x="148" y="48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18" y="40"/>
                  </a:lnTo>
                  <a:lnTo>
                    <a:pt x="100" y="40"/>
                  </a:lnTo>
                  <a:lnTo>
                    <a:pt x="100" y="40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2089" y="1588"/>
              <a:ext cx="204" cy="168"/>
            </a:xfrm>
            <a:custGeom>
              <a:avLst/>
              <a:gdLst>
                <a:gd name="T0" fmla="*/ 202 w 204"/>
                <a:gd name="T1" fmla="*/ 38 h 168"/>
                <a:gd name="T2" fmla="*/ 74 w 204"/>
                <a:gd name="T3" fmla="*/ 40 h 168"/>
                <a:gd name="T4" fmla="*/ 74 w 204"/>
                <a:gd name="T5" fmla="*/ 40 h 168"/>
                <a:gd name="T6" fmla="*/ 54 w 204"/>
                <a:gd name="T7" fmla="*/ 42 h 168"/>
                <a:gd name="T8" fmla="*/ 46 w 204"/>
                <a:gd name="T9" fmla="*/ 44 h 168"/>
                <a:gd name="T10" fmla="*/ 40 w 204"/>
                <a:gd name="T11" fmla="*/ 48 h 168"/>
                <a:gd name="T12" fmla="*/ 40 w 204"/>
                <a:gd name="T13" fmla="*/ 48 h 168"/>
                <a:gd name="T14" fmla="*/ 36 w 204"/>
                <a:gd name="T15" fmla="*/ 52 h 168"/>
                <a:gd name="T16" fmla="*/ 32 w 204"/>
                <a:gd name="T17" fmla="*/ 58 h 168"/>
                <a:gd name="T18" fmla="*/ 30 w 204"/>
                <a:gd name="T19" fmla="*/ 66 h 168"/>
                <a:gd name="T20" fmla="*/ 30 w 204"/>
                <a:gd name="T21" fmla="*/ 74 h 168"/>
                <a:gd name="T22" fmla="*/ 30 w 204"/>
                <a:gd name="T23" fmla="*/ 74 h 168"/>
                <a:gd name="T24" fmla="*/ 32 w 204"/>
                <a:gd name="T25" fmla="*/ 86 h 168"/>
                <a:gd name="T26" fmla="*/ 36 w 204"/>
                <a:gd name="T27" fmla="*/ 98 h 168"/>
                <a:gd name="T28" fmla="*/ 36 w 204"/>
                <a:gd name="T29" fmla="*/ 98 h 168"/>
                <a:gd name="T30" fmla="*/ 44 w 204"/>
                <a:gd name="T31" fmla="*/ 108 h 168"/>
                <a:gd name="T32" fmla="*/ 52 w 204"/>
                <a:gd name="T33" fmla="*/ 116 h 168"/>
                <a:gd name="T34" fmla="*/ 52 w 204"/>
                <a:gd name="T35" fmla="*/ 116 h 168"/>
                <a:gd name="T36" fmla="*/ 64 w 204"/>
                <a:gd name="T37" fmla="*/ 122 h 168"/>
                <a:gd name="T38" fmla="*/ 78 w 204"/>
                <a:gd name="T39" fmla="*/ 126 h 168"/>
                <a:gd name="T40" fmla="*/ 78 w 204"/>
                <a:gd name="T41" fmla="*/ 126 h 168"/>
                <a:gd name="T42" fmla="*/ 92 w 204"/>
                <a:gd name="T43" fmla="*/ 130 h 168"/>
                <a:gd name="T44" fmla="*/ 108 w 204"/>
                <a:gd name="T45" fmla="*/ 130 h 168"/>
                <a:gd name="T46" fmla="*/ 204 w 204"/>
                <a:gd name="T47" fmla="*/ 128 h 168"/>
                <a:gd name="T48" fmla="*/ 204 w 204"/>
                <a:gd name="T49" fmla="*/ 164 h 168"/>
                <a:gd name="T50" fmla="*/ 4 w 204"/>
                <a:gd name="T51" fmla="*/ 168 h 168"/>
                <a:gd name="T52" fmla="*/ 4 w 204"/>
                <a:gd name="T53" fmla="*/ 134 h 168"/>
                <a:gd name="T54" fmla="*/ 4 w 204"/>
                <a:gd name="T55" fmla="*/ 134 h 168"/>
                <a:gd name="T56" fmla="*/ 26 w 204"/>
                <a:gd name="T57" fmla="*/ 134 h 168"/>
                <a:gd name="T58" fmla="*/ 26 w 204"/>
                <a:gd name="T59" fmla="*/ 134 h 168"/>
                <a:gd name="T60" fmla="*/ 46 w 204"/>
                <a:gd name="T61" fmla="*/ 136 h 168"/>
                <a:gd name="T62" fmla="*/ 46 w 204"/>
                <a:gd name="T63" fmla="*/ 134 h 168"/>
                <a:gd name="T64" fmla="*/ 46 w 204"/>
                <a:gd name="T65" fmla="*/ 134 h 168"/>
                <a:gd name="T66" fmla="*/ 36 w 204"/>
                <a:gd name="T67" fmla="*/ 130 h 168"/>
                <a:gd name="T68" fmla="*/ 28 w 204"/>
                <a:gd name="T69" fmla="*/ 124 h 168"/>
                <a:gd name="T70" fmla="*/ 20 w 204"/>
                <a:gd name="T71" fmla="*/ 116 h 168"/>
                <a:gd name="T72" fmla="*/ 12 w 204"/>
                <a:gd name="T73" fmla="*/ 108 h 168"/>
                <a:gd name="T74" fmla="*/ 12 w 204"/>
                <a:gd name="T75" fmla="*/ 108 h 168"/>
                <a:gd name="T76" fmla="*/ 6 w 204"/>
                <a:gd name="T77" fmla="*/ 100 h 168"/>
                <a:gd name="T78" fmla="*/ 2 w 204"/>
                <a:gd name="T79" fmla="*/ 88 h 168"/>
                <a:gd name="T80" fmla="*/ 0 w 204"/>
                <a:gd name="T81" fmla="*/ 78 h 168"/>
                <a:gd name="T82" fmla="*/ 0 w 204"/>
                <a:gd name="T83" fmla="*/ 66 h 168"/>
                <a:gd name="T84" fmla="*/ 0 w 204"/>
                <a:gd name="T85" fmla="*/ 66 h 168"/>
                <a:gd name="T86" fmla="*/ 0 w 204"/>
                <a:gd name="T87" fmla="*/ 50 h 168"/>
                <a:gd name="T88" fmla="*/ 4 w 204"/>
                <a:gd name="T89" fmla="*/ 36 h 168"/>
                <a:gd name="T90" fmla="*/ 4 w 204"/>
                <a:gd name="T91" fmla="*/ 36 h 168"/>
                <a:gd name="T92" fmla="*/ 10 w 204"/>
                <a:gd name="T93" fmla="*/ 26 h 168"/>
                <a:gd name="T94" fmla="*/ 16 w 204"/>
                <a:gd name="T95" fmla="*/ 18 h 168"/>
                <a:gd name="T96" fmla="*/ 16 w 204"/>
                <a:gd name="T97" fmla="*/ 18 h 168"/>
                <a:gd name="T98" fmla="*/ 26 w 204"/>
                <a:gd name="T99" fmla="*/ 12 h 168"/>
                <a:gd name="T100" fmla="*/ 38 w 204"/>
                <a:gd name="T101" fmla="*/ 6 h 168"/>
                <a:gd name="T102" fmla="*/ 38 w 204"/>
                <a:gd name="T103" fmla="*/ 6 h 168"/>
                <a:gd name="T104" fmla="*/ 50 w 204"/>
                <a:gd name="T105" fmla="*/ 4 h 168"/>
                <a:gd name="T106" fmla="*/ 62 w 204"/>
                <a:gd name="T107" fmla="*/ 4 h 168"/>
                <a:gd name="T108" fmla="*/ 202 w 204"/>
                <a:gd name="T109" fmla="*/ 0 h 168"/>
                <a:gd name="T110" fmla="*/ 202 w 204"/>
                <a:gd name="T111" fmla="*/ 3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04" h="168">
                  <a:moveTo>
                    <a:pt x="202" y="38"/>
                  </a:moveTo>
                  <a:lnTo>
                    <a:pt x="74" y="40"/>
                  </a:lnTo>
                  <a:lnTo>
                    <a:pt x="74" y="40"/>
                  </a:lnTo>
                  <a:lnTo>
                    <a:pt x="54" y="42"/>
                  </a:lnTo>
                  <a:lnTo>
                    <a:pt x="46" y="44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36" y="52"/>
                  </a:lnTo>
                  <a:lnTo>
                    <a:pt x="32" y="58"/>
                  </a:lnTo>
                  <a:lnTo>
                    <a:pt x="30" y="66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2" y="86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44" y="108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64" y="122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92" y="130"/>
                  </a:lnTo>
                  <a:lnTo>
                    <a:pt x="108" y="130"/>
                  </a:lnTo>
                  <a:lnTo>
                    <a:pt x="204" y="128"/>
                  </a:lnTo>
                  <a:lnTo>
                    <a:pt x="204" y="164"/>
                  </a:lnTo>
                  <a:lnTo>
                    <a:pt x="4" y="168"/>
                  </a:lnTo>
                  <a:lnTo>
                    <a:pt x="4" y="134"/>
                  </a:lnTo>
                  <a:lnTo>
                    <a:pt x="4" y="134"/>
                  </a:lnTo>
                  <a:lnTo>
                    <a:pt x="26" y="134"/>
                  </a:lnTo>
                  <a:lnTo>
                    <a:pt x="26" y="134"/>
                  </a:lnTo>
                  <a:lnTo>
                    <a:pt x="46" y="136"/>
                  </a:lnTo>
                  <a:lnTo>
                    <a:pt x="46" y="134"/>
                  </a:lnTo>
                  <a:lnTo>
                    <a:pt x="46" y="134"/>
                  </a:lnTo>
                  <a:lnTo>
                    <a:pt x="36" y="130"/>
                  </a:lnTo>
                  <a:lnTo>
                    <a:pt x="28" y="124"/>
                  </a:lnTo>
                  <a:lnTo>
                    <a:pt x="20" y="116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6" y="100"/>
                  </a:lnTo>
                  <a:lnTo>
                    <a:pt x="2" y="88"/>
                  </a:lnTo>
                  <a:lnTo>
                    <a:pt x="0" y="78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5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10" y="26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26" y="12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50" y="4"/>
                  </a:lnTo>
                  <a:lnTo>
                    <a:pt x="62" y="4"/>
                  </a:lnTo>
                  <a:lnTo>
                    <a:pt x="202" y="0"/>
                  </a:lnTo>
                  <a:lnTo>
                    <a:pt x="202" y="38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1991" y="1408"/>
              <a:ext cx="298" cy="148"/>
            </a:xfrm>
            <a:custGeom>
              <a:avLst/>
              <a:gdLst>
                <a:gd name="T0" fmla="*/ 34 w 298"/>
                <a:gd name="T1" fmla="*/ 2 h 148"/>
                <a:gd name="T2" fmla="*/ 34 w 298"/>
                <a:gd name="T3" fmla="*/ 2 h 148"/>
                <a:gd name="T4" fmla="*/ 30 w 298"/>
                <a:gd name="T5" fmla="*/ 16 h 148"/>
                <a:gd name="T6" fmla="*/ 30 w 298"/>
                <a:gd name="T7" fmla="*/ 16 h 148"/>
                <a:gd name="T8" fmla="*/ 30 w 298"/>
                <a:gd name="T9" fmla="*/ 32 h 148"/>
                <a:gd name="T10" fmla="*/ 30 w 298"/>
                <a:gd name="T11" fmla="*/ 32 h 148"/>
                <a:gd name="T12" fmla="*/ 30 w 298"/>
                <a:gd name="T13" fmla="*/ 42 h 148"/>
                <a:gd name="T14" fmla="*/ 34 w 298"/>
                <a:gd name="T15" fmla="*/ 50 h 148"/>
                <a:gd name="T16" fmla="*/ 38 w 298"/>
                <a:gd name="T17" fmla="*/ 58 h 148"/>
                <a:gd name="T18" fmla="*/ 42 w 298"/>
                <a:gd name="T19" fmla="*/ 62 h 148"/>
                <a:gd name="T20" fmla="*/ 42 w 298"/>
                <a:gd name="T21" fmla="*/ 62 h 148"/>
                <a:gd name="T22" fmla="*/ 50 w 298"/>
                <a:gd name="T23" fmla="*/ 66 h 148"/>
                <a:gd name="T24" fmla="*/ 60 w 298"/>
                <a:gd name="T25" fmla="*/ 70 h 148"/>
                <a:gd name="T26" fmla="*/ 70 w 298"/>
                <a:gd name="T27" fmla="*/ 72 h 148"/>
                <a:gd name="T28" fmla="*/ 82 w 298"/>
                <a:gd name="T29" fmla="*/ 72 h 148"/>
                <a:gd name="T30" fmla="*/ 98 w 298"/>
                <a:gd name="T31" fmla="*/ 72 h 148"/>
                <a:gd name="T32" fmla="*/ 96 w 298"/>
                <a:gd name="T33" fmla="*/ 16 h 148"/>
                <a:gd name="T34" fmla="*/ 124 w 298"/>
                <a:gd name="T35" fmla="*/ 16 h 148"/>
                <a:gd name="T36" fmla="*/ 126 w 298"/>
                <a:gd name="T37" fmla="*/ 70 h 148"/>
                <a:gd name="T38" fmla="*/ 298 w 298"/>
                <a:gd name="T39" fmla="*/ 68 h 148"/>
                <a:gd name="T40" fmla="*/ 298 w 298"/>
                <a:gd name="T41" fmla="*/ 104 h 148"/>
                <a:gd name="T42" fmla="*/ 126 w 298"/>
                <a:gd name="T43" fmla="*/ 106 h 148"/>
                <a:gd name="T44" fmla="*/ 128 w 298"/>
                <a:gd name="T45" fmla="*/ 148 h 148"/>
                <a:gd name="T46" fmla="*/ 98 w 298"/>
                <a:gd name="T47" fmla="*/ 148 h 148"/>
                <a:gd name="T48" fmla="*/ 98 w 298"/>
                <a:gd name="T49" fmla="*/ 108 h 148"/>
                <a:gd name="T50" fmla="*/ 84 w 298"/>
                <a:gd name="T51" fmla="*/ 108 h 148"/>
                <a:gd name="T52" fmla="*/ 84 w 298"/>
                <a:gd name="T53" fmla="*/ 108 h 148"/>
                <a:gd name="T54" fmla="*/ 64 w 298"/>
                <a:gd name="T55" fmla="*/ 106 h 148"/>
                <a:gd name="T56" fmla="*/ 48 w 298"/>
                <a:gd name="T57" fmla="*/ 104 h 148"/>
                <a:gd name="T58" fmla="*/ 32 w 298"/>
                <a:gd name="T59" fmla="*/ 98 h 148"/>
                <a:gd name="T60" fmla="*/ 22 w 298"/>
                <a:gd name="T61" fmla="*/ 90 h 148"/>
                <a:gd name="T62" fmla="*/ 22 w 298"/>
                <a:gd name="T63" fmla="*/ 90 h 148"/>
                <a:gd name="T64" fmla="*/ 12 w 298"/>
                <a:gd name="T65" fmla="*/ 78 h 148"/>
                <a:gd name="T66" fmla="*/ 6 w 298"/>
                <a:gd name="T67" fmla="*/ 66 h 148"/>
                <a:gd name="T68" fmla="*/ 2 w 298"/>
                <a:gd name="T69" fmla="*/ 50 h 148"/>
                <a:gd name="T70" fmla="*/ 0 w 298"/>
                <a:gd name="T71" fmla="*/ 32 h 148"/>
                <a:gd name="T72" fmla="*/ 0 w 298"/>
                <a:gd name="T73" fmla="*/ 32 h 148"/>
                <a:gd name="T74" fmla="*/ 2 w 298"/>
                <a:gd name="T75" fmla="*/ 16 h 148"/>
                <a:gd name="T76" fmla="*/ 4 w 298"/>
                <a:gd name="T77" fmla="*/ 0 h 148"/>
                <a:gd name="T78" fmla="*/ 34 w 298"/>
                <a:gd name="T79" fmla="*/ 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8" h="148">
                  <a:moveTo>
                    <a:pt x="34" y="2"/>
                  </a:moveTo>
                  <a:lnTo>
                    <a:pt x="34" y="2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42"/>
                  </a:lnTo>
                  <a:lnTo>
                    <a:pt x="34" y="50"/>
                  </a:lnTo>
                  <a:lnTo>
                    <a:pt x="38" y="58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50" y="66"/>
                  </a:lnTo>
                  <a:lnTo>
                    <a:pt x="60" y="70"/>
                  </a:lnTo>
                  <a:lnTo>
                    <a:pt x="70" y="72"/>
                  </a:lnTo>
                  <a:lnTo>
                    <a:pt x="82" y="72"/>
                  </a:lnTo>
                  <a:lnTo>
                    <a:pt x="98" y="72"/>
                  </a:lnTo>
                  <a:lnTo>
                    <a:pt x="96" y="16"/>
                  </a:lnTo>
                  <a:lnTo>
                    <a:pt x="124" y="16"/>
                  </a:lnTo>
                  <a:lnTo>
                    <a:pt x="126" y="70"/>
                  </a:lnTo>
                  <a:lnTo>
                    <a:pt x="298" y="68"/>
                  </a:lnTo>
                  <a:lnTo>
                    <a:pt x="298" y="104"/>
                  </a:lnTo>
                  <a:lnTo>
                    <a:pt x="126" y="106"/>
                  </a:lnTo>
                  <a:lnTo>
                    <a:pt x="128" y="148"/>
                  </a:lnTo>
                  <a:lnTo>
                    <a:pt x="98" y="148"/>
                  </a:lnTo>
                  <a:lnTo>
                    <a:pt x="98" y="108"/>
                  </a:lnTo>
                  <a:lnTo>
                    <a:pt x="84" y="108"/>
                  </a:lnTo>
                  <a:lnTo>
                    <a:pt x="84" y="108"/>
                  </a:lnTo>
                  <a:lnTo>
                    <a:pt x="64" y="106"/>
                  </a:lnTo>
                  <a:lnTo>
                    <a:pt x="48" y="104"/>
                  </a:lnTo>
                  <a:lnTo>
                    <a:pt x="32" y="98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12" y="78"/>
                  </a:lnTo>
                  <a:lnTo>
                    <a:pt x="6" y="66"/>
                  </a:lnTo>
                  <a:lnTo>
                    <a:pt x="2" y="5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16"/>
                  </a:lnTo>
                  <a:lnTo>
                    <a:pt x="4" y="0"/>
                  </a:lnTo>
                  <a:lnTo>
                    <a:pt x="34" y="2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2011" y="1306"/>
              <a:ext cx="286" cy="88"/>
            </a:xfrm>
            <a:custGeom>
              <a:avLst/>
              <a:gdLst>
                <a:gd name="T0" fmla="*/ 28 w 286"/>
                <a:gd name="T1" fmla="*/ 0 h 88"/>
                <a:gd name="T2" fmla="*/ 28 w 286"/>
                <a:gd name="T3" fmla="*/ 0 h 88"/>
                <a:gd name="T4" fmla="*/ 36 w 286"/>
                <a:gd name="T5" fmla="*/ 2 h 88"/>
                <a:gd name="T6" fmla="*/ 44 w 286"/>
                <a:gd name="T7" fmla="*/ 10 h 88"/>
                <a:gd name="T8" fmla="*/ 44 w 286"/>
                <a:gd name="T9" fmla="*/ 10 h 88"/>
                <a:gd name="T10" fmla="*/ 46 w 286"/>
                <a:gd name="T11" fmla="*/ 18 h 88"/>
                <a:gd name="T12" fmla="*/ 46 w 286"/>
                <a:gd name="T13" fmla="*/ 28 h 88"/>
                <a:gd name="T14" fmla="*/ 46 w 286"/>
                <a:gd name="T15" fmla="*/ 28 h 88"/>
                <a:gd name="T16" fmla="*/ 44 w 286"/>
                <a:gd name="T17" fmla="*/ 36 h 88"/>
                <a:gd name="T18" fmla="*/ 38 w 286"/>
                <a:gd name="T19" fmla="*/ 42 h 88"/>
                <a:gd name="T20" fmla="*/ 38 w 286"/>
                <a:gd name="T21" fmla="*/ 42 h 88"/>
                <a:gd name="T22" fmla="*/ 28 w 286"/>
                <a:gd name="T23" fmla="*/ 46 h 88"/>
                <a:gd name="T24" fmla="*/ 20 w 286"/>
                <a:gd name="T25" fmla="*/ 46 h 88"/>
                <a:gd name="T26" fmla="*/ 20 w 286"/>
                <a:gd name="T27" fmla="*/ 46 h 88"/>
                <a:gd name="T28" fmla="*/ 10 w 286"/>
                <a:gd name="T29" fmla="*/ 44 h 88"/>
                <a:gd name="T30" fmla="*/ 4 w 286"/>
                <a:gd name="T31" fmla="*/ 36 h 88"/>
                <a:gd name="T32" fmla="*/ 4 w 286"/>
                <a:gd name="T33" fmla="*/ 36 h 88"/>
                <a:gd name="T34" fmla="*/ 0 w 286"/>
                <a:gd name="T35" fmla="*/ 28 h 88"/>
                <a:gd name="T36" fmla="*/ 0 w 286"/>
                <a:gd name="T37" fmla="*/ 18 h 88"/>
                <a:gd name="T38" fmla="*/ 0 w 286"/>
                <a:gd name="T39" fmla="*/ 18 h 88"/>
                <a:gd name="T40" fmla="*/ 4 w 286"/>
                <a:gd name="T41" fmla="*/ 10 h 88"/>
                <a:gd name="T42" fmla="*/ 10 w 286"/>
                <a:gd name="T43" fmla="*/ 4 h 88"/>
                <a:gd name="T44" fmla="*/ 10 w 286"/>
                <a:gd name="T45" fmla="*/ 4 h 88"/>
                <a:gd name="T46" fmla="*/ 18 w 286"/>
                <a:gd name="T47" fmla="*/ 0 h 88"/>
                <a:gd name="T48" fmla="*/ 28 w 286"/>
                <a:gd name="T49" fmla="*/ 0 h 88"/>
                <a:gd name="T50" fmla="*/ 28 w 286"/>
                <a:gd name="T51" fmla="*/ 0 h 88"/>
                <a:gd name="T52" fmla="*/ 280 w 286"/>
                <a:gd name="T53" fmla="*/ 88 h 88"/>
                <a:gd name="T54" fmla="*/ 82 w 286"/>
                <a:gd name="T55" fmla="*/ 52 h 88"/>
                <a:gd name="T56" fmla="*/ 90 w 286"/>
                <a:gd name="T57" fmla="*/ 16 h 88"/>
                <a:gd name="T58" fmla="*/ 286 w 286"/>
                <a:gd name="T59" fmla="*/ 52 h 88"/>
                <a:gd name="T60" fmla="*/ 280 w 286"/>
                <a:gd name="T61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86" h="88">
                  <a:moveTo>
                    <a:pt x="28" y="0"/>
                  </a:moveTo>
                  <a:lnTo>
                    <a:pt x="28" y="0"/>
                  </a:lnTo>
                  <a:lnTo>
                    <a:pt x="36" y="2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6" y="18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44" y="36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28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10" y="44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2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4" y="10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8" y="0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280" y="88"/>
                  </a:moveTo>
                  <a:lnTo>
                    <a:pt x="82" y="52"/>
                  </a:lnTo>
                  <a:lnTo>
                    <a:pt x="90" y="16"/>
                  </a:lnTo>
                  <a:lnTo>
                    <a:pt x="286" y="52"/>
                  </a:lnTo>
                  <a:lnTo>
                    <a:pt x="280" y="88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2115" y="1026"/>
              <a:ext cx="270" cy="276"/>
            </a:xfrm>
            <a:custGeom>
              <a:avLst/>
              <a:gdLst>
                <a:gd name="T0" fmla="*/ 252 w 270"/>
                <a:gd name="T1" fmla="*/ 184 h 276"/>
                <a:gd name="T2" fmla="*/ 234 w 270"/>
                <a:gd name="T3" fmla="*/ 174 h 276"/>
                <a:gd name="T4" fmla="*/ 218 w 270"/>
                <a:gd name="T5" fmla="*/ 160 h 276"/>
                <a:gd name="T6" fmla="*/ 224 w 270"/>
                <a:gd name="T7" fmla="*/ 170 h 276"/>
                <a:gd name="T8" fmla="*/ 230 w 270"/>
                <a:gd name="T9" fmla="*/ 190 h 276"/>
                <a:gd name="T10" fmla="*/ 232 w 270"/>
                <a:gd name="T11" fmla="*/ 200 h 276"/>
                <a:gd name="T12" fmla="*/ 230 w 270"/>
                <a:gd name="T13" fmla="*/ 222 h 276"/>
                <a:gd name="T14" fmla="*/ 220 w 270"/>
                <a:gd name="T15" fmla="*/ 242 h 276"/>
                <a:gd name="T16" fmla="*/ 210 w 270"/>
                <a:gd name="T17" fmla="*/ 256 h 276"/>
                <a:gd name="T18" fmla="*/ 184 w 270"/>
                <a:gd name="T19" fmla="*/ 272 h 276"/>
                <a:gd name="T20" fmla="*/ 170 w 270"/>
                <a:gd name="T21" fmla="*/ 276 h 276"/>
                <a:gd name="T22" fmla="*/ 138 w 270"/>
                <a:gd name="T23" fmla="*/ 272 h 276"/>
                <a:gd name="T24" fmla="*/ 102 w 270"/>
                <a:gd name="T25" fmla="*/ 254 h 276"/>
                <a:gd name="T26" fmla="*/ 82 w 270"/>
                <a:gd name="T27" fmla="*/ 240 h 276"/>
                <a:gd name="T28" fmla="*/ 66 w 270"/>
                <a:gd name="T29" fmla="*/ 224 h 276"/>
                <a:gd name="T30" fmla="*/ 46 w 270"/>
                <a:gd name="T31" fmla="*/ 188 h 276"/>
                <a:gd name="T32" fmla="*/ 44 w 270"/>
                <a:gd name="T33" fmla="*/ 168 h 276"/>
                <a:gd name="T34" fmla="*/ 44 w 270"/>
                <a:gd name="T35" fmla="*/ 148 h 276"/>
                <a:gd name="T36" fmla="*/ 60 w 270"/>
                <a:gd name="T37" fmla="*/ 108 h 276"/>
                <a:gd name="T38" fmla="*/ 70 w 270"/>
                <a:gd name="T39" fmla="*/ 94 h 276"/>
                <a:gd name="T40" fmla="*/ 80 w 270"/>
                <a:gd name="T41" fmla="*/ 80 h 276"/>
                <a:gd name="T42" fmla="*/ 20 w 270"/>
                <a:gd name="T43" fmla="*/ 0 h 276"/>
                <a:gd name="T44" fmla="*/ 252 w 270"/>
                <a:gd name="T45" fmla="*/ 184 h 276"/>
                <a:gd name="T46" fmla="*/ 106 w 270"/>
                <a:gd name="T47" fmla="*/ 96 h 276"/>
                <a:gd name="T48" fmla="*/ 94 w 270"/>
                <a:gd name="T49" fmla="*/ 110 h 276"/>
                <a:gd name="T50" fmla="*/ 84 w 270"/>
                <a:gd name="T51" fmla="*/ 124 h 276"/>
                <a:gd name="T52" fmla="*/ 74 w 270"/>
                <a:gd name="T53" fmla="*/ 148 h 276"/>
                <a:gd name="T54" fmla="*/ 72 w 270"/>
                <a:gd name="T55" fmla="*/ 160 h 276"/>
                <a:gd name="T56" fmla="*/ 76 w 270"/>
                <a:gd name="T57" fmla="*/ 172 h 276"/>
                <a:gd name="T58" fmla="*/ 90 w 270"/>
                <a:gd name="T59" fmla="*/ 196 h 276"/>
                <a:gd name="T60" fmla="*/ 102 w 270"/>
                <a:gd name="T61" fmla="*/ 208 h 276"/>
                <a:gd name="T62" fmla="*/ 118 w 270"/>
                <a:gd name="T63" fmla="*/ 220 h 276"/>
                <a:gd name="T64" fmla="*/ 144 w 270"/>
                <a:gd name="T65" fmla="*/ 234 h 276"/>
                <a:gd name="T66" fmla="*/ 166 w 270"/>
                <a:gd name="T67" fmla="*/ 238 h 276"/>
                <a:gd name="T68" fmla="*/ 176 w 270"/>
                <a:gd name="T69" fmla="*/ 236 h 276"/>
                <a:gd name="T70" fmla="*/ 192 w 270"/>
                <a:gd name="T71" fmla="*/ 226 h 276"/>
                <a:gd name="T72" fmla="*/ 200 w 270"/>
                <a:gd name="T73" fmla="*/ 218 h 276"/>
                <a:gd name="T74" fmla="*/ 206 w 270"/>
                <a:gd name="T75" fmla="*/ 194 h 276"/>
                <a:gd name="T76" fmla="*/ 204 w 270"/>
                <a:gd name="T77" fmla="*/ 182 h 276"/>
                <a:gd name="T78" fmla="*/ 200 w 270"/>
                <a:gd name="T79" fmla="*/ 170 h 276"/>
                <a:gd name="T80" fmla="*/ 184 w 270"/>
                <a:gd name="T81" fmla="*/ 148 h 276"/>
                <a:gd name="T82" fmla="*/ 174 w 270"/>
                <a:gd name="T83" fmla="*/ 138 h 276"/>
                <a:gd name="T84" fmla="*/ 106 w 270"/>
                <a:gd name="T85" fmla="*/ 9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0" h="276">
                  <a:moveTo>
                    <a:pt x="252" y="184"/>
                  </a:moveTo>
                  <a:lnTo>
                    <a:pt x="252" y="184"/>
                  </a:lnTo>
                  <a:lnTo>
                    <a:pt x="234" y="174"/>
                  </a:lnTo>
                  <a:lnTo>
                    <a:pt x="234" y="174"/>
                  </a:lnTo>
                  <a:lnTo>
                    <a:pt x="218" y="160"/>
                  </a:lnTo>
                  <a:lnTo>
                    <a:pt x="218" y="160"/>
                  </a:lnTo>
                  <a:lnTo>
                    <a:pt x="218" y="160"/>
                  </a:lnTo>
                  <a:lnTo>
                    <a:pt x="224" y="170"/>
                  </a:lnTo>
                  <a:lnTo>
                    <a:pt x="228" y="180"/>
                  </a:lnTo>
                  <a:lnTo>
                    <a:pt x="230" y="190"/>
                  </a:lnTo>
                  <a:lnTo>
                    <a:pt x="232" y="200"/>
                  </a:lnTo>
                  <a:lnTo>
                    <a:pt x="232" y="200"/>
                  </a:lnTo>
                  <a:lnTo>
                    <a:pt x="232" y="210"/>
                  </a:lnTo>
                  <a:lnTo>
                    <a:pt x="230" y="222"/>
                  </a:lnTo>
                  <a:lnTo>
                    <a:pt x="226" y="232"/>
                  </a:lnTo>
                  <a:lnTo>
                    <a:pt x="220" y="242"/>
                  </a:lnTo>
                  <a:lnTo>
                    <a:pt x="220" y="242"/>
                  </a:lnTo>
                  <a:lnTo>
                    <a:pt x="210" y="256"/>
                  </a:lnTo>
                  <a:lnTo>
                    <a:pt x="198" y="266"/>
                  </a:lnTo>
                  <a:lnTo>
                    <a:pt x="184" y="272"/>
                  </a:lnTo>
                  <a:lnTo>
                    <a:pt x="170" y="276"/>
                  </a:lnTo>
                  <a:lnTo>
                    <a:pt x="170" y="276"/>
                  </a:lnTo>
                  <a:lnTo>
                    <a:pt x="154" y="274"/>
                  </a:lnTo>
                  <a:lnTo>
                    <a:pt x="138" y="272"/>
                  </a:lnTo>
                  <a:lnTo>
                    <a:pt x="120" y="264"/>
                  </a:lnTo>
                  <a:lnTo>
                    <a:pt x="102" y="254"/>
                  </a:lnTo>
                  <a:lnTo>
                    <a:pt x="102" y="254"/>
                  </a:lnTo>
                  <a:lnTo>
                    <a:pt x="82" y="240"/>
                  </a:lnTo>
                  <a:lnTo>
                    <a:pt x="66" y="224"/>
                  </a:lnTo>
                  <a:lnTo>
                    <a:pt x="66" y="224"/>
                  </a:lnTo>
                  <a:lnTo>
                    <a:pt x="54" y="206"/>
                  </a:lnTo>
                  <a:lnTo>
                    <a:pt x="46" y="188"/>
                  </a:lnTo>
                  <a:lnTo>
                    <a:pt x="46" y="188"/>
                  </a:lnTo>
                  <a:lnTo>
                    <a:pt x="44" y="168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50" y="128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70" y="94"/>
                  </a:lnTo>
                  <a:lnTo>
                    <a:pt x="70" y="94"/>
                  </a:lnTo>
                  <a:lnTo>
                    <a:pt x="80" y="80"/>
                  </a:lnTo>
                  <a:lnTo>
                    <a:pt x="0" y="30"/>
                  </a:lnTo>
                  <a:lnTo>
                    <a:pt x="20" y="0"/>
                  </a:lnTo>
                  <a:lnTo>
                    <a:pt x="270" y="154"/>
                  </a:lnTo>
                  <a:lnTo>
                    <a:pt x="252" y="184"/>
                  </a:lnTo>
                  <a:close/>
                  <a:moveTo>
                    <a:pt x="106" y="96"/>
                  </a:moveTo>
                  <a:lnTo>
                    <a:pt x="106" y="96"/>
                  </a:lnTo>
                  <a:lnTo>
                    <a:pt x="94" y="110"/>
                  </a:lnTo>
                  <a:lnTo>
                    <a:pt x="94" y="110"/>
                  </a:lnTo>
                  <a:lnTo>
                    <a:pt x="84" y="124"/>
                  </a:lnTo>
                  <a:lnTo>
                    <a:pt x="84" y="124"/>
                  </a:lnTo>
                  <a:lnTo>
                    <a:pt x="78" y="136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72" y="160"/>
                  </a:lnTo>
                  <a:lnTo>
                    <a:pt x="76" y="172"/>
                  </a:lnTo>
                  <a:lnTo>
                    <a:pt x="76" y="172"/>
                  </a:lnTo>
                  <a:lnTo>
                    <a:pt x="80" y="184"/>
                  </a:lnTo>
                  <a:lnTo>
                    <a:pt x="90" y="196"/>
                  </a:lnTo>
                  <a:lnTo>
                    <a:pt x="90" y="196"/>
                  </a:lnTo>
                  <a:lnTo>
                    <a:pt x="102" y="208"/>
                  </a:lnTo>
                  <a:lnTo>
                    <a:pt x="118" y="220"/>
                  </a:lnTo>
                  <a:lnTo>
                    <a:pt x="118" y="220"/>
                  </a:lnTo>
                  <a:lnTo>
                    <a:pt x="132" y="228"/>
                  </a:lnTo>
                  <a:lnTo>
                    <a:pt x="144" y="234"/>
                  </a:lnTo>
                  <a:lnTo>
                    <a:pt x="156" y="236"/>
                  </a:lnTo>
                  <a:lnTo>
                    <a:pt x="166" y="238"/>
                  </a:lnTo>
                  <a:lnTo>
                    <a:pt x="166" y="238"/>
                  </a:lnTo>
                  <a:lnTo>
                    <a:pt x="176" y="236"/>
                  </a:lnTo>
                  <a:lnTo>
                    <a:pt x="186" y="232"/>
                  </a:lnTo>
                  <a:lnTo>
                    <a:pt x="192" y="226"/>
                  </a:lnTo>
                  <a:lnTo>
                    <a:pt x="200" y="218"/>
                  </a:lnTo>
                  <a:lnTo>
                    <a:pt x="200" y="218"/>
                  </a:lnTo>
                  <a:lnTo>
                    <a:pt x="204" y="206"/>
                  </a:lnTo>
                  <a:lnTo>
                    <a:pt x="206" y="194"/>
                  </a:lnTo>
                  <a:lnTo>
                    <a:pt x="206" y="194"/>
                  </a:lnTo>
                  <a:lnTo>
                    <a:pt x="204" y="182"/>
                  </a:lnTo>
                  <a:lnTo>
                    <a:pt x="200" y="170"/>
                  </a:lnTo>
                  <a:lnTo>
                    <a:pt x="200" y="170"/>
                  </a:lnTo>
                  <a:lnTo>
                    <a:pt x="192" y="158"/>
                  </a:lnTo>
                  <a:lnTo>
                    <a:pt x="184" y="148"/>
                  </a:lnTo>
                  <a:lnTo>
                    <a:pt x="184" y="148"/>
                  </a:lnTo>
                  <a:lnTo>
                    <a:pt x="174" y="138"/>
                  </a:lnTo>
                  <a:lnTo>
                    <a:pt x="162" y="130"/>
                  </a:lnTo>
                  <a:lnTo>
                    <a:pt x="106" y="96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2307" y="926"/>
              <a:ext cx="216" cy="200"/>
            </a:xfrm>
            <a:custGeom>
              <a:avLst/>
              <a:gdLst>
                <a:gd name="T0" fmla="*/ 140 w 216"/>
                <a:gd name="T1" fmla="*/ 26 h 200"/>
                <a:gd name="T2" fmla="*/ 62 w 216"/>
                <a:gd name="T3" fmla="*/ 134 h 200"/>
                <a:gd name="T4" fmla="*/ 76 w 216"/>
                <a:gd name="T5" fmla="*/ 148 h 200"/>
                <a:gd name="T6" fmla="*/ 102 w 216"/>
                <a:gd name="T7" fmla="*/ 162 h 200"/>
                <a:gd name="T8" fmla="*/ 114 w 216"/>
                <a:gd name="T9" fmla="*/ 164 h 200"/>
                <a:gd name="T10" fmla="*/ 138 w 216"/>
                <a:gd name="T11" fmla="*/ 158 h 200"/>
                <a:gd name="T12" fmla="*/ 160 w 216"/>
                <a:gd name="T13" fmla="*/ 140 h 200"/>
                <a:gd name="T14" fmla="*/ 170 w 216"/>
                <a:gd name="T15" fmla="*/ 130 h 200"/>
                <a:gd name="T16" fmla="*/ 178 w 216"/>
                <a:gd name="T17" fmla="*/ 118 h 200"/>
                <a:gd name="T18" fmla="*/ 190 w 216"/>
                <a:gd name="T19" fmla="*/ 90 h 200"/>
                <a:gd name="T20" fmla="*/ 216 w 216"/>
                <a:gd name="T21" fmla="*/ 106 h 200"/>
                <a:gd name="T22" fmla="*/ 200 w 216"/>
                <a:gd name="T23" fmla="*/ 138 h 200"/>
                <a:gd name="T24" fmla="*/ 188 w 216"/>
                <a:gd name="T25" fmla="*/ 152 h 200"/>
                <a:gd name="T26" fmla="*/ 176 w 216"/>
                <a:gd name="T27" fmla="*/ 166 h 200"/>
                <a:gd name="T28" fmla="*/ 144 w 216"/>
                <a:gd name="T29" fmla="*/ 190 h 200"/>
                <a:gd name="T30" fmla="*/ 110 w 216"/>
                <a:gd name="T31" fmla="*/ 200 h 200"/>
                <a:gd name="T32" fmla="*/ 94 w 216"/>
                <a:gd name="T33" fmla="*/ 198 h 200"/>
                <a:gd name="T34" fmla="*/ 56 w 216"/>
                <a:gd name="T35" fmla="*/ 180 h 200"/>
                <a:gd name="T36" fmla="*/ 38 w 216"/>
                <a:gd name="T37" fmla="*/ 164 h 200"/>
                <a:gd name="T38" fmla="*/ 12 w 216"/>
                <a:gd name="T39" fmla="*/ 130 h 200"/>
                <a:gd name="T40" fmla="*/ 4 w 216"/>
                <a:gd name="T41" fmla="*/ 112 h 200"/>
                <a:gd name="T42" fmla="*/ 0 w 216"/>
                <a:gd name="T43" fmla="*/ 94 h 200"/>
                <a:gd name="T44" fmla="*/ 2 w 216"/>
                <a:gd name="T45" fmla="*/ 60 h 200"/>
                <a:gd name="T46" fmla="*/ 10 w 216"/>
                <a:gd name="T47" fmla="*/ 42 h 200"/>
                <a:gd name="T48" fmla="*/ 24 w 216"/>
                <a:gd name="T49" fmla="*/ 26 h 200"/>
                <a:gd name="T50" fmla="*/ 52 w 216"/>
                <a:gd name="T51" fmla="*/ 4 h 200"/>
                <a:gd name="T52" fmla="*/ 68 w 216"/>
                <a:gd name="T53" fmla="*/ 0 h 200"/>
                <a:gd name="T54" fmla="*/ 84 w 216"/>
                <a:gd name="T55" fmla="*/ 0 h 200"/>
                <a:gd name="T56" fmla="*/ 112 w 216"/>
                <a:gd name="T57" fmla="*/ 8 h 200"/>
                <a:gd name="T58" fmla="*/ 126 w 216"/>
                <a:gd name="T59" fmla="*/ 16 h 200"/>
                <a:gd name="T60" fmla="*/ 140 w 216"/>
                <a:gd name="T61" fmla="*/ 26 h 200"/>
                <a:gd name="T62" fmla="*/ 74 w 216"/>
                <a:gd name="T63" fmla="*/ 32 h 200"/>
                <a:gd name="T64" fmla="*/ 56 w 216"/>
                <a:gd name="T65" fmla="*/ 34 h 200"/>
                <a:gd name="T66" fmla="*/ 42 w 216"/>
                <a:gd name="T67" fmla="*/ 46 h 200"/>
                <a:gd name="T68" fmla="*/ 36 w 216"/>
                <a:gd name="T69" fmla="*/ 54 h 200"/>
                <a:gd name="T70" fmla="*/ 30 w 216"/>
                <a:gd name="T71" fmla="*/ 70 h 200"/>
                <a:gd name="T72" fmla="*/ 28 w 216"/>
                <a:gd name="T73" fmla="*/ 80 h 200"/>
                <a:gd name="T74" fmla="*/ 32 w 216"/>
                <a:gd name="T75" fmla="*/ 98 h 200"/>
                <a:gd name="T76" fmla="*/ 44 w 216"/>
                <a:gd name="T77" fmla="*/ 116 h 200"/>
                <a:gd name="T78" fmla="*/ 108 w 216"/>
                <a:gd name="T79" fmla="*/ 48 h 200"/>
                <a:gd name="T80" fmla="*/ 92 w 216"/>
                <a:gd name="T81" fmla="*/ 36 h 200"/>
                <a:gd name="T82" fmla="*/ 74 w 216"/>
                <a:gd name="T83" fmla="*/ 3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6" h="200">
                  <a:moveTo>
                    <a:pt x="140" y="26"/>
                  </a:moveTo>
                  <a:lnTo>
                    <a:pt x="140" y="26"/>
                  </a:lnTo>
                  <a:lnTo>
                    <a:pt x="152" y="40"/>
                  </a:lnTo>
                  <a:lnTo>
                    <a:pt x="62" y="134"/>
                  </a:lnTo>
                  <a:lnTo>
                    <a:pt x="62" y="134"/>
                  </a:lnTo>
                  <a:lnTo>
                    <a:pt x="76" y="148"/>
                  </a:lnTo>
                  <a:lnTo>
                    <a:pt x="88" y="156"/>
                  </a:lnTo>
                  <a:lnTo>
                    <a:pt x="102" y="162"/>
                  </a:lnTo>
                  <a:lnTo>
                    <a:pt x="114" y="164"/>
                  </a:lnTo>
                  <a:lnTo>
                    <a:pt x="114" y="164"/>
                  </a:lnTo>
                  <a:lnTo>
                    <a:pt x="126" y="162"/>
                  </a:lnTo>
                  <a:lnTo>
                    <a:pt x="138" y="158"/>
                  </a:lnTo>
                  <a:lnTo>
                    <a:pt x="148" y="150"/>
                  </a:lnTo>
                  <a:lnTo>
                    <a:pt x="160" y="140"/>
                  </a:lnTo>
                  <a:lnTo>
                    <a:pt x="160" y="140"/>
                  </a:lnTo>
                  <a:lnTo>
                    <a:pt x="170" y="130"/>
                  </a:lnTo>
                  <a:lnTo>
                    <a:pt x="178" y="118"/>
                  </a:lnTo>
                  <a:lnTo>
                    <a:pt x="178" y="118"/>
                  </a:lnTo>
                  <a:lnTo>
                    <a:pt x="186" y="104"/>
                  </a:lnTo>
                  <a:lnTo>
                    <a:pt x="190" y="90"/>
                  </a:lnTo>
                  <a:lnTo>
                    <a:pt x="216" y="106"/>
                  </a:lnTo>
                  <a:lnTo>
                    <a:pt x="216" y="106"/>
                  </a:lnTo>
                  <a:lnTo>
                    <a:pt x="208" y="122"/>
                  </a:lnTo>
                  <a:lnTo>
                    <a:pt x="200" y="138"/>
                  </a:lnTo>
                  <a:lnTo>
                    <a:pt x="200" y="138"/>
                  </a:lnTo>
                  <a:lnTo>
                    <a:pt x="188" y="152"/>
                  </a:lnTo>
                  <a:lnTo>
                    <a:pt x="176" y="166"/>
                  </a:lnTo>
                  <a:lnTo>
                    <a:pt x="176" y="166"/>
                  </a:lnTo>
                  <a:lnTo>
                    <a:pt x="160" y="180"/>
                  </a:lnTo>
                  <a:lnTo>
                    <a:pt x="144" y="190"/>
                  </a:lnTo>
                  <a:lnTo>
                    <a:pt x="128" y="198"/>
                  </a:lnTo>
                  <a:lnTo>
                    <a:pt x="110" y="200"/>
                  </a:lnTo>
                  <a:lnTo>
                    <a:pt x="110" y="200"/>
                  </a:lnTo>
                  <a:lnTo>
                    <a:pt x="94" y="198"/>
                  </a:lnTo>
                  <a:lnTo>
                    <a:pt x="76" y="190"/>
                  </a:lnTo>
                  <a:lnTo>
                    <a:pt x="56" y="180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22" y="148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4" y="112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76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10" y="42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38" y="1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68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98" y="2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26" y="16"/>
                  </a:lnTo>
                  <a:lnTo>
                    <a:pt x="140" y="26"/>
                  </a:lnTo>
                  <a:lnTo>
                    <a:pt x="140" y="26"/>
                  </a:lnTo>
                  <a:close/>
                  <a:moveTo>
                    <a:pt x="74" y="32"/>
                  </a:moveTo>
                  <a:lnTo>
                    <a:pt x="74" y="32"/>
                  </a:lnTo>
                  <a:lnTo>
                    <a:pt x="66" y="32"/>
                  </a:lnTo>
                  <a:lnTo>
                    <a:pt x="56" y="34"/>
                  </a:lnTo>
                  <a:lnTo>
                    <a:pt x="48" y="40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36" y="54"/>
                  </a:lnTo>
                  <a:lnTo>
                    <a:pt x="32" y="62"/>
                  </a:lnTo>
                  <a:lnTo>
                    <a:pt x="30" y="7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30" y="88"/>
                  </a:lnTo>
                  <a:lnTo>
                    <a:pt x="32" y="98"/>
                  </a:lnTo>
                  <a:lnTo>
                    <a:pt x="38" y="108"/>
                  </a:lnTo>
                  <a:lnTo>
                    <a:pt x="44" y="116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0" y="40"/>
                  </a:lnTo>
                  <a:lnTo>
                    <a:pt x="92" y="36"/>
                  </a:lnTo>
                  <a:lnTo>
                    <a:pt x="84" y="32"/>
                  </a:lnTo>
                  <a:lnTo>
                    <a:pt x="74" y="32"/>
                  </a:lnTo>
                  <a:lnTo>
                    <a:pt x="74" y="32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2423" y="760"/>
              <a:ext cx="258" cy="236"/>
            </a:xfrm>
            <a:custGeom>
              <a:avLst/>
              <a:gdLst>
                <a:gd name="T0" fmla="*/ 234 w 258"/>
                <a:gd name="T1" fmla="*/ 144 h 236"/>
                <a:gd name="T2" fmla="*/ 140 w 258"/>
                <a:gd name="T3" fmla="*/ 56 h 236"/>
                <a:gd name="T4" fmla="*/ 140 w 258"/>
                <a:gd name="T5" fmla="*/ 56 h 236"/>
                <a:gd name="T6" fmla="*/ 126 w 258"/>
                <a:gd name="T7" fmla="*/ 44 h 236"/>
                <a:gd name="T8" fmla="*/ 118 w 258"/>
                <a:gd name="T9" fmla="*/ 40 h 236"/>
                <a:gd name="T10" fmla="*/ 112 w 258"/>
                <a:gd name="T11" fmla="*/ 38 h 236"/>
                <a:gd name="T12" fmla="*/ 112 w 258"/>
                <a:gd name="T13" fmla="*/ 38 h 236"/>
                <a:gd name="T14" fmla="*/ 104 w 258"/>
                <a:gd name="T15" fmla="*/ 38 h 236"/>
                <a:gd name="T16" fmla="*/ 98 w 258"/>
                <a:gd name="T17" fmla="*/ 40 h 236"/>
                <a:gd name="T18" fmla="*/ 90 w 258"/>
                <a:gd name="T19" fmla="*/ 44 h 236"/>
                <a:gd name="T20" fmla="*/ 84 w 258"/>
                <a:gd name="T21" fmla="*/ 50 h 236"/>
                <a:gd name="T22" fmla="*/ 84 w 258"/>
                <a:gd name="T23" fmla="*/ 50 h 236"/>
                <a:gd name="T24" fmla="*/ 76 w 258"/>
                <a:gd name="T25" fmla="*/ 60 h 236"/>
                <a:gd name="T26" fmla="*/ 72 w 258"/>
                <a:gd name="T27" fmla="*/ 70 h 236"/>
                <a:gd name="T28" fmla="*/ 72 w 258"/>
                <a:gd name="T29" fmla="*/ 70 h 236"/>
                <a:gd name="T30" fmla="*/ 72 w 258"/>
                <a:gd name="T31" fmla="*/ 82 h 236"/>
                <a:gd name="T32" fmla="*/ 72 w 258"/>
                <a:gd name="T33" fmla="*/ 94 h 236"/>
                <a:gd name="T34" fmla="*/ 72 w 258"/>
                <a:gd name="T35" fmla="*/ 94 h 236"/>
                <a:gd name="T36" fmla="*/ 76 w 258"/>
                <a:gd name="T37" fmla="*/ 108 h 236"/>
                <a:gd name="T38" fmla="*/ 82 w 258"/>
                <a:gd name="T39" fmla="*/ 120 h 236"/>
                <a:gd name="T40" fmla="*/ 82 w 258"/>
                <a:gd name="T41" fmla="*/ 120 h 236"/>
                <a:gd name="T42" fmla="*/ 90 w 258"/>
                <a:gd name="T43" fmla="*/ 132 h 236"/>
                <a:gd name="T44" fmla="*/ 102 w 258"/>
                <a:gd name="T45" fmla="*/ 144 h 236"/>
                <a:gd name="T46" fmla="*/ 172 w 258"/>
                <a:gd name="T47" fmla="*/ 210 h 236"/>
                <a:gd name="T48" fmla="*/ 146 w 258"/>
                <a:gd name="T49" fmla="*/ 236 h 236"/>
                <a:gd name="T50" fmla="*/ 0 w 258"/>
                <a:gd name="T51" fmla="*/ 98 h 236"/>
                <a:gd name="T52" fmla="*/ 24 w 258"/>
                <a:gd name="T53" fmla="*/ 74 h 236"/>
                <a:gd name="T54" fmla="*/ 24 w 258"/>
                <a:gd name="T55" fmla="*/ 74 h 236"/>
                <a:gd name="T56" fmla="*/ 40 w 258"/>
                <a:gd name="T57" fmla="*/ 88 h 236"/>
                <a:gd name="T58" fmla="*/ 40 w 258"/>
                <a:gd name="T59" fmla="*/ 88 h 236"/>
                <a:gd name="T60" fmla="*/ 54 w 258"/>
                <a:gd name="T61" fmla="*/ 104 h 236"/>
                <a:gd name="T62" fmla="*/ 54 w 258"/>
                <a:gd name="T63" fmla="*/ 104 h 236"/>
                <a:gd name="T64" fmla="*/ 54 w 258"/>
                <a:gd name="T65" fmla="*/ 104 h 236"/>
                <a:gd name="T66" fmla="*/ 50 w 258"/>
                <a:gd name="T67" fmla="*/ 94 h 236"/>
                <a:gd name="T68" fmla="*/ 48 w 258"/>
                <a:gd name="T69" fmla="*/ 84 h 236"/>
                <a:gd name="T70" fmla="*/ 48 w 258"/>
                <a:gd name="T71" fmla="*/ 72 h 236"/>
                <a:gd name="T72" fmla="*/ 48 w 258"/>
                <a:gd name="T73" fmla="*/ 62 h 236"/>
                <a:gd name="T74" fmla="*/ 48 w 258"/>
                <a:gd name="T75" fmla="*/ 62 h 236"/>
                <a:gd name="T76" fmla="*/ 50 w 258"/>
                <a:gd name="T77" fmla="*/ 52 h 236"/>
                <a:gd name="T78" fmla="*/ 54 w 258"/>
                <a:gd name="T79" fmla="*/ 40 h 236"/>
                <a:gd name="T80" fmla="*/ 62 w 258"/>
                <a:gd name="T81" fmla="*/ 30 h 236"/>
                <a:gd name="T82" fmla="*/ 68 w 258"/>
                <a:gd name="T83" fmla="*/ 22 h 236"/>
                <a:gd name="T84" fmla="*/ 68 w 258"/>
                <a:gd name="T85" fmla="*/ 22 h 236"/>
                <a:gd name="T86" fmla="*/ 80 w 258"/>
                <a:gd name="T87" fmla="*/ 10 h 236"/>
                <a:gd name="T88" fmla="*/ 92 w 258"/>
                <a:gd name="T89" fmla="*/ 4 h 236"/>
                <a:gd name="T90" fmla="*/ 92 w 258"/>
                <a:gd name="T91" fmla="*/ 4 h 236"/>
                <a:gd name="T92" fmla="*/ 104 w 258"/>
                <a:gd name="T93" fmla="*/ 0 h 236"/>
                <a:gd name="T94" fmla="*/ 116 w 258"/>
                <a:gd name="T95" fmla="*/ 0 h 236"/>
                <a:gd name="T96" fmla="*/ 116 w 258"/>
                <a:gd name="T97" fmla="*/ 0 h 236"/>
                <a:gd name="T98" fmla="*/ 126 w 258"/>
                <a:gd name="T99" fmla="*/ 2 h 236"/>
                <a:gd name="T100" fmla="*/ 136 w 258"/>
                <a:gd name="T101" fmla="*/ 6 h 236"/>
                <a:gd name="T102" fmla="*/ 136 w 258"/>
                <a:gd name="T103" fmla="*/ 6 h 236"/>
                <a:gd name="T104" fmla="*/ 148 w 258"/>
                <a:gd name="T105" fmla="*/ 14 h 236"/>
                <a:gd name="T106" fmla="*/ 156 w 258"/>
                <a:gd name="T107" fmla="*/ 22 h 236"/>
                <a:gd name="T108" fmla="*/ 258 w 258"/>
                <a:gd name="T109" fmla="*/ 118 h 236"/>
                <a:gd name="T110" fmla="*/ 234 w 258"/>
                <a:gd name="T111" fmla="*/ 14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8" h="236">
                  <a:moveTo>
                    <a:pt x="234" y="144"/>
                  </a:moveTo>
                  <a:lnTo>
                    <a:pt x="140" y="56"/>
                  </a:lnTo>
                  <a:lnTo>
                    <a:pt x="140" y="56"/>
                  </a:lnTo>
                  <a:lnTo>
                    <a:pt x="126" y="44"/>
                  </a:lnTo>
                  <a:lnTo>
                    <a:pt x="118" y="40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04" y="38"/>
                  </a:lnTo>
                  <a:lnTo>
                    <a:pt x="98" y="40"/>
                  </a:lnTo>
                  <a:lnTo>
                    <a:pt x="90" y="44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76" y="6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82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6" y="108"/>
                  </a:lnTo>
                  <a:lnTo>
                    <a:pt x="82" y="120"/>
                  </a:lnTo>
                  <a:lnTo>
                    <a:pt x="82" y="120"/>
                  </a:lnTo>
                  <a:lnTo>
                    <a:pt x="90" y="132"/>
                  </a:lnTo>
                  <a:lnTo>
                    <a:pt x="102" y="144"/>
                  </a:lnTo>
                  <a:lnTo>
                    <a:pt x="172" y="210"/>
                  </a:lnTo>
                  <a:lnTo>
                    <a:pt x="146" y="236"/>
                  </a:lnTo>
                  <a:lnTo>
                    <a:pt x="0" y="98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0" y="94"/>
                  </a:lnTo>
                  <a:lnTo>
                    <a:pt x="48" y="84"/>
                  </a:lnTo>
                  <a:lnTo>
                    <a:pt x="48" y="72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50" y="52"/>
                  </a:lnTo>
                  <a:lnTo>
                    <a:pt x="54" y="40"/>
                  </a:lnTo>
                  <a:lnTo>
                    <a:pt x="62" y="30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80" y="10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104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26" y="2"/>
                  </a:lnTo>
                  <a:lnTo>
                    <a:pt x="136" y="6"/>
                  </a:lnTo>
                  <a:lnTo>
                    <a:pt x="136" y="6"/>
                  </a:lnTo>
                  <a:lnTo>
                    <a:pt x="148" y="14"/>
                  </a:lnTo>
                  <a:lnTo>
                    <a:pt x="156" y="22"/>
                  </a:lnTo>
                  <a:lnTo>
                    <a:pt x="258" y="118"/>
                  </a:lnTo>
                  <a:lnTo>
                    <a:pt x="234" y="144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2539" y="610"/>
              <a:ext cx="256" cy="200"/>
            </a:xfrm>
            <a:custGeom>
              <a:avLst/>
              <a:gdLst>
                <a:gd name="T0" fmla="*/ 244 w 256"/>
                <a:gd name="T1" fmla="*/ 162 h 200"/>
                <a:gd name="T2" fmla="*/ 244 w 256"/>
                <a:gd name="T3" fmla="*/ 162 h 200"/>
                <a:gd name="T4" fmla="*/ 232 w 256"/>
                <a:gd name="T5" fmla="*/ 178 h 200"/>
                <a:gd name="T6" fmla="*/ 232 w 256"/>
                <a:gd name="T7" fmla="*/ 178 h 200"/>
                <a:gd name="T8" fmla="*/ 222 w 256"/>
                <a:gd name="T9" fmla="*/ 188 h 200"/>
                <a:gd name="T10" fmla="*/ 212 w 256"/>
                <a:gd name="T11" fmla="*/ 194 h 200"/>
                <a:gd name="T12" fmla="*/ 212 w 256"/>
                <a:gd name="T13" fmla="*/ 194 h 200"/>
                <a:gd name="T14" fmla="*/ 202 w 256"/>
                <a:gd name="T15" fmla="*/ 198 h 200"/>
                <a:gd name="T16" fmla="*/ 192 w 256"/>
                <a:gd name="T17" fmla="*/ 200 h 200"/>
                <a:gd name="T18" fmla="*/ 192 w 256"/>
                <a:gd name="T19" fmla="*/ 200 h 200"/>
                <a:gd name="T20" fmla="*/ 182 w 256"/>
                <a:gd name="T21" fmla="*/ 198 h 200"/>
                <a:gd name="T22" fmla="*/ 172 w 256"/>
                <a:gd name="T23" fmla="*/ 192 h 200"/>
                <a:gd name="T24" fmla="*/ 172 w 256"/>
                <a:gd name="T25" fmla="*/ 192 h 200"/>
                <a:gd name="T26" fmla="*/ 162 w 256"/>
                <a:gd name="T27" fmla="*/ 186 h 200"/>
                <a:gd name="T28" fmla="*/ 150 w 256"/>
                <a:gd name="T29" fmla="*/ 176 h 200"/>
                <a:gd name="T30" fmla="*/ 68 w 256"/>
                <a:gd name="T31" fmla="*/ 96 h 200"/>
                <a:gd name="T32" fmla="*/ 40 w 256"/>
                <a:gd name="T33" fmla="*/ 126 h 200"/>
                <a:gd name="T34" fmla="*/ 18 w 256"/>
                <a:gd name="T35" fmla="*/ 108 h 200"/>
                <a:gd name="T36" fmla="*/ 46 w 256"/>
                <a:gd name="T37" fmla="*/ 78 h 200"/>
                <a:gd name="T38" fmla="*/ 0 w 256"/>
                <a:gd name="T39" fmla="*/ 32 h 200"/>
                <a:gd name="T40" fmla="*/ 18 w 256"/>
                <a:gd name="T41" fmla="*/ 0 h 200"/>
                <a:gd name="T42" fmla="*/ 72 w 256"/>
                <a:gd name="T43" fmla="*/ 52 h 200"/>
                <a:gd name="T44" fmla="*/ 110 w 256"/>
                <a:gd name="T45" fmla="*/ 10 h 200"/>
                <a:gd name="T46" fmla="*/ 130 w 256"/>
                <a:gd name="T47" fmla="*/ 30 h 200"/>
                <a:gd name="T48" fmla="*/ 92 w 256"/>
                <a:gd name="T49" fmla="*/ 70 h 200"/>
                <a:gd name="T50" fmla="*/ 166 w 256"/>
                <a:gd name="T51" fmla="*/ 140 h 200"/>
                <a:gd name="T52" fmla="*/ 166 w 256"/>
                <a:gd name="T53" fmla="*/ 140 h 200"/>
                <a:gd name="T54" fmla="*/ 182 w 256"/>
                <a:gd name="T55" fmla="*/ 154 h 200"/>
                <a:gd name="T56" fmla="*/ 182 w 256"/>
                <a:gd name="T57" fmla="*/ 154 h 200"/>
                <a:gd name="T58" fmla="*/ 188 w 256"/>
                <a:gd name="T59" fmla="*/ 158 h 200"/>
                <a:gd name="T60" fmla="*/ 194 w 256"/>
                <a:gd name="T61" fmla="*/ 160 h 200"/>
                <a:gd name="T62" fmla="*/ 194 w 256"/>
                <a:gd name="T63" fmla="*/ 160 h 200"/>
                <a:gd name="T64" fmla="*/ 200 w 256"/>
                <a:gd name="T65" fmla="*/ 160 h 200"/>
                <a:gd name="T66" fmla="*/ 206 w 256"/>
                <a:gd name="T67" fmla="*/ 158 h 200"/>
                <a:gd name="T68" fmla="*/ 206 w 256"/>
                <a:gd name="T69" fmla="*/ 158 h 200"/>
                <a:gd name="T70" fmla="*/ 216 w 256"/>
                <a:gd name="T71" fmla="*/ 148 h 200"/>
                <a:gd name="T72" fmla="*/ 216 w 256"/>
                <a:gd name="T73" fmla="*/ 148 h 200"/>
                <a:gd name="T74" fmla="*/ 226 w 256"/>
                <a:gd name="T75" fmla="*/ 138 h 200"/>
                <a:gd name="T76" fmla="*/ 232 w 256"/>
                <a:gd name="T77" fmla="*/ 128 h 200"/>
                <a:gd name="T78" fmla="*/ 256 w 256"/>
                <a:gd name="T79" fmla="*/ 146 h 200"/>
                <a:gd name="T80" fmla="*/ 256 w 256"/>
                <a:gd name="T81" fmla="*/ 146 h 200"/>
                <a:gd name="T82" fmla="*/ 244 w 256"/>
                <a:gd name="T83" fmla="*/ 162 h 200"/>
                <a:gd name="T84" fmla="*/ 244 w 256"/>
                <a:gd name="T85" fmla="*/ 16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6" h="200">
                  <a:moveTo>
                    <a:pt x="244" y="162"/>
                  </a:moveTo>
                  <a:lnTo>
                    <a:pt x="244" y="162"/>
                  </a:lnTo>
                  <a:lnTo>
                    <a:pt x="232" y="178"/>
                  </a:lnTo>
                  <a:lnTo>
                    <a:pt x="232" y="178"/>
                  </a:lnTo>
                  <a:lnTo>
                    <a:pt x="222" y="188"/>
                  </a:lnTo>
                  <a:lnTo>
                    <a:pt x="212" y="194"/>
                  </a:lnTo>
                  <a:lnTo>
                    <a:pt x="212" y="194"/>
                  </a:lnTo>
                  <a:lnTo>
                    <a:pt x="202" y="198"/>
                  </a:lnTo>
                  <a:lnTo>
                    <a:pt x="192" y="200"/>
                  </a:lnTo>
                  <a:lnTo>
                    <a:pt x="192" y="200"/>
                  </a:lnTo>
                  <a:lnTo>
                    <a:pt x="182" y="198"/>
                  </a:lnTo>
                  <a:lnTo>
                    <a:pt x="172" y="192"/>
                  </a:lnTo>
                  <a:lnTo>
                    <a:pt x="172" y="192"/>
                  </a:lnTo>
                  <a:lnTo>
                    <a:pt x="162" y="186"/>
                  </a:lnTo>
                  <a:lnTo>
                    <a:pt x="150" y="176"/>
                  </a:lnTo>
                  <a:lnTo>
                    <a:pt x="68" y="96"/>
                  </a:lnTo>
                  <a:lnTo>
                    <a:pt x="40" y="126"/>
                  </a:lnTo>
                  <a:lnTo>
                    <a:pt x="18" y="108"/>
                  </a:lnTo>
                  <a:lnTo>
                    <a:pt x="46" y="78"/>
                  </a:lnTo>
                  <a:lnTo>
                    <a:pt x="0" y="32"/>
                  </a:lnTo>
                  <a:lnTo>
                    <a:pt x="18" y="0"/>
                  </a:lnTo>
                  <a:lnTo>
                    <a:pt x="72" y="52"/>
                  </a:lnTo>
                  <a:lnTo>
                    <a:pt x="110" y="10"/>
                  </a:lnTo>
                  <a:lnTo>
                    <a:pt x="130" y="30"/>
                  </a:lnTo>
                  <a:lnTo>
                    <a:pt x="92" y="70"/>
                  </a:lnTo>
                  <a:lnTo>
                    <a:pt x="166" y="140"/>
                  </a:lnTo>
                  <a:lnTo>
                    <a:pt x="166" y="140"/>
                  </a:lnTo>
                  <a:lnTo>
                    <a:pt x="182" y="154"/>
                  </a:lnTo>
                  <a:lnTo>
                    <a:pt x="182" y="154"/>
                  </a:lnTo>
                  <a:lnTo>
                    <a:pt x="188" y="158"/>
                  </a:lnTo>
                  <a:lnTo>
                    <a:pt x="194" y="160"/>
                  </a:lnTo>
                  <a:lnTo>
                    <a:pt x="194" y="160"/>
                  </a:lnTo>
                  <a:lnTo>
                    <a:pt x="200" y="160"/>
                  </a:lnTo>
                  <a:lnTo>
                    <a:pt x="206" y="158"/>
                  </a:lnTo>
                  <a:lnTo>
                    <a:pt x="206" y="158"/>
                  </a:lnTo>
                  <a:lnTo>
                    <a:pt x="216" y="148"/>
                  </a:lnTo>
                  <a:lnTo>
                    <a:pt x="216" y="148"/>
                  </a:lnTo>
                  <a:lnTo>
                    <a:pt x="226" y="138"/>
                  </a:lnTo>
                  <a:lnTo>
                    <a:pt x="232" y="128"/>
                  </a:lnTo>
                  <a:lnTo>
                    <a:pt x="256" y="146"/>
                  </a:lnTo>
                  <a:lnTo>
                    <a:pt x="256" y="146"/>
                  </a:lnTo>
                  <a:lnTo>
                    <a:pt x="244" y="162"/>
                  </a:lnTo>
                  <a:lnTo>
                    <a:pt x="244" y="162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2625" y="504"/>
              <a:ext cx="228" cy="218"/>
            </a:xfrm>
            <a:custGeom>
              <a:avLst/>
              <a:gdLst>
                <a:gd name="T0" fmla="*/ 42 w 228"/>
                <a:gd name="T1" fmla="*/ 6 h 218"/>
                <a:gd name="T2" fmla="*/ 42 w 228"/>
                <a:gd name="T3" fmla="*/ 6 h 218"/>
                <a:gd name="T4" fmla="*/ 46 w 228"/>
                <a:gd name="T5" fmla="*/ 14 h 218"/>
                <a:gd name="T6" fmla="*/ 48 w 228"/>
                <a:gd name="T7" fmla="*/ 22 h 218"/>
                <a:gd name="T8" fmla="*/ 48 w 228"/>
                <a:gd name="T9" fmla="*/ 22 h 218"/>
                <a:gd name="T10" fmla="*/ 46 w 228"/>
                <a:gd name="T11" fmla="*/ 32 h 218"/>
                <a:gd name="T12" fmla="*/ 42 w 228"/>
                <a:gd name="T13" fmla="*/ 40 h 218"/>
                <a:gd name="T14" fmla="*/ 42 w 228"/>
                <a:gd name="T15" fmla="*/ 40 h 218"/>
                <a:gd name="T16" fmla="*/ 34 w 228"/>
                <a:gd name="T17" fmla="*/ 46 h 218"/>
                <a:gd name="T18" fmla="*/ 24 w 228"/>
                <a:gd name="T19" fmla="*/ 48 h 218"/>
                <a:gd name="T20" fmla="*/ 24 w 228"/>
                <a:gd name="T21" fmla="*/ 48 h 218"/>
                <a:gd name="T22" fmla="*/ 16 w 228"/>
                <a:gd name="T23" fmla="*/ 46 h 218"/>
                <a:gd name="T24" fmla="*/ 8 w 228"/>
                <a:gd name="T25" fmla="*/ 42 h 218"/>
                <a:gd name="T26" fmla="*/ 8 w 228"/>
                <a:gd name="T27" fmla="*/ 42 h 218"/>
                <a:gd name="T28" fmla="*/ 2 w 228"/>
                <a:gd name="T29" fmla="*/ 34 h 218"/>
                <a:gd name="T30" fmla="*/ 0 w 228"/>
                <a:gd name="T31" fmla="*/ 24 h 218"/>
                <a:gd name="T32" fmla="*/ 0 w 228"/>
                <a:gd name="T33" fmla="*/ 24 h 218"/>
                <a:gd name="T34" fmla="*/ 2 w 228"/>
                <a:gd name="T35" fmla="*/ 16 h 218"/>
                <a:gd name="T36" fmla="*/ 8 w 228"/>
                <a:gd name="T37" fmla="*/ 8 h 218"/>
                <a:gd name="T38" fmla="*/ 8 w 228"/>
                <a:gd name="T39" fmla="*/ 8 h 218"/>
                <a:gd name="T40" fmla="*/ 14 w 228"/>
                <a:gd name="T41" fmla="*/ 2 h 218"/>
                <a:gd name="T42" fmla="*/ 24 w 228"/>
                <a:gd name="T43" fmla="*/ 0 h 218"/>
                <a:gd name="T44" fmla="*/ 24 w 228"/>
                <a:gd name="T45" fmla="*/ 0 h 218"/>
                <a:gd name="T46" fmla="*/ 34 w 228"/>
                <a:gd name="T47" fmla="*/ 2 h 218"/>
                <a:gd name="T48" fmla="*/ 42 w 228"/>
                <a:gd name="T49" fmla="*/ 6 h 218"/>
                <a:gd name="T50" fmla="*/ 42 w 228"/>
                <a:gd name="T51" fmla="*/ 6 h 218"/>
                <a:gd name="T52" fmla="*/ 204 w 228"/>
                <a:gd name="T53" fmla="*/ 218 h 218"/>
                <a:gd name="T54" fmla="*/ 58 w 228"/>
                <a:gd name="T55" fmla="*/ 80 h 218"/>
                <a:gd name="T56" fmla="*/ 82 w 228"/>
                <a:gd name="T57" fmla="*/ 54 h 218"/>
                <a:gd name="T58" fmla="*/ 228 w 228"/>
                <a:gd name="T59" fmla="*/ 192 h 218"/>
                <a:gd name="T60" fmla="*/ 204 w 228"/>
                <a:gd name="T61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8" h="218">
                  <a:moveTo>
                    <a:pt x="42" y="6"/>
                  </a:moveTo>
                  <a:lnTo>
                    <a:pt x="42" y="6"/>
                  </a:lnTo>
                  <a:lnTo>
                    <a:pt x="46" y="14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6" y="32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34" y="46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16" y="46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2" y="3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16"/>
                  </a:lnTo>
                  <a:lnTo>
                    <a:pt x="8" y="8"/>
                  </a:lnTo>
                  <a:lnTo>
                    <a:pt x="8" y="8"/>
                  </a:lnTo>
                  <a:lnTo>
                    <a:pt x="14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4" y="2"/>
                  </a:lnTo>
                  <a:lnTo>
                    <a:pt x="42" y="6"/>
                  </a:lnTo>
                  <a:lnTo>
                    <a:pt x="42" y="6"/>
                  </a:lnTo>
                  <a:close/>
                  <a:moveTo>
                    <a:pt x="204" y="218"/>
                  </a:moveTo>
                  <a:lnTo>
                    <a:pt x="58" y="80"/>
                  </a:lnTo>
                  <a:lnTo>
                    <a:pt x="82" y="54"/>
                  </a:lnTo>
                  <a:lnTo>
                    <a:pt x="228" y="192"/>
                  </a:lnTo>
                  <a:lnTo>
                    <a:pt x="204" y="218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" name="Freeform 31"/>
            <p:cNvSpPr>
              <a:spLocks noEditPoints="1"/>
            </p:cNvSpPr>
            <p:nvPr userDrawn="1"/>
          </p:nvSpPr>
          <p:spPr bwMode="auto">
            <a:xfrm>
              <a:off x="2759" y="428"/>
              <a:ext cx="238" cy="212"/>
            </a:xfrm>
            <a:custGeom>
              <a:avLst/>
              <a:gdLst>
                <a:gd name="T0" fmla="*/ 214 w 238"/>
                <a:gd name="T1" fmla="*/ 140 h 212"/>
                <a:gd name="T2" fmla="*/ 200 w 238"/>
                <a:gd name="T3" fmla="*/ 126 h 212"/>
                <a:gd name="T4" fmla="*/ 186 w 238"/>
                <a:gd name="T5" fmla="*/ 112 h 212"/>
                <a:gd name="T6" fmla="*/ 190 w 238"/>
                <a:gd name="T7" fmla="*/ 122 h 212"/>
                <a:gd name="T8" fmla="*/ 192 w 238"/>
                <a:gd name="T9" fmla="*/ 142 h 212"/>
                <a:gd name="T10" fmla="*/ 192 w 238"/>
                <a:gd name="T11" fmla="*/ 152 h 212"/>
                <a:gd name="T12" fmla="*/ 184 w 238"/>
                <a:gd name="T13" fmla="*/ 174 h 212"/>
                <a:gd name="T14" fmla="*/ 172 w 238"/>
                <a:gd name="T15" fmla="*/ 192 h 212"/>
                <a:gd name="T16" fmla="*/ 162 w 238"/>
                <a:gd name="T17" fmla="*/ 200 h 212"/>
                <a:gd name="T18" fmla="*/ 142 w 238"/>
                <a:gd name="T19" fmla="*/ 210 h 212"/>
                <a:gd name="T20" fmla="*/ 132 w 238"/>
                <a:gd name="T21" fmla="*/ 212 h 212"/>
                <a:gd name="T22" fmla="*/ 112 w 238"/>
                <a:gd name="T23" fmla="*/ 208 h 212"/>
                <a:gd name="T24" fmla="*/ 94 w 238"/>
                <a:gd name="T25" fmla="*/ 196 h 212"/>
                <a:gd name="T26" fmla="*/ 84 w 238"/>
                <a:gd name="T27" fmla="*/ 184 h 212"/>
                <a:gd name="T28" fmla="*/ 76 w 238"/>
                <a:gd name="T29" fmla="*/ 154 h 212"/>
                <a:gd name="T30" fmla="*/ 78 w 238"/>
                <a:gd name="T31" fmla="*/ 138 h 212"/>
                <a:gd name="T32" fmla="*/ 94 w 238"/>
                <a:gd name="T33" fmla="*/ 100 h 212"/>
                <a:gd name="T34" fmla="*/ 126 w 238"/>
                <a:gd name="T35" fmla="*/ 60 h 212"/>
                <a:gd name="T36" fmla="*/ 116 w 238"/>
                <a:gd name="T37" fmla="*/ 52 h 212"/>
                <a:gd name="T38" fmla="*/ 102 w 238"/>
                <a:gd name="T39" fmla="*/ 40 h 212"/>
                <a:gd name="T40" fmla="*/ 86 w 238"/>
                <a:gd name="T41" fmla="*/ 36 h 212"/>
                <a:gd name="T42" fmla="*/ 80 w 238"/>
                <a:gd name="T43" fmla="*/ 36 h 212"/>
                <a:gd name="T44" fmla="*/ 64 w 238"/>
                <a:gd name="T45" fmla="*/ 46 h 212"/>
                <a:gd name="T46" fmla="*/ 54 w 238"/>
                <a:gd name="T47" fmla="*/ 54 h 212"/>
                <a:gd name="T48" fmla="*/ 38 w 238"/>
                <a:gd name="T49" fmla="*/ 78 h 212"/>
                <a:gd name="T50" fmla="*/ 30 w 238"/>
                <a:gd name="T51" fmla="*/ 92 h 212"/>
                <a:gd name="T52" fmla="*/ 0 w 238"/>
                <a:gd name="T53" fmla="*/ 92 h 212"/>
                <a:gd name="T54" fmla="*/ 6 w 238"/>
                <a:gd name="T55" fmla="*/ 76 h 212"/>
                <a:gd name="T56" fmla="*/ 16 w 238"/>
                <a:gd name="T57" fmla="*/ 60 h 212"/>
                <a:gd name="T58" fmla="*/ 38 w 238"/>
                <a:gd name="T59" fmla="*/ 30 h 212"/>
                <a:gd name="T60" fmla="*/ 52 w 238"/>
                <a:gd name="T61" fmla="*/ 16 h 212"/>
                <a:gd name="T62" fmla="*/ 66 w 238"/>
                <a:gd name="T63" fmla="*/ 8 h 212"/>
                <a:gd name="T64" fmla="*/ 92 w 238"/>
                <a:gd name="T65" fmla="*/ 0 h 212"/>
                <a:gd name="T66" fmla="*/ 104 w 238"/>
                <a:gd name="T67" fmla="*/ 0 h 212"/>
                <a:gd name="T68" fmla="*/ 116 w 238"/>
                <a:gd name="T69" fmla="*/ 6 h 212"/>
                <a:gd name="T70" fmla="*/ 138 w 238"/>
                <a:gd name="T71" fmla="*/ 22 h 212"/>
                <a:gd name="T72" fmla="*/ 196 w 238"/>
                <a:gd name="T73" fmla="*/ 76 h 212"/>
                <a:gd name="T74" fmla="*/ 218 w 238"/>
                <a:gd name="T75" fmla="*/ 96 h 212"/>
                <a:gd name="T76" fmla="*/ 214 w 238"/>
                <a:gd name="T77" fmla="*/ 140 h 212"/>
                <a:gd name="T78" fmla="*/ 144 w 238"/>
                <a:gd name="T79" fmla="*/ 78 h 212"/>
                <a:gd name="T80" fmla="*/ 118 w 238"/>
                <a:gd name="T81" fmla="*/ 110 h 212"/>
                <a:gd name="T82" fmla="*/ 112 w 238"/>
                <a:gd name="T83" fmla="*/ 124 h 212"/>
                <a:gd name="T84" fmla="*/ 108 w 238"/>
                <a:gd name="T85" fmla="*/ 134 h 212"/>
                <a:gd name="T86" fmla="*/ 106 w 238"/>
                <a:gd name="T87" fmla="*/ 154 h 212"/>
                <a:gd name="T88" fmla="*/ 110 w 238"/>
                <a:gd name="T89" fmla="*/ 160 h 212"/>
                <a:gd name="T90" fmla="*/ 114 w 238"/>
                <a:gd name="T91" fmla="*/ 166 h 212"/>
                <a:gd name="T92" fmla="*/ 136 w 238"/>
                <a:gd name="T93" fmla="*/ 176 h 212"/>
                <a:gd name="T94" fmla="*/ 142 w 238"/>
                <a:gd name="T95" fmla="*/ 174 h 212"/>
                <a:gd name="T96" fmla="*/ 158 w 238"/>
                <a:gd name="T97" fmla="*/ 166 h 212"/>
                <a:gd name="T98" fmla="*/ 164 w 238"/>
                <a:gd name="T99" fmla="*/ 156 h 212"/>
                <a:gd name="T100" fmla="*/ 170 w 238"/>
                <a:gd name="T101" fmla="*/ 146 h 212"/>
                <a:gd name="T102" fmla="*/ 170 w 238"/>
                <a:gd name="T103" fmla="*/ 122 h 212"/>
                <a:gd name="T104" fmla="*/ 168 w 238"/>
                <a:gd name="T105" fmla="*/ 112 h 212"/>
                <a:gd name="T106" fmla="*/ 162 w 238"/>
                <a:gd name="T107" fmla="*/ 100 h 212"/>
                <a:gd name="T108" fmla="*/ 148 w 238"/>
                <a:gd name="T109" fmla="*/ 8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8" h="212">
                  <a:moveTo>
                    <a:pt x="214" y="140"/>
                  </a:moveTo>
                  <a:lnTo>
                    <a:pt x="214" y="140"/>
                  </a:lnTo>
                  <a:lnTo>
                    <a:pt x="200" y="126"/>
                  </a:lnTo>
                  <a:lnTo>
                    <a:pt x="200" y="126"/>
                  </a:lnTo>
                  <a:lnTo>
                    <a:pt x="186" y="112"/>
                  </a:lnTo>
                  <a:lnTo>
                    <a:pt x="186" y="112"/>
                  </a:lnTo>
                  <a:lnTo>
                    <a:pt x="186" y="112"/>
                  </a:lnTo>
                  <a:lnTo>
                    <a:pt x="190" y="122"/>
                  </a:lnTo>
                  <a:lnTo>
                    <a:pt x="192" y="132"/>
                  </a:lnTo>
                  <a:lnTo>
                    <a:pt x="192" y="142"/>
                  </a:lnTo>
                  <a:lnTo>
                    <a:pt x="192" y="152"/>
                  </a:lnTo>
                  <a:lnTo>
                    <a:pt x="192" y="152"/>
                  </a:lnTo>
                  <a:lnTo>
                    <a:pt x="188" y="162"/>
                  </a:lnTo>
                  <a:lnTo>
                    <a:pt x="184" y="174"/>
                  </a:lnTo>
                  <a:lnTo>
                    <a:pt x="178" y="182"/>
                  </a:lnTo>
                  <a:lnTo>
                    <a:pt x="172" y="192"/>
                  </a:lnTo>
                  <a:lnTo>
                    <a:pt x="172" y="192"/>
                  </a:lnTo>
                  <a:lnTo>
                    <a:pt x="162" y="200"/>
                  </a:lnTo>
                  <a:lnTo>
                    <a:pt x="152" y="206"/>
                  </a:lnTo>
                  <a:lnTo>
                    <a:pt x="142" y="210"/>
                  </a:lnTo>
                  <a:lnTo>
                    <a:pt x="132" y="212"/>
                  </a:lnTo>
                  <a:lnTo>
                    <a:pt x="132" y="212"/>
                  </a:lnTo>
                  <a:lnTo>
                    <a:pt x="122" y="210"/>
                  </a:lnTo>
                  <a:lnTo>
                    <a:pt x="112" y="208"/>
                  </a:lnTo>
                  <a:lnTo>
                    <a:pt x="102" y="202"/>
                  </a:lnTo>
                  <a:lnTo>
                    <a:pt x="94" y="196"/>
                  </a:lnTo>
                  <a:lnTo>
                    <a:pt x="94" y="196"/>
                  </a:lnTo>
                  <a:lnTo>
                    <a:pt x="84" y="184"/>
                  </a:lnTo>
                  <a:lnTo>
                    <a:pt x="78" y="170"/>
                  </a:lnTo>
                  <a:lnTo>
                    <a:pt x="76" y="154"/>
                  </a:lnTo>
                  <a:lnTo>
                    <a:pt x="78" y="138"/>
                  </a:lnTo>
                  <a:lnTo>
                    <a:pt x="78" y="138"/>
                  </a:lnTo>
                  <a:lnTo>
                    <a:pt x="84" y="120"/>
                  </a:lnTo>
                  <a:lnTo>
                    <a:pt x="94" y="100"/>
                  </a:lnTo>
                  <a:lnTo>
                    <a:pt x="108" y="82"/>
                  </a:lnTo>
                  <a:lnTo>
                    <a:pt x="126" y="60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0" y="44"/>
                  </a:lnTo>
                  <a:lnTo>
                    <a:pt x="102" y="40"/>
                  </a:lnTo>
                  <a:lnTo>
                    <a:pt x="94" y="38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0" y="36"/>
                  </a:lnTo>
                  <a:lnTo>
                    <a:pt x="72" y="40"/>
                  </a:lnTo>
                  <a:lnTo>
                    <a:pt x="64" y="46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46" y="64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0" y="92"/>
                  </a:lnTo>
                  <a:lnTo>
                    <a:pt x="26" y="10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6" y="76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26" y="44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52" y="16"/>
                  </a:lnTo>
                  <a:lnTo>
                    <a:pt x="66" y="8"/>
                  </a:lnTo>
                  <a:lnTo>
                    <a:pt x="66" y="8"/>
                  </a:lnTo>
                  <a:lnTo>
                    <a:pt x="80" y="2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104" y="0"/>
                  </a:lnTo>
                  <a:lnTo>
                    <a:pt x="116" y="6"/>
                  </a:lnTo>
                  <a:lnTo>
                    <a:pt x="116" y="6"/>
                  </a:lnTo>
                  <a:lnTo>
                    <a:pt x="126" y="12"/>
                  </a:lnTo>
                  <a:lnTo>
                    <a:pt x="138" y="22"/>
                  </a:lnTo>
                  <a:lnTo>
                    <a:pt x="196" y="76"/>
                  </a:lnTo>
                  <a:lnTo>
                    <a:pt x="196" y="76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38" y="116"/>
                  </a:lnTo>
                  <a:lnTo>
                    <a:pt x="214" y="140"/>
                  </a:lnTo>
                  <a:close/>
                  <a:moveTo>
                    <a:pt x="144" y="78"/>
                  </a:moveTo>
                  <a:lnTo>
                    <a:pt x="144" y="78"/>
                  </a:lnTo>
                  <a:lnTo>
                    <a:pt x="130" y="96"/>
                  </a:lnTo>
                  <a:lnTo>
                    <a:pt x="118" y="110"/>
                  </a:lnTo>
                  <a:lnTo>
                    <a:pt x="118" y="110"/>
                  </a:lnTo>
                  <a:lnTo>
                    <a:pt x="112" y="124"/>
                  </a:lnTo>
                  <a:lnTo>
                    <a:pt x="108" y="134"/>
                  </a:lnTo>
                  <a:lnTo>
                    <a:pt x="108" y="134"/>
                  </a:lnTo>
                  <a:lnTo>
                    <a:pt x="106" y="144"/>
                  </a:lnTo>
                  <a:lnTo>
                    <a:pt x="106" y="154"/>
                  </a:lnTo>
                  <a:lnTo>
                    <a:pt x="106" y="154"/>
                  </a:lnTo>
                  <a:lnTo>
                    <a:pt x="110" y="160"/>
                  </a:lnTo>
                  <a:lnTo>
                    <a:pt x="114" y="166"/>
                  </a:lnTo>
                  <a:lnTo>
                    <a:pt x="114" y="166"/>
                  </a:lnTo>
                  <a:lnTo>
                    <a:pt x="124" y="172"/>
                  </a:lnTo>
                  <a:lnTo>
                    <a:pt x="136" y="176"/>
                  </a:lnTo>
                  <a:lnTo>
                    <a:pt x="136" y="176"/>
                  </a:lnTo>
                  <a:lnTo>
                    <a:pt x="142" y="174"/>
                  </a:lnTo>
                  <a:lnTo>
                    <a:pt x="148" y="172"/>
                  </a:lnTo>
                  <a:lnTo>
                    <a:pt x="158" y="166"/>
                  </a:lnTo>
                  <a:lnTo>
                    <a:pt x="158" y="166"/>
                  </a:lnTo>
                  <a:lnTo>
                    <a:pt x="164" y="156"/>
                  </a:lnTo>
                  <a:lnTo>
                    <a:pt x="170" y="146"/>
                  </a:lnTo>
                  <a:lnTo>
                    <a:pt x="170" y="146"/>
                  </a:lnTo>
                  <a:lnTo>
                    <a:pt x="170" y="134"/>
                  </a:lnTo>
                  <a:lnTo>
                    <a:pt x="170" y="122"/>
                  </a:lnTo>
                  <a:lnTo>
                    <a:pt x="170" y="122"/>
                  </a:lnTo>
                  <a:lnTo>
                    <a:pt x="168" y="112"/>
                  </a:lnTo>
                  <a:lnTo>
                    <a:pt x="162" y="100"/>
                  </a:lnTo>
                  <a:lnTo>
                    <a:pt x="162" y="100"/>
                  </a:lnTo>
                  <a:lnTo>
                    <a:pt x="156" y="90"/>
                  </a:lnTo>
                  <a:lnTo>
                    <a:pt x="148" y="82"/>
                  </a:lnTo>
                  <a:lnTo>
                    <a:pt x="144" y="78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8" name="Freeform 32"/>
            <p:cNvSpPr>
              <a:spLocks/>
            </p:cNvSpPr>
            <p:nvPr userDrawn="1"/>
          </p:nvSpPr>
          <p:spPr bwMode="auto">
            <a:xfrm>
              <a:off x="2851" y="250"/>
              <a:ext cx="214" cy="248"/>
            </a:xfrm>
            <a:custGeom>
              <a:avLst/>
              <a:gdLst>
                <a:gd name="T0" fmla="*/ 186 w 214"/>
                <a:gd name="T1" fmla="*/ 248 h 248"/>
                <a:gd name="T2" fmla="*/ 0 w 214"/>
                <a:gd name="T3" fmla="*/ 22 h 248"/>
                <a:gd name="T4" fmla="*/ 28 w 214"/>
                <a:gd name="T5" fmla="*/ 0 h 248"/>
                <a:gd name="T6" fmla="*/ 214 w 214"/>
                <a:gd name="T7" fmla="*/ 226 h 248"/>
                <a:gd name="T8" fmla="*/ 186 w 214"/>
                <a:gd name="T9" fmla="*/ 24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248">
                  <a:moveTo>
                    <a:pt x="186" y="248"/>
                  </a:moveTo>
                  <a:lnTo>
                    <a:pt x="0" y="22"/>
                  </a:lnTo>
                  <a:lnTo>
                    <a:pt x="28" y="0"/>
                  </a:lnTo>
                  <a:lnTo>
                    <a:pt x="214" y="226"/>
                  </a:lnTo>
                  <a:lnTo>
                    <a:pt x="186" y="248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5484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ST -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n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5621" y="2395098"/>
            <a:ext cx="6718887" cy="4479258"/>
          </a:xfrm>
          <a:prstGeom prst="rect">
            <a:avLst/>
          </a:prstGeom>
        </p:spPr>
      </p:pic>
      <p:pic>
        <p:nvPicPr>
          <p:cNvPr id="3" name="Imagen 14" descr="mascara 2.w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5621" y="-54496"/>
            <a:ext cx="9252519" cy="693939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itle 6"/>
          <p:cNvSpPr>
            <a:spLocks noGrp="1"/>
          </p:cNvSpPr>
          <p:nvPr>
            <p:ph type="title" hasCustomPrompt="1"/>
          </p:nvPr>
        </p:nvSpPr>
        <p:spPr>
          <a:xfrm>
            <a:off x="424309" y="1052736"/>
            <a:ext cx="5947891" cy="1908118"/>
          </a:xfrm>
          <a:prstGeom prst="rect">
            <a:avLst/>
          </a:prstGeom>
          <a:ln>
            <a:noFill/>
          </a:ln>
        </p:spPr>
        <p:txBody>
          <a:bodyPr anchor="b">
            <a:normAutofit/>
          </a:bodyPr>
          <a:lstStyle>
            <a:lvl1pPr algn="r">
              <a:defRPr kumimoji="0" lang="en-US" sz="2600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</a:defRPr>
            </a:lvl1pPr>
          </a:lstStyle>
          <a:p>
            <a:pPr marL="0" marR="0" lvl="0" indent="0" algn="r" defTabSz="914400" fontAlgn="auto" latinLnBrk="0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&lt;Name of the project&gt;</a:t>
            </a:r>
            <a:endParaRPr lang="en-US" dirty="0"/>
          </a:p>
        </p:txBody>
      </p:sp>
      <p:cxnSp>
        <p:nvCxnSpPr>
          <p:cNvPr id="5" name="Conector recto 12"/>
          <p:cNvCxnSpPr/>
          <p:nvPr userDrawn="1"/>
        </p:nvCxnSpPr>
        <p:spPr>
          <a:xfrm flipH="1">
            <a:off x="6419269" y="2836310"/>
            <a:ext cx="2166838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6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419269" y="2924944"/>
            <a:ext cx="2166838" cy="566309"/>
          </a:xfrm>
          <a:prstGeom prst="rect">
            <a:avLst/>
          </a:prstGeom>
          <a:ln>
            <a:noFill/>
          </a:ln>
        </p:spPr>
        <p:txBody>
          <a:bodyPr lIns="0" rIns="0">
            <a:spAutoFit/>
          </a:bodyPr>
          <a:lstStyle>
            <a:lvl1pPr marL="342900" indent="-342900">
              <a:buNone/>
              <a:defRPr lang="en-US" sz="1400" kern="1200" baseline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2400" kern="1200" smtClean="0">
                <a:solidFill>
                  <a:schemeClr val="tx1">
                    <a:tint val="75000"/>
                  </a:schemeClr>
                </a:solidFill>
                <a:ea typeface="+mn-ea"/>
                <a:cs typeface="+mn-cs"/>
              </a:defRPr>
            </a:lvl2pPr>
            <a:lvl3pPr>
              <a:defRPr lang="en-US" sz="2000" kern="1200" smtClean="0">
                <a:solidFill>
                  <a:schemeClr val="tx1">
                    <a:tint val="75000"/>
                  </a:schemeClr>
                </a:solidFill>
                <a:ea typeface="+mn-ea"/>
                <a:cs typeface="+mn-cs"/>
              </a:defRPr>
            </a:lvl3pPr>
            <a:lvl4pPr>
              <a:defRPr lang="en-US" sz="1800" kern="1200" smtClean="0">
                <a:solidFill>
                  <a:schemeClr val="tx1">
                    <a:tint val="75000"/>
                  </a:schemeClr>
                </a:solidFill>
                <a:ea typeface="+mn-ea"/>
                <a:cs typeface="+mn-cs"/>
              </a:defRPr>
            </a:lvl4pPr>
            <a:lvl5pPr>
              <a:defRPr lang="en-US" sz="1800" kern="1200">
                <a:solidFill>
                  <a:schemeClr val="tx1">
                    <a:tint val="75000"/>
                  </a:schemeClr>
                </a:solidFill>
                <a:ea typeface="+mn-ea"/>
                <a:cs typeface="+mn-cs"/>
              </a:defRPr>
            </a:lvl5pPr>
          </a:lstStyle>
          <a:p>
            <a:pPr marL="0" lvl="0" indent="0" defTabSz="914400" latinLnBrk="0">
              <a:buSzPct val="25000"/>
            </a:pPr>
            <a:r>
              <a:rPr lang="en-US" dirty="0" smtClean="0"/>
              <a:t>&lt;Meeting description&gt;</a:t>
            </a:r>
          </a:p>
          <a:p>
            <a:pPr marL="0" lvl="0" indent="0" defTabSz="914400" latinLnBrk="0">
              <a:buSzPct val="25000"/>
            </a:pPr>
            <a:r>
              <a:rPr lang="en-US" dirty="0" smtClean="0"/>
              <a:t>&lt;Date&gt;</a:t>
            </a:r>
            <a:endParaRPr lang="en-US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22036" y="36245"/>
            <a:ext cx="874464" cy="651751"/>
            <a:chOff x="8388192" y="36245"/>
            <a:chExt cx="874464" cy="651751"/>
          </a:xfrm>
        </p:grpSpPr>
        <p:grpSp>
          <p:nvGrpSpPr>
            <p:cNvPr id="10" name="Group 9"/>
            <p:cNvGrpSpPr/>
            <p:nvPr userDrawn="1"/>
          </p:nvGrpSpPr>
          <p:grpSpPr>
            <a:xfrm>
              <a:off x="8545513" y="36245"/>
              <a:ext cx="489905" cy="495602"/>
              <a:chOff x="7818438" y="101600"/>
              <a:chExt cx="546100" cy="552450"/>
            </a:xfrm>
          </p:grpSpPr>
          <p:sp>
            <p:nvSpPr>
              <p:cNvPr id="13" name="Freeform 5"/>
              <p:cNvSpPr>
                <a:spLocks noEditPoints="1"/>
              </p:cNvSpPr>
              <p:nvPr userDrawn="1"/>
            </p:nvSpPr>
            <p:spPr bwMode="auto">
              <a:xfrm>
                <a:off x="7818438" y="200025"/>
                <a:ext cx="546100" cy="454025"/>
              </a:xfrm>
              <a:custGeom>
                <a:avLst/>
                <a:gdLst>
                  <a:gd name="T0" fmla="*/ 56 w 344"/>
                  <a:gd name="T1" fmla="*/ 0 h 286"/>
                  <a:gd name="T2" fmla="*/ 44 w 344"/>
                  <a:gd name="T3" fmla="*/ 2 h 286"/>
                  <a:gd name="T4" fmla="*/ 24 w 344"/>
                  <a:gd name="T5" fmla="*/ 10 h 286"/>
                  <a:gd name="T6" fmla="*/ 10 w 344"/>
                  <a:gd name="T7" fmla="*/ 26 h 286"/>
                  <a:gd name="T8" fmla="*/ 2 w 344"/>
                  <a:gd name="T9" fmla="*/ 46 h 286"/>
                  <a:gd name="T10" fmla="*/ 0 w 344"/>
                  <a:gd name="T11" fmla="*/ 230 h 286"/>
                  <a:gd name="T12" fmla="*/ 2 w 344"/>
                  <a:gd name="T13" fmla="*/ 242 h 286"/>
                  <a:gd name="T14" fmla="*/ 10 w 344"/>
                  <a:gd name="T15" fmla="*/ 262 h 286"/>
                  <a:gd name="T16" fmla="*/ 24 w 344"/>
                  <a:gd name="T17" fmla="*/ 278 h 286"/>
                  <a:gd name="T18" fmla="*/ 44 w 344"/>
                  <a:gd name="T19" fmla="*/ 286 h 286"/>
                  <a:gd name="T20" fmla="*/ 288 w 344"/>
                  <a:gd name="T21" fmla="*/ 286 h 286"/>
                  <a:gd name="T22" fmla="*/ 300 w 344"/>
                  <a:gd name="T23" fmla="*/ 286 h 286"/>
                  <a:gd name="T24" fmla="*/ 320 w 344"/>
                  <a:gd name="T25" fmla="*/ 278 h 286"/>
                  <a:gd name="T26" fmla="*/ 334 w 344"/>
                  <a:gd name="T27" fmla="*/ 262 h 286"/>
                  <a:gd name="T28" fmla="*/ 344 w 344"/>
                  <a:gd name="T29" fmla="*/ 242 h 286"/>
                  <a:gd name="T30" fmla="*/ 344 w 344"/>
                  <a:gd name="T31" fmla="*/ 58 h 286"/>
                  <a:gd name="T32" fmla="*/ 344 w 344"/>
                  <a:gd name="T33" fmla="*/ 46 h 286"/>
                  <a:gd name="T34" fmla="*/ 334 w 344"/>
                  <a:gd name="T35" fmla="*/ 26 h 286"/>
                  <a:gd name="T36" fmla="*/ 320 w 344"/>
                  <a:gd name="T37" fmla="*/ 10 h 286"/>
                  <a:gd name="T38" fmla="*/ 300 w 344"/>
                  <a:gd name="T39" fmla="*/ 2 h 286"/>
                  <a:gd name="T40" fmla="*/ 288 w 344"/>
                  <a:gd name="T41" fmla="*/ 0 h 286"/>
                  <a:gd name="T42" fmla="*/ 148 w 344"/>
                  <a:gd name="T43" fmla="*/ 142 h 286"/>
                  <a:gd name="T44" fmla="*/ 144 w 344"/>
                  <a:gd name="T45" fmla="*/ 136 h 286"/>
                  <a:gd name="T46" fmla="*/ 136 w 344"/>
                  <a:gd name="T47" fmla="*/ 122 h 286"/>
                  <a:gd name="T48" fmla="*/ 134 w 344"/>
                  <a:gd name="T49" fmla="*/ 112 h 286"/>
                  <a:gd name="T50" fmla="*/ 138 w 344"/>
                  <a:gd name="T51" fmla="*/ 98 h 286"/>
                  <a:gd name="T52" fmla="*/ 146 w 344"/>
                  <a:gd name="T53" fmla="*/ 88 h 286"/>
                  <a:gd name="T54" fmla="*/ 158 w 344"/>
                  <a:gd name="T55" fmla="*/ 80 h 286"/>
                  <a:gd name="T56" fmla="*/ 172 w 344"/>
                  <a:gd name="T57" fmla="*/ 76 h 286"/>
                  <a:gd name="T58" fmla="*/ 178 w 344"/>
                  <a:gd name="T59" fmla="*/ 78 h 286"/>
                  <a:gd name="T60" fmla="*/ 192 w 344"/>
                  <a:gd name="T61" fmla="*/ 82 h 286"/>
                  <a:gd name="T62" fmla="*/ 202 w 344"/>
                  <a:gd name="T63" fmla="*/ 92 h 286"/>
                  <a:gd name="T64" fmla="*/ 208 w 344"/>
                  <a:gd name="T65" fmla="*/ 106 h 286"/>
                  <a:gd name="T66" fmla="*/ 208 w 344"/>
                  <a:gd name="T67" fmla="*/ 112 h 286"/>
                  <a:gd name="T68" fmla="*/ 204 w 344"/>
                  <a:gd name="T69" fmla="*/ 128 h 286"/>
                  <a:gd name="T70" fmla="*/ 196 w 344"/>
                  <a:gd name="T71" fmla="*/ 140 h 286"/>
                  <a:gd name="T72" fmla="*/ 126 w 344"/>
                  <a:gd name="T73" fmla="*/ 228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44" h="286">
                    <a:moveTo>
                      <a:pt x="288" y="0"/>
                    </a:moveTo>
                    <a:lnTo>
                      <a:pt x="56" y="0"/>
                    </a:lnTo>
                    <a:lnTo>
                      <a:pt x="56" y="0"/>
                    </a:lnTo>
                    <a:lnTo>
                      <a:pt x="44" y="2"/>
                    </a:lnTo>
                    <a:lnTo>
                      <a:pt x="34" y="6"/>
                    </a:lnTo>
                    <a:lnTo>
                      <a:pt x="24" y="10"/>
                    </a:lnTo>
                    <a:lnTo>
                      <a:pt x="16" y="18"/>
                    </a:lnTo>
                    <a:lnTo>
                      <a:pt x="10" y="26"/>
                    </a:lnTo>
                    <a:lnTo>
                      <a:pt x="4" y="36"/>
                    </a:lnTo>
                    <a:lnTo>
                      <a:pt x="2" y="46"/>
                    </a:lnTo>
                    <a:lnTo>
                      <a:pt x="0" y="58"/>
                    </a:lnTo>
                    <a:lnTo>
                      <a:pt x="0" y="230"/>
                    </a:lnTo>
                    <a:lnTo>
                      <a:pt x="0" y="230"/>
                    </a:lnTo>
                    <a:lnTo>
                      <a:pt x="2" y="242"/>
                    </a:lnTo>
                    <a:lnTo>
                      <a:pt x="4" y="252"/>
                    </a:lnTo>
                    <a:lnTo>
                      <a:pt x="10" y="262"/>
                    </a:lnTo>
                    <a:lnTo>
                      <a:pt x="16" y="270"/>
                    </a:lnTo>
                    <a:lnTo>
                      <a:pt x="24" y="278"/>
                    </a:lnTo>
                    <a:lnTo>
                      <a:pt x="34" y="282"/>
                    </a:lnTo>
                    <a:lnTo>
                      <a:pt x="44" y="286"/>
                    </a:lnTo>
                    <a:lnTo>
                      <a:pt x="56" y="286"/>
                    </a:lnTo>
                    <a:lnTo>
                      <a:pt x="288" y="286"/>
                    </a:lnTo>
                    <a:lnTo>
                      <a:pt x="288" y="286"/>
                    </a:lnTo>
                    <a:lnTo>
                      <a:pt x="300" y="286"/>
                    </a:lnTo>
                    <a:lnTo>
                      <a:pt x="310" y="282"/>
                    </a:lnTo>
                    <a:lnTo>
                      <a:pt x="320" y="278"/>
                    </a:lnTo>
                    <a:lnTo>
                      <a:pt x="328" y="270"/>
                    </a:lnTo>
                    <a:lnTo>
                      <a:pt x="334" y="262"/>
                    </a:lnTo>
                    <a:lnTo>
                      <a:pt x="340" y="252"/>
                    </a:lnTo>
                    <a:lnTo>
                      <a:pt x="344" y="242"/>
                    </a:lnTo>
                    <a:lnTo>
                      <a:pt x="344" y="230"/>
                    </a:lnTo>
                    <a:lnTo>
                      <a:pt x="344" y="58"/>
                    </a:lnTo>
                    <a:lnTo>
                      <a:pt x="344" y="58"/>
                    </a:lnTo>
                    <a:lnTo>
                      <a:pt x="344" y="46"/>
                    </a:lnTo>
                    <a:lnTo>
                      <a:pt x="340" y="36"/>
                    </a:lnTo>
                    <a:lnTo>
                      <a:pt x="334" y="26"/>
                    </a:lnTo>
                    <a:lnTo>
                      <a:pt x="328" y="18"/>
                    </a:lnTo>
                    <a:lnTo>
                      <a:pt x="320" y="10"/>
                    </a:lnTo>
                    <a:lnTo>
                      <a:pt x="310" y="6"/>
                    </a:lnTo>
                    <a:lnTo>
                      <a:pt x="300" y="2"/>
                    </a:lnTo>
                    <a:lnTo>
                      <a:pt x="288" y="0"/>
                    </a:lnTo>
                    <a:lnTo>
                      <a:pt x="288" y="0"/>
                    </a:lnTo>
                    <a:close/>
                    <a:moveTo>
                      <a:pt x="126" y="228"/>
                    </a:moveTo>
                    <a:lnTo>
                      <a:pt x="148" y="142"/>
                    </a:lnTo>
                    <a:lnTo>
                      <a:pt x="148" y="142"/>
                    </a:lnTo>
                    <a:lnTo>
                      <a:pt x="144" y="136"/>
                    </a:lnTo>
                    <a:lnTo>
                      <a:pt x="138" y="130"/>
                    </a:lnTo>
                    <a:lnTo>
                      <a:pt x="136" y="122"/>
                    </a:lnTo>
                    <a:lnTo>
                      <a:pt x="134" y="112"/>
                    </a:lnTo>
                    <a:lnTo>
                      <a:pt x="134" y="112"/>
                    </a:lnTo>
                    <a:lnTo>
                      <a:pt x="136" y="106"/>
                    </a:lnTo>
                    <a:lnTo>
                      <a:pt x="138" y="98"/>
                    </a:lnTo>
                    <a:lnTo>
                      <a:pt x="142" y="92"/>
                    </a:lnTo>
                    <a:lnTo>
                      <a:pt x="146" y="88"/>
                    </a:lnTo>
                    <a:lnTo>
                      <a:pt x="152" y="82"/>
                    </a:lnTo>
                    <a:lnTo>
                      <a:pt x="158" y="80"/>
                    </a:lnTo>
                    <a:lnTo>
                      <a:pt x="164" y="78"/>
                    </a:lnTo>
                    <a:lnTo>
                      <a:pt x="172" y="76"/>
                    </a:lnTo>
                    <a:lnTo>
                      <a:pt x="172" y="76"/>
                    </a:lnTo>
                    <a:lnTo>
                      <a:pt x="178" y="78"/>
                    </a:lnTo>
                    <a:lnTo>
                      <a:pt x="186" y="80"/>
                    </a:lnTo>
                    <a:lnTo>
                      <a:pt x="192" y="82"/>
                    </a:lnTo>
                    <a:lnTo>
                      <a:pt x="198" y="88"/>
                    </a:lnTo>
                    <a:lnTo>
                      <a:pt x="202" y="92"/>
                    </a:lnTo>
                    <a:lnTo>
                      <a:pt x="204" y="98"/>
                    </a:lnTo>
                    <a:lnTo>
                      <a:pt x="208" y="106"/>
                    </a:lnTo>
                    <a:lnTo>
                      <a:pt x="208" y="112"/>
                    </a:lnTo>
                    <a:lnTo>
                      <a:pt x="208" y="112"/>
                    </a:lnTo>
                    <a:lnTo>
                      <a:pt x="206" y="120"/>
                    </a:lnTo>
                    <a:lnTo>
                      <a:pt x="204" y="128"/>
                    </a:lnTo>
                    <a:lnTo>
                      <a:pt x="200" y="134"/>
                    </a:lnTo>
                    <a:lnTo>
                      <a:pt x="196" y="140"/>
                    </a:lnTo>
                    <a:lnTo>
                      <a:pt x="220" y="228"/>
                    </a:lnTo>
                    <a:lnTo>
                      <a:pt x="126" y="22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4D4D4D"/>
                  </a:solidFill>
                </a:endParaRPr>
              </a:p>
            </p:txBody>
          </p:sp>
          <p:sp>
            <p:nvSpPr>
              <p:cNvPr id="14" name="Freeform 6"/>
              <p:cNvSpPr>
                <a:spLocks/>
              </p:cNvSpPr>
              <p:nvPr userDrawn="1"/>
            </p:nvSpPr>
            <p:spPr bwMode="auto">
              <a:xfrm>
                <a:off x="7961313" y="101600"/>
                <a:ext cx="260350" cy="88900"/>
              </a:xfrm>
              <a:custGeom>
                <a:avLst/>
                <a:gdLst>
                  <a:gd name="T0" fmla="*/ 20 w 164"/>
                  <a:gd name="T1" fmla="*/ 56 h 56"/>
                  <a:gd name="T2" fmla="*/ 20 w 164"/>
                  <a:gd name="T3" fmla="*/ 56 h 56"/>
                  <a:gd name="T4" fmla="*/ 22 w 164"/>
                  <a:gd name="T5" fmla="*/ 46 h 56"/>
                  <a:gd name="T6" fmla="*/ 26 w 164"/>
                  <a:gd name="T7" fmla="*/ 36 h 56"/>
                  <a:gd name="T8" fmla="*/ 30 w 164"/>
                  <a:gd name="T9" fmla="*/ 30 h 56"/>
                  <a:gd name="T10" fmla="*/ 36 w 164"/>
                  <a:gd name="T11" fmla="*/ 26 h 56"/>
                  <a:gd name="T12" fmla="*/ 42 w 164"/>
                  <a:gd name="T13" fmla="*/ 22 h 56"/>
                  <a:gd name="T14" fmla="*/ 54 w 164"/>
                  <a:gd name="T15" fmla="*/ 20 h 56"/>
                  <a:gd name="T16" fmla="*/ 82 w 164"/>
                  <a:gd name="T17" fmla="*/ 20 h 56"/>
                  <a:gd name="T18" fmla="*/ 82 w 164"/>
                  <a:gd name="T19" fmla="*/ 20 h 56"/>
                  <a:gd name="T20" fmla="*/ 112 w 164"/>
                  <a:gd name="T21" fmla="*/ 20 h 56"/>
                  <a:gd name="T22" fmla="*/ 122 w 164"/>
                  <a:gd name="T23" fmla="*/ 22 h 56"/>
                  <a:gd name="T24" fmla="*/ 130 w 164"/>
                  <a:gd name="T25" fmla="*/ 26 h 56"/>
                  <a:gd name="T26" fmla="*/ 136 w 164"/>
                  <a:gd name="T27" fmla="*/ 30 h 56"/>
                  <a:gd name="T28" fmla="*/ 140 w 164"/>
                  <a:gd name="T29" fmla="*/ 36 h 56"/>
                  <a:gd name="T30" fmla="*/ 142 w 164"/>
                  <a:gd name="T31" fmla="*/ 46 h 56"/>
                  <a:gd name="T32" fmla="*/ 144 w 164"/>
                  <a:gd name="T33" fmla="*/ 56 h 56"/>
                  <a:gd name="T34" fmla="*/ 164 w 164"/>
                  <a:gd name="T35" fmla="*/ 56 h 56"/>
                  <a:gd name="T36" fmla="*/ 164 w 164"/>
                  <a:gd name="T37" fmla="*/ 56 h 56"/>
                  <a:gd name="T38" fmla="*/ 162 w 164"/>
                  <a:gd name="T39" fmla="*/ 38 h 56"/>
                  <a:gd name="T40" fmla="*/ 156 w 164"/>
                  <a:gd name="T41" fmla="*/ 24 h 56"/>
                  <a:gd name="T42" fmla="*/ 148 w 164"/>
                  <a:gd name="T43" fmla="*/ 14 h 56"/>
                  <a:gd name="T44" fmla="*/ 138 w 164"/>
                  <a:gd name="T45" fmla="*/ 6 h 56"/>
                  <a:gd name="T46" fmla="*/ 126 w 164"/>
                  <a:gd name="T47" fmla="*/ 2 h 56"/>
                  <a:gd name="T48" fmla="*/ 112 w 164"/>
                  <a:gd name="T49" fmla="*/ 0 h 56"/>
                  <a:gd name="T50" fmla="*/ 82 w 164"/>
                  <a:gd name="T51" fmla="*/ 0 h 56"/>
                  <a:gd name="T52" fmla="*/ 82 w 164"/>
                  <a:gd name="T53" fmla="*/ 0 h 56"/>
                  <a:gd name="T54" fmla="*/ 52 w 164"/>
                  <a:gd name="T55" fmla="*/ 0 h 56"/>
                  <a:gd name="T56" fmla="*/ 38 w 164"/>
                  <a:gd name="T57" fmla="*/ 2 h 56"/>
                  <a:gd name="T58" fmla="*/ 26 w 164"/>
                  <a:gd name="T59" fmla="*/ 6 h 56"/>
                  <a:gd name="T60" fmla="*/ 16 w 164"/>
                  <a:gd name="T61" fmla="*/ 14 h 56"/>
                  <a:gd name="T62" fmla="*/ 8 w 164"/>
                  <a:gd name="T63" fmla="*/ 24 h 56"/>
                  <a:gd name="T64" fmla="*/ 2 w 164"/>
                  <a:gd name="T65" fmla="*/ 38 h 56"/>
                  <a:gd name="T66" fmla="*/ 0 w 164"/>
                  <a:gd name="T67" fmla="*/ 56 h 56"/>
                  <a:gd name="T68" fmla="*/ 20 w 164"/>
                  <a:gd name="T6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64" h="56">
                    <a:moveTo>
                      <a:pt x="20" y="56"/>
                    </a:moveTo>
                    <a:lnTo>
                      <a:pt x="20" y="56"/>
                    </a:lnTo>
                    <a:lnTo>
                      <a:pt x="22" y="46"/>
                    </a:lnTo>
                    <a:lnTo>
                      <a:pt x="26" y="36"/>
                    </a:lnTo>
                    <a:lnTo>
                      <a:pt x="30" y="30"/>
                    </a:lnTo>
                    <a:lnTo>
                      <a:pt x="36" y="26"/>
                    </a:lnTo>
                    <a:lnTo>
                      <a:pt x="42" y="22"/>
                    </a:lnTo>
                    <a:lnTo>
                      <a:pt x="54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112" y="20"/>
                    </a:lnTo>
                    <a:lnTo>
                      <a:pt x="122" y="22"/>
                    </a:lnTo>
                    <a:lnTo>
                      <a:pt x="130" y="26"/>
                    </a:lnTo>
                    <a:lnTo>
                      <a:pt x="136" y="30"/>
                    </a:lnTo>
                    <a:lnTo>
                      <a:pt x="140" y="36"/>
                    </a:lnTo>
                    <a:lnTo>
                      <a:pt x="142" y="46"/>
                    </a:lnTo>
                    <a:lnTo>
                      <a:pt x="14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2" y="38"/>
                    </a:lnTo>
                    <a:lnTo>
                      <a:pt x="156" y="24"/>
                    </a:lnTo>
                    <a:lnTo>
                      <a:pt x="148" y="14"/>
                    </a:lnTo>
                    <a:lnTo>
                      <a:pt x="138" y="6"/>
                    </a:lnTo>
                    <a:lnTo>
                      <a:pt x="126" y="2"/>
                    </a:lnTo>
                    <a:lnTo>
                      <a:pt x="11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52" y="0"/>
                    </a:lnTo>
                    <a:lnTo>
                      <a:pt x="38" y="2"/>
                    </a:lnTo>
                    <a:lnTo>
                      <a:pt x="26" y="6"/>
                    </a:lnTo>
                    <a:lnTo>
                      <a:pt x="16" y="14"/>
                    </a:lnTo>
                    <a:lnTo>
                      <a:pt x="8" y="24"/>
                    </a:lnTo>
                    <a:lnTo>
                      <a:pt x="2" y="38"/>
                    </a:lnTo>
                    <a:lnTo>
                      <a:pt x="0" y="56"/>
                    </a:lnTo>
                    <a:lnTo>
                      <a:pt x="20" y="5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11" name="TextBox 10"/>
            <p:cNvSpPr txBox="1"/>
            <p:nvPr userDrawn="1"/>
          </p:nvSpPr>
          <p:spPr>
            <a:xfrm rot="16200000">
              <a:off x="8191735" y="232702"/>
              <a:ext cx="563729" cy="1708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510" dirty="0" smtClean="0">
                  <a:solidFill>
                    <a:srgbClr val="ABB7D1"/>
                  </a:solidFill>
                </a:rPr>
                <a:t>strictly</a:t>
              </a:r>
              <a:endParaRPr lang="en-GB" sz="510" dirty="0">
                <a:solidFill>
                  <a:srgbClr val="ABB7D1"/>
                </a:solidFill>
              </a:endParaRPr>
            </a:p>
          </p:txBody>
        </p:sp>
        <p:sp>
          <p:nvSpPr>
            <p:cNvPr id="12" name="TextBox 11"/>
            <p:cNvSpPr txBox="1"/>
            <p:nvPr userDrawn="1"/>
          </p:nvSpPr>
          <p:spPr>
            <a:xfrm>
              <a:off x="8410803" y="506408"/>
              <a:ext cx="851853" cy="1815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580" dirty="0" smtClean="0">
                  <a:solidFill>
                    <a:srgbClr val="ABB7D1"/>
                  </a:solidFill>
                </a:rPr>
                <a:t>CONFIDENTIAL</a:t>
              </a:r>
              <a:endParaRPr lang="en-GB" sz="580" dirty="0">
                <a:solidFill>
                  <a:srgbClr val="ABB7D1"/>
                </a:solidFill>
              </a:endParaRPr>
            </a:p>
          </p:txBody>
        </p:sp>
      </p:grpSp>
      <p:sp>
        <p:nvSpPr>
          <p:cNvPr id="15" name="Text Box 11"/>
          <p:cNvSpPr txBox="1">
            <a:spLocks noChangeArrowheads="1"/>
          </p:cNvSpPr>
          <p:nvPr userDrawn="1"/>
        </p:nvSpPr>
        <p:spPr bwMode="auto">
          <a:xfrm rot="16200000">
            <a:off x="6347717" y="3020626"/>
            <a:ext cx="528796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defRPr/>
            </a:pPr>
            <a:r>
              <a:rPr lang="en-GB" sz="700" b="0" dirty="0" smtClean="0">
                <a:solidFill>
                  <a:srgbClr val="D7D2CB"/>
                </a:solidFill>
                <a:latin typeface="Verdana"/>
              </a:rPr>
              <a:t>© 2013 Amadeus IT Group SA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7051675" y="6305550"/>
            <a:ext cx="1762125" cy="43088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1A61A9"/>
              </a:buClr>
              <a:buSzPct val="80000"/>
              <a:buFont typeface="Wingdings 2" pitchFamily="18" charset="2"/>
              <a:buNone/>
              <a:defRPr/>
            </a:pPr>
            <a:r>
              <a:rPr lang="en-GB" sz="1000" b="1" dirty="0" smtClean="0">
                <a:solidFill>
                  <a:srgbClr val="FFFFFF"/>
                </a:solidFill>
              </a:rPr>
              <a:t>NBU/PAY</a:t>
            </a:r>
          </a:p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1A61A9"/>
              </a:buClr>
              <a:buSzPct val="80000"/>
              <a:buFont typeface="Wingdings 2" pitchFamily="18" charset="2"/>
              <a:buNone/>
              <a:defRPr/>
            </a:pPr>
            <a:r>
              <a:rPr lang="en-GB" sz="1000" b="1" dirty="0" smtClean="0">
                <a:solidFill>
                  <a:srgbClr val="FFFFFF"/>
                </a:solidFill>
              </a:rPr>
              <a:t>CST/BST</a:t>
            </a:r>
          </a:p>
        </p:txBody>
      </p:sp>
    </p:spTree>
    <p:extLst>
      <p:ext uri="{BB962C8B-B14F-4D97-AF65-F5344CB8AC3E}">
        <p14:creationId xmlns:p14="http://schemas.microsoft.com/office/powerpoint/2010/main" val="3529366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ST - 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0"/>
          <p:cNvSpPr txBox="1">
            <a:spLocks noChangeArrowheads="1"/>
          </p:cNvSpPr>
          <p:nvPr userDrawn="1"/>
        </p:nvSpPr>
        <p:spPr>
          <a:xfrm>
            <a:off x="414971" y="6488689"/>
            <a:ext cx="1771650" cy="211203"/>
          </a:xfrm>
          <a:prstGeom prst="rect">
            <a:avLst/>
          </a:prstGeom>
          <a:ln/>
        </p:spPr>
        <p:txBody>
          <a:bodyPr vert="horz" lIns="0" tIns="36000" rIns="0" bIns="3600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accent6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dirty="0" smtClean="0">
                <a:solidFill>
                  <a:srgbClr val="4D4D4D"/>
                </a:solidFill>
              </a:rPr>
              <a:t>Page </a:t>
            </a:r>
            <a:fld id="{4A1B87DD-86B5-48CA-9454-66C05345144F}" type="slidenum">
              <a:rPr lang="en-US" smtClean="0">
                <a:solidFill>
                  <a:srgbClr val="4D4D4D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86379" y="1309683"/>
            <a:ext cx="8482017" cy="4570732"/>
          </a:xfrm>
          <a:prstGeom prst="rect">
            <a:avLst/>
          </a:prstGeom>
        </p:spPr>
        <p:txBody>
          <a:bodyPr lIns="72000" rIns="72000">
            <a:noAutofit/>
          </a:bodyPr>
          <a:lstStyle>
            <a:lvl1pPr marL="363538" indent="-365125">
              <a:spcBef>
                <a:spcPts val="0"/>
              </a:spcBef>
              <a:buClr>
                <a:schemeClr val="accent3"/>
              </a:buClr>
              <a:buSzPct val="120000"/>
              <a:buFont typeface="Verdana" pitchFamily="34" charset="0"/>
              <a:buChar char="_"/>
              <a:defRPr sz="1600">
                <a:solidFill>
                  <a:schemeClr val="tx1"/>
                </a:solidFill>
                <a:latin typeface="+mj-lt"/>
              </a:defRPr>
            </a:lvl1pPr>
            <a:lvl2pPr marL="628650" indent="-184150">
              <a:spcBef>
                <a:spcPts val="0"/>
              </a:spcBef>
              <a:buClr>
                <a:schemeClr val="accent3"/>
              </a:buClr>
              <a:buSzPct val="12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2pPr>
            <a:lvl3pPr marL="542925" indent="-161925">
              <a:spcBef>
                <a:spcPts val="0"/>
              </a:spcBef>
              <a:buClr>
                <a:schemeClr val="accent3"/>
              </a:buClr>
              <a:buSzPct val="12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3pPr>
            <a:lvl4pPr marL="895350" indent="-174625">
              <a:spcBef>
                <a:spcPts val="0"/>
              </a:spcBef>
              <a:buClr>
                <a:schemeClr val="accent3"/>
              </a:buClr>
              <a:buSzPct val="80000"/>
              <a:buFont typeface="Courier New" panose="02070309020205020404" pitchFamily="49" charset="0"/>
              <a:buChar char="o"/>
              <a:defRPr sz="1600">
                <a:solidFill>
                  <a:schemeClr val="tx1"/>
                </a:solidFill>
                <a:latin typeface="+mj-lt"/>
              </a:defRPr>
            </a:lvl4pPr>
            <a:lvl5pPr marL="1162050" indent="-171450">
              <a:spcBef>
                <a:spcPts val="0"/>
              </a:spcBef>
              <a:buClr>
                <a:schemeClr val="accent3"/>
              </a:buClr>
              <a:buSzPct val="120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86379" y="790177"/>
            <a:ext cx="7920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9144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160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lang="en-US" sz="2200" smtClean="0">
                <a:solidFill>
                  <a:srgbClr val="1A61A9"/>
                </a:solidFill>
                <a:latin typeface="Arial" charset="0"/>
              </a:defRPr>
            </a:lvl2pPr>
            <a:lvl3pPr marL="914400" indent="0">
              <a:buNone/>
              <a:defRPr lang="en-US" sz="2200" smtClean="0">
                <a:solidFill>
                  <a:srgbClr val="1A61A9"/>
                </a:solidFill>
                <a:latin typeface="Arial" charset="0"/>
              </a:defRPr>
            </a:lvl3pPr>
            <a:lvl4pPr marL="1371600" indent="0">
              <a:buNone/>
              <a:defRPr lang="en-US" sz="2200" smtClean="0">
                <a:solidFill>
                  <a:srgbClr val="1A61A9"/>
                </a:solidFill>
                <a:latin typeface="Arial" charset="0"/>
              </a:defRPr>
            </a:lvl4pPr>
            <a:lvl5pPr marL="1828800" indent="0">
              <a:buNone/>
              <a:defRPr lang="en-US" sz="2200">
                <a:solidFill>
                  <a:srgbClr val="1A61A9"/>
                </a:solidFill>
                <a:latin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subtitle style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286379" y="348775"/>
            <a:ext cx="7920000" cy="674489"/>
          </a:xfrm>
          <a:prstGeom prst="rect">
            <a:avLst/>
          </a:prstGeom>
        </p:spPr>
        <p:txBody>
          <a:bodyPr lIns="72000" anchor="t" anchorCtr="0"/>
          <a:lstStyle>
            <a:lvl1pPr>
              <a:lnSpc>
                <a:spcPct val="90000"/>
              </a:lnSpc>
              <a:defRPr sz="2000" baseline="0">
                <a:solidFill>
                  <a:schemeClr val="accent1"/>
                </a:solidFill>
                <a:latin typeface="Verdana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887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ST - 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Conector recto 12"/>
          <p:cNvCxnSpPr/>
          <p:nvPr userDrawn="1"/>
        </p:nvCxnSpPr>
        <p:spPr>
          <a:xfrm flipH="1">
            <a:off x="414971" y="6309320"/>
            <a:ext cx="4680518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</a:ln>
          <a:effectLst/>
        </p:spPr>
      </p:cxnSp>
      <p:sp>
        <p:nvSpPr>
          <p:cNvPr id="23" name="Rectangle 10"/>
          <p:cNvSpPr txBox="1">
            <a:spLocks noChangeArrowheads="1"/>
          </p:cNvSpPr>
          <p:nvPr userDrawn="1"/>
        </p:nvSpPr>
        <p:spPr>
          <a:xfrm>
            <a:off x="414971" y="6488689"/>
            <a:ext cx="1771650" cy="211203"/>
          </a:xfrm>
          <a:prstGeom prst="rect">
            <a:avLst/>
          </a:prstGeom>
          <a:ln/>
        </p:spPr>
        <p:txBody>
          <a:bodyPr vert="horz" lIns="0" tIns="36000" rIns="0" bIns="3600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accent6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dirty="0" smtClean="0">
                <a:solidFill>
                  <a:srgbClr val="4D4D4D"/>
                </a:solidFill>
              </a:rPr>
              <a:t>Page </a:t>
            </a:r>
            <a:fld id="{4A1B87DD-86B5-48CA-9454-66C05345144F}" type="slidenum">
              <a:rPr lang="en-US" smtClean="0">
                <a:solidFill>
                  <a:srgbClr val="4D4D4D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86379" y="1309683"/>
            <a:ext cx="8482017" cy="4570732"/>
          </a:xfrm>
          <a:prstGeom prst="rect">
            <a:avLst/>
          </a:prstGeom>
        </p:spPr>
        <p:txBody>
          <a:bodyPr lIns="72000" rIns="72000">
            <a:noAutofit/>
          </a:bodyPr>
          <a:lstStyle>
            <a:lvl1pPr marL="363538" indent="-365125">
              <a:spcBef>
                <a:spcPts val="0"/>
              </a:spcBef>
              <a:buClr>
                <a:schemeClr val="accent3"/>
              </a:buClr>
              <a:buSzPct val="120000"/>
              <a:buFont typeface="Verdana" pitchFamily="34" charset="0"/>
              <a:buChar char="_"/>
              <a:defRPr sz="1600">
                <a:solidFill>
                  <a:schemeClr val="tx1"/>
                </a:solidFill>
                <a:latin typeface="+mj-lt"/>
              </a:defRPr>
            </a:lvl1pPr>
            <a:lvl2pPr marL="628650" indent="-184150">
              <a:spcBef>
                <a:spcPts val="0"/>
              </a:spcBef>
              <a:buClr>
                <a:schemeClr val="accent3"/>
              </a:buClr>
              <a:buSzPct val="12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2pPr>
            <a:lvl3pPr marL="542925" indent="-161925">
              <a:spcBef>
                <a:spcPts val="0"/>
              </a:spcBef>
              <a:buClr>
                <a:schemeClr val="accent3"/>
              </a:buClr>
              <a:buSzPct val="12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3pPr>
            <a:lvl4pPr marL="895350" indent="-174625">
              <a:spcBef>
                <a:spcPts val="0"/>
              </a:spcBef>
              <a:buClr>
                <a:schemeClr val="accent3"/>
              </a:buClr>
              <a:buSzPct val="80000"/>
              <a:buFont typeface="Courier New" panose="02070309020205020404" pitchFamily="49" charset="0"/>
              <a:buChar char="o"/>
              <a:defRPr sz="1600">
                <a:solidFill>
                  <a:schemeClr val="tx1"/>
                </a:solidFill>
                <a:latin typeface="+mj-lt"/>
              </a:defRPr>
            </a:lvl4pPr>
            <a:lvl5pPr marL="1162050" indent="-171450">
              <a:spcBef>
                <a:spcPts val="0"/>
              </a:spcBef>
              <a:buClr>
                <a:schemeClr val="accent3"/>
              </a:buClr>
              <a:buSzPct val="120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86379" y="1039556"/>
            <a:ext cx="7920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9144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160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lang="en-US" sz="2200" smtClean="0">
                <a:solidFill>
                  <a:srgbClr val="1A61A9"/>
                </a:solidFill>
                <a:latin typeface="Arial" charset="0"/>
              </a:defRPr>
            </a:lvl2pPr>
            <a:lvl3pPr marL="914400" indent="0">
              <a:buNone/>
              <a:defRPr lang="en-US" sz="2200" smtClean="0">
                <a:solidFill>
                  <a:srgbClr val="1A61A9"/>
                </a:solidFill>
                <a:latin typeface="Arial" charset="0"/>
              </a:defRPr>
            </a:lvl3pPr>
            <a:lvl4pPr marL="1371600" indent="0">
              <a:buNone/>
              <a:defRPr lang="en-US" sz="2200" smtClean="0">
                <a:solidFill>
                  <a:srgbClr val="1A61A9"/>
                </a:solidFill>
                <a:latin typeface="Arial" charset="0"/>
              </a:defRPr>
            </a:lvl4pPr>
            <a:lvl5pPr marL="1828800" indent="0">
              <a:buNone/>
              <a:defRPr lang="en-US" sz="2200">
                <a:solidFill>
                  <a:srgbClr val="1A61A9"/>
                </a:solidFill>
                <a:latin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subtitle style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286379" y="348775"/>
            <a:ext cx="7920000" cy="674489"/>
          </a:xfrm>
          <a:prstGeom prst="rect">
            <a:avLst/>
          </a:prstGeom>
        </p:spPr>
        <p:txBody>
          <a:bodyPr lIns="72000" anchor="t" anchorCtr="0"/>
          <a:lstStyle>
            <a:lvl1pPr>
              <a:lnSpc>
                <a:spcPct val="90000"/>
              </a:lnSpc>
              <a:defRPr sz="2000" baseline="0">
                <a:solidFill>
                  <a:schemeClr val="accent1"/>
                </a:solidFill>
                <a:latin typeface="Verdana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15" hasCustomPrompt="1"/>
          </p:nvPr>
        </p:nvSpPr>
        <p:spPr>
          <a:xfrm>
            <a:off x="1052623" y="6319953"/>
            <a:ext cx="6039293" cy="179370"/>
          </a:xfrm>
          <a:prstGeom prst="rect">
            <a:avLst/>
          </a:prstGeom>
        </p:spPr>
        <p:txBody>
          <a:bodyPr lIns="72000" rIns="72000">
            <a:noAutofit/>
          </a:bodyPr>
          <a:lstStyle>
            <a:lvl1pPr marL="0" indent="0">
              <a:spcBef>
                <a:spcPts val="0"/>
              </a:spcBef>
              <a:buClr>
                <a:schemeClr val="accent3"/>
              </a:buClr>
              <a:buSzPct val="120000"/>
              <a:buFont typeface="Verdana" pitchFamily="34" charset="0"/>
              <a:buNone/>
              <a:defRPr sz="900">
                <a:solidFill>
                  <a:schemeClr val="tx1"/>
                </a:solidFill>
                <a:latin typeface="+mj-lt"/>
              </a:defRPr>
            </a:lvl1pPr>
            <a:lvl2pPr marL="628650" indent="-184150">
              <a:spcBef>
                <a:spcPts val="0"/>
              </a:spcBef>
              <a:buClr>
                <a:schemeClr val="accent3"/>
              </a:buClr>
              <a:buSzPct val="12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2pPr>
            <a:lvl3pPr marL="542925" indent="-161925">
              <a:spcBef>
                <a:spcPts val="0"/>
              </a:spcBef>
              <a:buClr>
                <a:schemeClr val="accent3"/>
              </a:buClr>
              <a:buSzPct val="12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3pPr>
            <a:lvl4pPr marL="895350" indent="-174625">
              <a:spcBef>
                <a:spcPts val="0"/>
              </a:spcBef>
              <a:buClr>
                <a:schemeClr val="accent3"/>
              </a:buClr>
              <a:buSzPct val="80000"/>
              <a:buFont typeface="Courier New" panose="02070309020205020404" pitchFamily="49" charset="0"/>
              <a:buChar char="o"/>
              <a:defRPr sz="1600">
                <a:solidFill>
                  <a:schemeClr val="tx1"/>
                </a:solidFill>
                <a:latin typeface="+mj-lt"/>
              </a:defRPr>
            </a:lvl4pPr>
            <a:lvl5pPr marL="1162050" indent="-171450">
              <a:spcBef>
                <a:spcPts val="0"/>
              </a:spcBef>
              <a:buClr>
                <a:schemeClr val="accent3"/>
              </a:buClr>
              <a:buSzPct val="120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1408062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ST - Appendix divider">
    <p:bg>
      <p:bgPr>
        <a:solidFill>
          <a:srgbClr val="D7D2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Box 11"/>
          <p:cNvSpPr txBox="1">
            <a:spLocks noChangeArrowheads="1"/>
          </p:cNvSpPr>
          <p:nvPr userDrawn="1"/>
        </p:nvSpPr>
        <p:spPr bwMode="auto">
          <a:xfrm rot="-5400000">
            <a:off x="6347717" y="3020626"/>
            <a:ext cx="528796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defRPr/>
            </a:pPr>
            <a:r>
              <a:rPr lang="en-GB" sz="700" b="0" dirty="0" smtClean="0">
                <a:solidFill>
                  <a:srgbClr val="FFFFFF">
                    <a:lumMod val="65000"/>
                  </a:srgbClr>
                </a:solidFill>
                <a:latin typeface="Verdana"/>
              </a:rPr>
              <a:t>© 2013 Amadeus IT Group SA</a:t>
            </a:r>
          </a:p>
        </p:txBody>
      </p:sp>
      <p:grpSp>
        <p:nvGrpSpPr>
          <p:cNvPr id="19" name="Group 4"/>
          <p:cNvGrpSpPr>
            <a:grpSpLocks noChangeAspect="1"/>
          </p:cNvGrpSpPr>
          <p:nvPr userDrawn="1"/>
        </p:nvGrpSpPr>
        <p:grpSpPr bwMode="auto">
          <a:xfrm>
            <a:off x="7380288" y="6491184"/>
            <a:ext cx="1289050" cy="169863"/>
            <a:chOff x="4649" y="3974"/>
            <a:chExt cx="812" cy="107"/>
          </a:xfrm>
        </p:grpSpPr>
        <p:sp>
          <p:nvSpPr>
            <p:cNvPr id="20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4649" y="3974"/>
              <a:ext cx="812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  <p:sp>
          <p:nvSpPr>
            <p:cNvPr id="34" name="Freeform 33"/>
            <p:cNvSpPr>
              <a:spLocks noEditPoints="1"/>
            </p:cNvSpPr>
            <p:nvPr userDrawn="1"/>
          </p:nvSpPr>
          <p:spPr bwMode="auto">
            <a:xfrm>
              <a:off x="4649" y="3974"/>
              <a:ext cx="812" cy="107"/>
            </a:xfrm>
            <a:custGeom>
              <a:avLst/>
              <a:gdLst>
                <a:gd name="T0" fmla="*/ 2293 w 3248"/>
                <a:gd name="T1" fmla="*/ 424 h 428"/>
                <a:gd name="T2" fmla="*/ 2209 w 3248"/>
                <a:gd name="T3" fmla="*/ 355 h 428"/>
                <a:gd name="T4" fmla="*/ 2159 w 3248"/>
                <a:gd name="T5" fmla="*/ 76 h 428"/>
                <a:gd name="T6" fmla="*/ 2306 w 3248"/>
                <a:gd name="T7" fmla="*/ 5 h 428"/>
                <a:gd name="T8" fmla="*/ 2042 w 3248"/>
                <a:gd name="T9" fmla="*/ 407 h 428"/>
                <a:gd name="T10" fmla="*/ 611 w 3248"/>
                <a:gd name="T11" fmla="*/ 11 h 428"/>
                <a:gd name="T12" fmla="*/ 672 w 3248"/>
                <a:gd name="T13" fmla="*/ 353 h 428"/>
                <a:gd name="T14" fmla="*/ 737 w 3248"/>
                <a:gd name="T15" fmla="*/ 376 h 428"/>
                <a:gd name="T16" fmla="*/ 909 w 3248"/>
                <a:gd name="T17" fmla="*/ 1 h 428"/>
                <a:gd name="T18" fmla="*/ 261 w 3248"/>
                <a:gd name="T19" fmla="*/ 332 h 428"/>
                <a:gd name="T20" fmla="*/ 114 w 3248"/>
                <a:gd name="T21" fmla="*/ 347 h 428"/>
                <a:gd name="T22" fmla="*/ 94 w 3248"/>
                <a:gd name="T23" fmla="*/ 277 h 428"/>
                <a:gd name="T24" fmla="*/ 261 w 3248"/>
                <a:gd name="T25" fmla="*/ 332 h 428"/>
                <a:gd name="T26" fmla="*/ 52 w 3248"/>
                <a:gd name="T27" fmla="*/ 102 h 428"/>
                <a:gd name="T28" fmla="*/ 234 w 3248"/>
                <a:gd name="T29" fmla="*/ 90 h 428"/>
                <a:gd name="T30" fmla="*/ 179 w 3248"/>
                <a:gd name="T31" fmla="*/ 176 h 428"/>
                <a:gd name="T32" fmla="*/ 9 w 3248"/>
                <a:gd name="T33" fmla="*/ 257 h 428"/>
                <a:gd name="T34" fmla="*/ 35 w 3248"/>
                <a:gd name="T35" fmla="*/ 394 h 428"/>
                <a:gd name="T36" fmla="*/ 164 w 3248"/>
                <a:gd name="T37" fmla="*/ 426 h 428"/>
                <a:gd name="T38" fmla="*/ 284 w 3248"/>
                <a:gd name="T39" fmla="*/ 404 h 428"/>
                <a:gd name="T40" fmla="*/ 331 w 3248"/>
                <a:gd name="T41" fmla="*/ 45 h 428"/>
                <a:gd name="T42" fmla="*/ 1319 w 3248"/>
                <a:gd name="T43" fmla="*/ 332 h 428"/>
                <a:gd name="T44" fmla="*/ 1168 w 3248"/>
                <a:gd name="T45" fmla="*/ 344 h 428"/>
                <a:gd name="T46" fmla="*/ 1155 w 3248"/>
                <a:gd name="T47" fmla="*/ 272 h 428"/>
                <a:gd name="T48" fmla="*/ 1264 w 3248"/>
                <a:gd name="T49" fmla="*/ 0 h 428"/>
                <a:gd name="T50" fmla="*/ 1122 w 3248"/>
                <a:gd name="T51" fmla="*/ 98 h 428"/>
                <a:gd name="T52" fmla="*/ 1298 w 3248"/>
                <a:gd name="T53" fmla="*/ 94 h 428"/>
                <a:gd name="T54" fmla="*/ 1212 w 3248"/>
                <a:gd name="T55" fmla="*/ 177 h 428"/>
                <a:gd name="T56" fmla="*/ 1064 w 3248"/>
                <a:gd name="T57" fmla="*/ 270 h 428"/>
                <a:gd name="T58" fmla="*/ 1102 w 3248"/>
                <a:gd name="T59" fmla="*/ 401 h 428"/>
                <a:gd name="T60" fmla="*/ 1246 w 3248"/>
                <a:gd name="T61" fmla="*/ 423 h 428"/>
                <a:gd name="T62" fmla="*/ 1354 w 3248"/>
                <a:gd name="T63" fmla="*/ 407 h 428"/>
                <a:gd name="T64" fmla="*/ 1381 w 3248"/>
                <a:gd name="T65" fmla="*/ 36 h 428"/>
                <a:gd name="T66" fmla="*/ 2714 w 3248"/>
                <a:gd name="T67" fmla="*/ 326 h 428"/>
                <a:gd name="T68" fmla="*/ 2576 w 3248"/>
                <a:gd name="T69" fmla="*/ 337 h 428"/>
                <a:gd name="T70" fmla="*/ 2533 w 3248"/>
                <a:gd name="T71" fmla="*/ 4 h 428"/>
                <a:gd name="T72" fmla="*/ 2468 w 3248"/>
                <a:gd name="T73" fmla="*/ 364 h 428"/>
                <a:gd name="T74" fmla="*/ 2611 w 3248"/>
                <a:gd name="T75" fmla="*/ 427 h 428"/>
                <a:gd name="T76" fmla="*/ 2761 w 3248"/>
                <a:gd name="T77" fmla="*/ 403 h 428"/>
                <a:gd name="T78" fmla="*/ 2937 w 3248"/>
                <a:gd name="T79" fmla="*/ 413 h 428"/>
                <a:gd name="T80" fmla="*/ 3135 w 3248"/>
                <a:gd name="T81" fmla="*/ 422 h 428"/>
                <a:gd name="T82" fmla="*/ 3248 w 3248"/>
                <a:gd name="T83" fmla="*/ 300 h 428"/>
                <a:gd name="T84" fmla="*/ 3184 w 3248"/>
                <a:gd name="T85" fmla="*/ 204 h 428"/>
                <a:gd name="T86" fmla="*/ 3038 w 3248"/>
                <a:gd name="T87" fmla="*/ 127 h 428"/>
                <a:gd name="T88" fmla="*/ 3076 w 3248"/>
                <a:gd name="T89" fmla="*/ 76 h 428"/>
                <a:gd name="T90" fmla="*/ 3232 w 3248"/>
                <a:gd name="T91" fmla="*/ 30 h 428"/>
                <a:gd name="T92" fmla="*/ 3039 w 3248"/>
                <a:gd name="T93" fmla="*/ 8 h 428"/>
                <a:gd name="T94" fmla="*/ 2943 w 3248"/>
                <a:gd name="T95" fmla="*/ 122 h 428"/>
                <a:gd name="T96" fmla="*/ 3021 w 3248"/>
                <a:gd name="T97" fmla="*/ 229 h 428"/>
                <a:gd name="T98" fmla="*/ 3154 w 3248"/>
                <a:gd name="T99" fmla="*/ 300 h 428"/>
                <a:gd name="T100" fmla="*/ 3113 w 3248"/>
                <a:gd name="T101" fmla="*/ 350 h 428"/>
                <a:gd name="T102" fmla="*/ 1639 w 3248"/>
                <a:gd name="T103" fmla="*/ 80 h 428"/>
                <a:gd name="T104" fmla="*/ 1790 w 3248"/>
                <a:gd name="T105" fmla="*/ 97 h 428"/>
                <a:gd name="T106" fmla="*/ 1832 w 3248"/>
                <a:gd name="T107" fmla="*/ 245 h 428"/>
                <a:gd name="T108" fmla="*/ 1739 w 3248"/>
                <a:gd name="T109" fmla="*/ 353 h 428"/>
                <a:gd name="T110" fmla="*/ 1652 w 3248"/>
                <a:gd name="T111" fmla="*/ 4 h 428"/>
                <a:gd name="T112" fmla="*/ 1701 w 3248"/>
                <a:gd name="T113" fmla="*/ 428 h 428"/>
                <a:gd name="T114" fmla="*/ 1885 w 3248"/>
                <a:gd name="T115" fmla="*/ 369 h 428"/>
                <a:gd name="T116" fmla="*/ 1930 w 3248"/>
                <a:gd name="T117" fmla="*/ 187 h 428"/>
                <a:gd name="T118" fmla="*/ 1786 w 3248"/>
                <a:gd name="T119" fmla="*/ 8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48" h="428">
                  <a:moveTo>
                    <a:pt x="2042" y="407"/>
                  </a:moveTo>
                  <a:lnTo>
                    <a:pt x="2042" y="407"/>
                  </a:lnTo>
                  <a:lnTo>
                    <a:pt x="2055" y="411"/>
                  </a:lnTo>
                  <a:lnTo>
                    <a:pt x="2089" y="418"/>
                  </a:lnTo>
                  <a:lnTo>
                    <a:pt x="2113" y="421"/>
                  </a:lnTo>
                  <a:lnTo>
                    <a:pt x="2140" y="425"/>
                  </a:lnTo>
                  <a:lnTo>
                    <a:pt x="2171" y="427"/>
                  </a:lnTo>
                  <a:lnTo>
                    <a:pt x="2205" y="428"/>
                  </a:lnTo>
                  <a:lnTo>
                    <a:pt x="2205" y="428"/>
                  </a:lnTo>
                  <a:lnTo>
                    <a:pt x="2239" y="427"/>
                  </a:lnTo>
                  <a:lnTo>
                    <a:pt x="2268" y="426"/>
                  </a:lnTo>
                  <a:lnTo>
                    <a:pt x="2293" y="424"/>
                  </a:lnTo>
                  <a:lnTo>
                    <a:pt x="2312" y="422"/>
                  </a:lnTo>
                  <a:lnTo>
                    <a:pt x="2339" y="419"/>
                  </a:lnTo>
                  <a:lnTo>
                    <a:pt x="2347" y="417"/>
                  </a:lnTo>
                  <a:lnTo>
                    <a:pt x="2347" y="346"/>
                  </a:lnTo>
                  <a:lnTo>
                    <a:pt x="2347" y="346"/>
                  </a:lnTo>
                  <a:lnTo>
                    <a:pt x="2339" y="347"/>
                  </a:lnTo>
                  <a:lnTo>
                    <a:pt x="2314" y="351"/>
                  </a:lnTo>
                  <a:lnTo>
                    <a:pt x="2277" y="354"/>
                  </a:lnTo>
                  <a:lnTo>
                    <a:pt x="2255" y="355"/>
                  </a:lnTo>
                  <a:lnTo>
                    <a:pt x="2230" y="355"/>
                  </a:lnTo>
                  <a:lnTo>
                    <a:pt x="2230" y="355"/>
                  </a:lnTo>
                  <a:lnTo>
                    <a:pt x="2209" y="355"/>
                  </a:lnTo>
                  <a:lnTo>
                    <a:pt x="2191" y="354"/>
                  </a:lnTo>
                  <a:lnTo>
                    <a:pt x="2160" y="351"/>
                  </a:lnTo>
                  <a:lnTo>
                    <a:pt x="2141" y="349"/>
                  </a:lnTo>
                  <a:lnTo>
                    <a:pt x="2134" y="348"/>
                  </a:lnTo>
                  <a:lnTo>
                    <a:pt x="2134" y="247"/>
                  </a:lnTo>
                  <a:lnTo>
                    <a:pt x="2318" y="247"/>
                  </a:lnTo>
                  <a:lnTo>
                    <a:pt x="2318" y="175"/>
                  </a:lnTo>
                  <a:lnTo>
                    <a:pt x="2134" y="175"/>
                  </a:lnTo>
                  <a:lnTo>
                    <a:pt x="2134" y="79"/>
                  </a:lnTo>
                  <a:lnTo>
                    <a:pt x="2134" y="79"/>
                  </a:lnTo>
                  <a:lnTo>
                    <a:pt x="2141" y="78"/>
                  </a:lnTo>
                  <a:lnTo>
                    <a:pt x="2159" y="76"/>
                  </a:lnTo>
                  <a:lnTo>
                    <a:pt x="2187" y="74"/>
                  </a:lnTo>
                  <a:lnTo>
                    <a:pt x="2224" y="73"/>
                  </a:lnTo>
                  <a:lnTo>
                    <a:pt x="2224" y="73"/>
                  </a:lnTo>
                  <a:lnTo>
                    <a:pt x="2247" y="73"/>
                  </a:lnTo>
                  <a:lnTo>
                    <a:pt x="2268" y="74"/>
                  </a:lnTo>
                  <a:lnTo>
                    <a:pt x="2305" y="77"/>
                  </a:lnTo>
                  <a:lnTo>
                    <a:pt x="2331" y="80"/>
                  </a:lnTo>
                  <a:lnTo>
                    <a:pt x="2340" y="82"/>
                  </a:lnTo>
                  <a:lnTo>
                    <a:pt x="2340" y="10"/>
                  </a:lnTo>
                  <a:lnTo>
                    <a:pt x="2340" y="10"/>
                  </a:lnTo>
                  <a:lnTo>
                    <a:pt x="2331" y="9"/>
                  </a:lnTo>
                  <a:lnTo>
                    <a:pt x="2306" y="5"/>
                  </a:lnTo>
                  <a:lnTo>
                    <a:pt x="2266" y="2"/>
                  </a:lnTo>
                  <a:lnTo>
                    <a:pt x="2242" y="1"/>
                  </a:lnTo>
                  <a:lnTo>
                    <a:pt x="2214" y="0"/>
                  </a:lnTo>
                  <a:lnTo>
                    <a:pt x="2214" y="0"/>
                  </a:lnTo>
                  <a:lnTo>
                    <a:pt x="2176" y="1"/>
                  </a:lnTo>
                  <a:lnTo>
                    <a:pt x="2144" y="3"/>
                  </a:lnTo>
                  <a:lnTo>
                    <a:pt x="2114" y="6"/>
                  </a:lnTo>
                  <a:lnTo>
                    <a:pt x="2089" y="9"/>
                  </a:lnTo>
                  <a:lnTo>
                    <a:pt x="2069" y="13"/>
                  </a:lnTo>
                  <a:lnTo>
                    <a:pt x="2055" y="15"/>
                  </a:lnTo>
                  <a:lnTo>
                    <a:pt x="2042" y="19"/>
                  </a:lnTo>
                  <a:lnTo>
                    <a:pt x="2042" y="407"/>
                  </a:lnTo>
                  <a:close/>
                  <a:moveTo>
                    <a:pt x="726" y="246"/>
                  </a:moveTo>
                  <a:lnTo>
                    <a:pt x="726" y="246"/>
                  </a:lnTo>
                  <a:lnTo>
                    <a:pt x="722" y="257"/>
                  </a:lnTo>
                  <a:lnTo>
                    <a:pt x="719" y="270"/>
                  </a:lnTo>
                  <a:lnTo>
                    <a:pt x="719" y="270"/>
                  </a:lnTo>
                  <a:lnTo>
                    <a:pt x="715" y="257"/>
                  </a:lnTo>
                  <a:lnTo>
                    <a:pt x="712" y="246"/>
                  </a:lnTo>
                  <a:lnTo>
                    <a:pt x="630" y="39"/>
                  </a:lnTo>
                  <a:lnTo>
                    <a:pt x="630" y="39"/>
                  </a:lnTo>
                  <a:lnTo>
                    <a:pt x="624" y="28"/>
                  </a:lnTo>
                  <a:lnTo>
                    <a:pt x="618" y="19"/>
                  </a:lnTo>
                  <a:lnTo>
                    <a:pt x="611" y="11"/>
                  </a:lnTo>
                  <a:lnTo>
                    <a:pt x="603" y="7"/>
                  </a:lnTo>
                  <a:lnTo>
                    <a:pt x="593" y="3"/>
                  </a:lnTo>
                  <a:lnTo>
                    <a:pt x="581" y="1"/>
                  </a:lnTo>
                  <a:lnTo>
                    <a:pt x="569" y="1"/>
                  </a:lnTo>
                  <a:lnTo>
                    <a:pt x="555" y="0"/>
                  </a:lnTo>
                  <a:lnTo>
                    <a:pt x="555" y="0"/>
                  </a:lnTo>
                  <a:lnTo>
                    <a:pt x="529" y="1"/>
                  </a:lnTo>
                  <a:lnTo>
                    <a:pt x="513" y="2"/>
                  </a:lnTo>
                  <a:lnTo>
                    <a:pt x="471" y="422"/>
                  </a:lnTo>
                  <a:lnTo>
                    <a:pt x="564" y="422"/>
                  </a:lnTo>
                  <a:lnTo>
                    <a:pt x="584" y="140"/>
                  </a:lnTo>
                  <a:lnTo>
                    <a:pt x="672" y="353"/>
                  </a:lnTo>
                  <a:lnTo>
                    <a:pt x="672" y="353"/>
                  </a:lnTo>
                  <a:lnTo>
                    <a:pt x="675" y="359"/>
                  </a:lnTo>
                  <a:lnTo>
                    <a:pt x="679" y="364"/>
                  </a:lnTo>
                  <a:lnTo>
                    <a:pt x="684" y="368"/>
                  </a:lnTo>
                  <a:lnTo>
                    <a:pt x="689" y="371"/>
                  </a:lnTo>
                  <a:lnTo>
                    <a:pt x="695" y="373"/>
                  </a:lnTo>
                  <a:lnTo>
                    <a:pt x="702" y="376"/>
                  </a:lnTo>
                  <a:lnTo>
                    <a:pt x="710" y="377"/>
                  </a:lnTo>
                  <a:lnTo>
                    <a:pt x="719" y="377"/>
                  </a:lnTo>
                  <a:lnTo>
                    <a:pt x="719" y="377"/>
                  </a:lnTo>
                  <a:lnTo>
                    <a:pt x="728" y="377"/>
                  </a:lnTo>
                  <a:lnTo>
                    <a:pt x="737" y="376"/>
                  </a:lnTo>
                  <a:lnTo>
                    <a:pt x="744" y="373"/>
                  </a:lnTo>
                  <a:lnTo>
                    <a:pt x="750" y="371"/>
                  </a:lnTo>
                  <a:lnTo>
                    <a:pt x="755" y="368"/>
                  </a:lnTo>
                  <a:lnTo>
                    <a:pt x="759" y="364"/>
                  </a:lnTo>
                  <a:lnTo>
                    <a:pt x="762" y="359"/>
                  </a:lnTo>
                  <a:lnTo>
                    <a:pt x="765" y="353"/>
                  </a:lnTo>
                  <a:lnTo>
                    <a:pt x="853" y="140"/>
                  </a:lnTo>
                  <a:lnTo>
                    <a:pt x="874" y="422"/>
                  </a:lnTo>
                  <a:lnTo>
                    <a:pt x="967" y="422"/>
                  </a:lnTo>
                  <a:lnTo>
                    <a:pt x="925" y="2"/>
                  </a:lnTo>
                  <a:lnTo>
                    <a:pt x="925" y="2"/>
                  </a:lnTo>
                  <a:lnTo>
                    <a:pt x="909" y="1"/>
                  </a:lnTo>
                  <a:lnTo>
                    <a:pt x="883" y="0"/>
                  </a:lnTo>
                  <a:lnTo>
                    <a:pt x="883" y="0"/>
                  </a:lnTo>
                  <a:lnTo>
                    <a:pt x="868" y="1"/>
                  </a:lnTo>
                  <a:lnTo>
                    <a:pt x="856" y="1"/>
                  </a:lnTo>
                  <a:lnTo>
                    <a:pt x="845" y="3"/>
                  </a:lnTo>
                  <a:lnTo>
                    <a:pt x="836" y="7"/>
                  </a:lnTo>
                  <a:lnTo>
                    <a:pt x="827" y="11"/>
                  </a:lnTo>
                  <a:lnTo>
                    <a:pt x="819" y="19"/>
                  </a:lnTo>
                  <a:lnTo>
                    <a:pt x="813" y="28"/>
                  </a:lnTo>
                  <a:lnTo>
                    <a:pt x="808" y="39"/>
                  </a:lnTo>
                  <a:lnTo>
                    <a:pt x="726" y="246"/>
                  </a:lnTo>
                  <a:close/>
                  <a:moveTo>
                    <a:pt x="261" y="332"/>
                  </a:moveTo>
                  <a:lnTo>
                    <a:pt x="261" y="332"/>
                  </a:lnTo>
                  <a:lnTo>
                    <a:pt x="241" y="338"/>
                  </a:lnTo>
                  <a:lnTo>
                    <a:pt x="215" y="347"/>
                  </a:lnTo>
                  <a:lnTo>
                    <a:pt x="200" y="350"/>
                  </a:lnTo>
                  <a:lnTo>
                    <a:pt x="186" y="353"/>
                  </a:lnTo>
                  <a:lnTo>
                    <a:pt x="172" y="355"/>
                  </a:lnTo>
                  <a:lnTo>
                    <a:pt x="157" y="355"/>
                  </a:lnTo>
                  <a:lnTo>
                    <a:pt x="157" y="355"/>
                  </a:lnTo>
                  <a:lnTo>
                    <a:pt x="144" y="355"/>
                  </a:lnTo>
                  <a:lnTo>
                    <a:pt x="131" y="353"/>
                  </a:lnTo>
                  <a:lnTo>
                    <a:pt x="120" y="349"/>
                  </a:lnTo>
                  <a:lnTo>
                    <a:pt x="114" y="347"/>
                  </a:lnTo>
                  <a:lnTo>
                    <a:pt x="109" y="344"/>
                  </a:lnTo>
                  <a:lnTo>
                    <a:pt x="105" y="340"/>
                  </a:lnTo>
                  <a:lnTo>
                    <a:pt x="101" y="336"/>
                  </a:lnTo>
                  <a:lnTo>
                    <a:pt x="98" y="331"/>
                  </a:lnTo>
                  <a:lnTo>
                    <a:pt x="95" y="326"/>
                  </a:lnTo>
                  <a:lnTo>
                    <a:pt x="93" y="321"/>
                  </a:lnTo>
                  <a:lnTo>
                    <a:pt x="92" y="315"/>
                  </a:lnTo>
                  <a:lnTo>
                    <a:pt x="91" y="308"/>
                  </a:lnTo>
                  <a:lnTo>
                    <a:pt x="90" y="300"/>
                  </a:lnTo>
                  <a:lnTo>
                    <a:pt x="90" y="300"/>
                  </a:lnTo>
                  <a:lnTo>
                    <a:pt x="91" y="288"/>
                  </a:lnTo>
                  <a:lnTo>
                    <a:pt x="94" y="277"/>
                  </a:lnTo>
                  <a:lnTo>
                    <a:pt x="96" y="272"/>
                  </a:lnTo>
                  <a:lnTo>
                    <a:pt x="99" y="266"/>
                  </a:lnTo>
                  <a:lnTo>
                    <a:pt x="103" y="262"/>
                  </a:lnTo>
                  <a:lnTo>
                    <a:pt x="106" y="258"/>
                  </a:lnTo>
                  <a:lnTo>
                    <a:pt x="111" y="255"/>
                  </a:lnTo>
                  <a:lnTo>
                    <a:pt x="116" y="252"/>
                  </a:lnTo>
                  <a:lnTo>
                    <a:pt x="123" y="249"/>
                  </a:lnTo>
                  <a:lnTo>
                    <a:pt x="129" y="247"/>
                  </a:lnTo>
                  <a:lnTo>
                    <a:pt x="145" y="244"/>
                  </a:lnTo>
                  <a:lnTo>
                    <a:pt x="162" y="242"/>
                  </a:lnTo>
                  <a:lnTo>
                    <a:pt x="261" y="239"/>
                  </a:lnTo>
                  <a:lnTo>
                    <a:pt x="261" y="332"/>
                  </a:lnTo>
                  <a:close/>
                  <a:moveTo>
                    <a:pt x="205" y="0"/>
                  </a:moveTo>
                  <a:lnTo>
                    <a:pt x="205" y="0"/>
                  </a:lnTo>
                  <a:lnTo>
                    <a:pt x="176" y="1"/>
                  </a:lnTo>
                  <a:lnTo>
                    <a:pt x="147" y="4"/>
                  </a:lnTo>
                  <a:lnTo>
                    <a:pt x="121" y="7"/>
                  </a:lnTo>
                  <a:lnTo>
                    <a:pt x="97" y="12"/>
                  </a:lnTo>
                  <a:lnTo>
                    <a:pt x="77" y="17"/>
                  </a:lnTo>
                  <a:lnTo>
                    <a:pt x="58" y="23"/>
                  </a:lnTo>
                  <a:lnTo>
                    <a:pt x="44" y="28"/>
                  </a:lnTo>
                  <a:lnTo>
                    <a:pt x="33" y="33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63" y="98"/>
                  </a:lnTo>
                  <a:lnTo>
                    <a:pt x="92" y="91"/>
                  </a:lnTo>
                  <a:lnTo>
                    <a:pt x="111" y="86"/>
                  </a:lnTo>
                  <a:lnTo>
                    <a:pt x="133" y="82"/>
                  </a:lnTo>
                  <a:lnTo>
                    <a:pt x="155" y="80"/>
                  </a:lnTo>
                  <a:lnTo>
                    <a:pt x="179" y="79"/>
                  </a:lnTo>
                  <a:lnTo>
                    <a:pt x="179" y="79"/>
                  </a:lnTo>
                  <a:lnTo>
                    <a:pt x="197" y="80"/>
                  </a:lnTo>
                  <a:lnTo>
                    <a:pt x="214" y="82"/>
                  </a:lnTo>
                  <a:lnTo>
                    <a:pt x="221" y="84"/>
                  </a:lnTo>
                  <a:lnTo>
                    <a:pt x="228" y="86"/>
                  </a:lnTo>
                  <a:lnTo>
                    <a:pt x="234" y="90"/>
                  </a:lnTo>
                  <a:lnTo>
                    <a:pt x="239" y="94"/>
                  </a:lnTo>
                  <a:lnTo>
                    <a:pt x="244" y="98"/>
                  </a:lnTo>
                  <a:lnTo>
                    <a:pt x="248" y="102"/>
                  </a:lnTo>
                  <a:lnTo>
                    <a:pt x="251" y="108"/>
                  </a:lnTo>
                  <a:lnTo>
                    <a:pt x="254" y="114"/>
                  </a:lnTo>
                  <a:lnTo>
                    <a:pt x="256" y="120"/>
                  </a:lnTo>
                  <a:lnTo>
                    <a:pt x="258" y="129"/>
                  </a:lnTo>
                  <a:lnTo>
                    <a:pt x="260" y="137"/>
                  </a:lnTo>
                  <a:lnTo>
                    <a:pt x="260" y="146"/>
                  </a:lnTo>
                  <a:lnTo>
                    <a:pt x="260" y="176"/>
                  </a:lnTo>
                  <a:lnTo>
                    <a:pt x="179" y="176"/>
                  </a:lnTo>
                  <a:lnTo>
                    <a:pt x="179" y="176"/>
                  </a:lnTo>
                  <a:lnTo>
                    <a:pt x="154" y="177"/>
                  </a:lnTo>
                  <a:lnTo>
                    <a:pt x="132" y="179"/>
                  </a:lnTo>
                  <a:lnTo>
                    <a:pt x="111" y="182"/>
                  </a:lnTo>
                  <a:lnTo>
                    <a:pt x="93" y="187"/>
                  </a:lnTo>
                  <a:lnTo>
                    <a:pt x="77" y="192"/>
                  </a:lnTo>
                  <a:lnTo>
                    <a:pt x="61" y="200"/>
                  </a:lnTo>
                  <a:lnTo>
                    <a:pt x="49" y="207"/>
                  </a:lnTo>
                  <a:lnTo>
                    <a:pt x="38" y="216"/>
                  </a:lnTo>
                  <a:lnTo>
                    <a:pt x="29" y="225"/>
                  </a:lnTo>
                  <a:lnTo>
                    <a:pt x="20" y="236"/>
                  </a:lnTo>
                  <a:lnTo>
                    <a:pt x="14" y="246"/>
                  </a:lnTo>
                  <a:lnTo>
                    <a:pt x="9" y="257"/>
                  </a:lnTo>
                  <a:lnTo>
                    <a:pt x="5" y="270"/>
                  </a:lnTo>
                  <a:lnTo>
                    <a:pt x="2" y="282"/>
                  </a:lnTo>
                  <a:lnTo>
                    <a:pt x="1" y="294"/>
                  </a:lnTo>
                  <a:lnTo>
                    <a:pt x="0" y="307"/>
                  </a:lnTo>
                  <a:lnTo>
                    <a:pt x="0" y="307"/>
                  </a:lnTo>
                  <a:lnTo>
                    <a:pt x="1" y="323"/>
                  </a:lnTo>
                  <a:lnTo>
                    <a:pt x="3" y="338"/>
                  </a:lnTo>
                  <a:lnTo>
                    <a:pt x="7" y="352"/>
                  </a:lnTo>
                  <a:lnTo>
                    <a:pt x="12" y="364"/>
                  </a:lnTo>
                  <a:lnTo>
                    <a:pt x="19" y="376"/>
                  </a:lnTo>
                  <a:lnTo>
                    <a:pt x="27" y="386"/>
                  </a:lnTo>
                  <a:lnTo>
                    <a:pt x="35" y="394"/>
                  </a:lnTo>
                  <a:lnTo>
                    <a:pt x="45" y="401"/>
                  </a:lnTo>
                  <a:lnTo>
                    <a:pt x="54" y="408"/>
                  </a:lnTo>
                  <a:lnTo>
                    <a:pt x="65" y="414"/>
                  </a:lnTo>
                  <a:lnTo>
                    <a:pt x="77" y="418"/>
                  </a:lnTo>
                  <a:lnTo>
                    <a:pt x="89" y="422"/>
                  </a:lnTo>
                  <a:lnTo>
                    <a:pt x="101" y="424"/>
                  </a:lnTo>
                  <a:lnTo>
                    <a:pt x="113" y="426"/>
                  </a:lnTo>
                  <a:lnTo>
                    <a:pt x="126" y="427"/>
                  </a:lnTo>
                  <a:lnTo>
                    <a:pt x="138" y="428"/>
                  </a:lnTo>
                  <a:lnTo>
                    <a:pt x="138" y="428"/>
                  </a:lnTo>
                  <a:lnTo>
                    <a:pt x="151" y="427"/>
                  </a:lnTo>
                  <a:lnTo>
                    <a:pt x="164" y="426"/>
                  </a:lnTo>
                  <a:lnTo>
                    <a:pt x="189" y="423"/>
                  </a:lnTo>
                  <a:lnTo>
                    <a:pt x="209" y="418"/>
                  </a:lnTo>
                  <a:lnTo>
                    <a:pt x="227" y="412"/>
                  </a:lnTo>
                  <a:lnTo>
                    <a:pt x="241" y="406"/>
                  </a:lnTo>
                  <a:lnTo>
                    <a:pt x="252" y="401"/>
                  </a:lnTo>
                  <a:lnTo>
                    <a:pt x="260" y="397"/>
                  </a:lnTo>
                  <a:lnTo>
                    <a:pt x="264" y="396"/>
                  </a:lnTo>
                  <a:lnTo>
                    <a:pt x="264" y="396"/>
                  </a:lnTo>
                  <a:lnTo>
                    <a:pt x="266" y="397"/>
                  </a:lnTo>
                  <a:lnTo>
                    <a:pt x="270" y="398"/>
                  </a:lnTo>
                  <a:lnTo>
                    <a:pt x="276" y="401"/>
                  </a:lnTo>
                  <a:lnTo>
                    <a:pt x="284" y="404"/>
                  </a:lnTo>
                  <a:lnTo>
                    <a:pt x="295" y="407"/>
                  </a:lnTo>
                  <a:lnTo>
                    <a:pt x="311" y="411"/>
                  </a:lnTo>
                  <a:lnTo>
                    <a:pt x="329" y="412"/>
                  </a:lnTo>
                  <a:lnTo>
                    <a:pt x="352" y="413"/>
                  </a:lnTo>
                  <a:lnTo>
                    <a:pt x="352" y="122"/>
                  </a:lnTo>
                  <a:lnTo>
                    <a:pt x="352" y="122"/>
                  </a:lnTo>
                  <a:lnTo>
                    <a:pt x="352" y="106"/>
                  </a:lnTo>
                  <a:lnTo>
                    <a:pt x="350" y="92"/>
                  </a:lnTo>
                  <a:lnTo>
                    <a:pt x="347" y="78"/>
                  </a:lnTo>
                  <a:lnTo>
                    <a:pt x="343" y="66"/>
                  </a:lnTo>
                  <a:lnTo>
                    <a:pt x="337" y="56"/>
                  </a:lnTo>
                  <a:lnTo>
                    <a:pt x="331" y="45"/>
                  </a:lnTo>
                  <a:lnTo>
                    <a:pt x="323" y="36"/>
                  </a:lnTo>
                  <a:lnTo>
                    <a:pt x="314" y="29"/>
                  </a:lnTo>
                  <a:lnTo>
                    <a:pt x="304" y="22"/>
                  </a:lnTo>
                  <a:lnTo>
                    <a:pt x="293" y="15"/>
                  </a:lnTo>
                  <a:lnTo>
                    <a:pt x="281" y="11"/>
                  </a:lnTo>
                  <a:lnTo>
                    <a:pt x="268" y="7"/>
                  </a:lnTo>
                  <a:lnTo>
                    <a:pt x="253" y="4"/>
                  </a:lnTo>
                  <a:lnTo>
                    <a:pt x="238" y="2"/>
                  </a:lnTo>
                  <a:lnTo>
                    <a:pt x="223" y="1"/>
                  </a:lnTo>
                  <a:lnTo>
                    <a:pt x="205" y="0"/>
                  </a:lnTo>
                  <a:close/>
                  <a:moveTo>
                    <a:pt x="1319" y="332"/>
                  </a:moveTo>
                  <a:lnTo>
                    <a:pt x="1319" y="332"/>
                  </a:lnTo>
                  <a:lnTo>
                    <a:pt x="1300" y="338"/>
                  </a:lnTo>
                  <a:lnTo>
                    <a:pt x="1273" y="347"/>
                  </a:lnTo>
                  <a:lnTo>
                    <a:pt x="1259" y="350"/>
                  </a:lnTo>
                  <a:lnTo>
                    <a:pt x="1243" y="353"/>
                  </a:lnTo>
                  <a:lnTo>
                    <a:pt x="1229" y="355"/>
                  </a:lnTo>
                  <a:lnTo>
                    <a:pt x="1216" y="355"/>
                  </a:lnTo>
                  <a:lnTo>
                    <a:pt x="1216" y="355"/>
                  </a:lnTo>
                  <a:lnTo>
                    <a:pt x="1202" y="355"/>
                  </a:lnTo>
                  <a:lnTo>
                    <a:pt x="1189" y="353"/>
                  </a:lnTo>
                  <a:lnTo>
                    <a:pt x="1177" y="349"/>
                  </a:lnTo>
                  <a:lnTo>
                    <a:pt x="1172" y="347"/>
                  </a:lnTo>
                  <a:lnTo>
                    <a:pt x="1168" y="344"/>
                  </a:lnTo>
                  <a:lnTo>
                    <a:pt x="1164" y="340"/>
                  </a:lnTo>
                  <a:lnTo>
                    <a:pt x="1160" y="336"/>
                  </a:lnTo>
                  <a:lnTo>
                    <a:pt x="1157" y="331"/>
                  </a:lnTo>
                  <a:lnTo>
                    <a:pt x="1154" y="326"/>
                  </a:lnTo>
                  <a:lnTo>
                    <a:pt x="1151" y="321"/>
                  </a:lnTo>
                  <a:lnTo>
                    <a:pt x="1149" y="315"/>
                  </a:lnTo>
                  <a:lnTo>
                    <a:pt x="1148" y="308"/>
                  </a:lnTo>
                  <a:lnTo>
                    <a:pt x="1148" y="300"/>
                  </a:lnTo>
                  <a:lnTo>
                    <a:pt x="1148" y="300"/>
                  </a:lnTo>
                  <a:lnTo>
                    <a:pt x="1149" y="288"/>
                  </a:lnTo>
                  <a:lnTo>
                    <a:pt x="1152" y="277"/>
                  </a:lnTo>
                  <a:lnTo>
                    <a:pt x="1155" y="272"/>
                  </a:lnTo>
                  <a:lnTo>
                    <a:pt x="1158" y="266"/>
                  </a:lnTo>
                  <a:lnTo>
                    <a:pt x="1161" y="262"/>
                  </a:lnTo>
                  <a:lnTo>
                    <a:pt x="1165" y="258"/>
                  </a:lnTo>
                  <a:lnTo>
                    <a:pt x="1170" y="255"/>
                  </a:lnTo>
                  <a:lnTo>
                    <a:pt x="1175" y="252"/>
                  </a:lnTo>
                  <a:lnTo>
                    <a:pt x="1181" y="249"/>
                  </a:lnTo>
                  <a:lnTo>
                    <a:pt x="1187" y="247"/>
                  </a:lnTo>
                  <a:lnTo>
                    <a:pt x="1203" y="244"/>
                  </a:lnTo>
                  <a:lnTo>
                    <a:pt x="1221" y="242"/>
                  </a:lnTo>
                  <a:lnTo>
                    <a:pt x="1319" y="239"/>
                  </a:lnTo>
                  <a:lnTo>
                    <a:pt x="1319" y="332"/>
                  </a:lnTo>
                  <a:close/>
                  <a:moveTo>
                    <a:pt x="1264" y="0"/>
                  </a:moveTo>
                  <a:lnTo>
                    <a:pt x="1264" y="0"/>
                  </a:lnTo>
                  <a:lnTo>
                    <a:pt x="1233" y="1"/>
                  </a:lnTo>
                  <a:lnTo>
                    <a:pt x="1206" y="4"/>
                  </a:lnTo>
                  <a:lnTo>
                    <a:pt x="1179" y="7"/>
                  </a:lnTo>
                  <a:lnTo>
                    <a:pt x="1156" y="12"/>
                  </a:lnTo>
                  <a:lnTo>
                    <a:pt x="1135" y="17"/>
                  </a:lnTo>
                  <a:lnTo>
                    <a:pt x="1117" y="23"/>
                  </a:lnTo>
                  <a:lnTo>
                    <a:pt x="1102" y="28"/>
                  </a:lnTo>
                  <a:lnTo>
                    <a:pt x="1091" y="33"/>
                  </a:lnTo>
                  <a:lnTo>
                    <a:pt x="1111" y="102"/>
                  </a:lnTo>
                  <a:lnTo>
                    <a:pt x="1111" y="102"/>
                  </a:lnTo>
                  <a:lnTo>
                    <a:pt x="1122" y="98"/>
                  </a:lnTo>
                  <a:lnTo>
                    <a:pt x="1150" y="91"/>
                  </a:lnTo>
                  <a:lnTo>
                    <a:pt x="1169" y="86"/>
                  </a:lnTo>
                  <a:lnTo>
                    <a:pt x="1190" y="82"/>
                  </a:lnTo>
                  <a:lnTo>
                    <a:pt x="1213" y="80"/>
                  </a:lnTo>
                  <a:lnTo>
                    <a:pt x="1236" y="79"/>
                  </a:lnTo>
                  <a:lnTo>
                    <a:pt x="1236" y="79"/>
                  </a:lnTo>
                  <a:lnTo>
                    <a:pt x="1256" y="80"/>
                  </a:lnTo>
                  <a:lnTo>
                    <a:pt x="1272" y="82"/>
                  </a:lnTo>
                  <a:lnTo>
                    <a:pt x="1279" y="84"/>
                  </a:lnTo>
                  <a:lnTo>
                    <a:pt x="1285" y="86"/>
                  </a:lnTo>
                  <a:lnTo>
                    <a:pt x="1291" y="90"/>
                  </a:lnTo>
                  <a:lnTo>
                    <a:pt x="1298" y="94"/>
                  </a:lnTo>
                  <a:lnTo>
                    <a:pt x="1302" y="98"/>
                  </a:lnTo>
                  <a:lnTo>
                    <a:pt x="1306" y="102"/>
                  </a:lnTo>
                  <a:lnTo>
                    <a:pt x="1310" y="108"/>
                  </a:lnTo>
                  <a:lnTo>
                    <a:pt x="1313" y="114"/>
                  </a:lnTo>
                  <a:lnTo>
                    <a:pt x="1315" y="120"/>
                  </a:lnTo>
                  <a:lnTo>
                    <a:pt x="1316" y="129"/>
                  </a:lnTo>
                  <a:lnTo>
                    <a:pt x="1317" y="137"/>
                  </a:lnTo>
                  <a:lnTo>
                    <a:pt x="1318" y="146"/>
                  </a:lnTo>
                  <a:lnTo>
                    <a:pt x="1318" y="176"/>
                  </a:lnTo>
                  <a:lnTo>
                    <a:pt x="1236" y="176"/>
                  </a:lnTo>
                  <a:lnTo>
                    <a:pt x="1236" y="176"/>
                  </a:lnTo>
                  <a:lnTo>
                    <a:pt x="1212" y="177"/>
                  </a:lnTo>
                  <a:lnTo>
                    <a:pt x="1189" y="179"/>
                  </a:lnTo>
                  <a:lnTo>
                    <a:pt x="1169" y="182"/>
                  </a:lnTo>
                  <a:lnTo>
                    <a:pt x="1150" y="187"/>
                  </a:lnTo>
                  <a:lnTo>
                    <a:pt x="1134" y="192"/>
                  </a:lnTo>
                  <a:lnTo>
                    <a:pt x="1120" y="200"/>
                  </a:lnTo>
                  <a:lnTo>
                    <a:pt x="1108" y="207"/>
                  </a:lnTo>
                  <a:lnTo>
                    <a:pt x="1096" y="216"/>
                  </a:lnTo>
                  <a:lnTo>
                    <a:pt x="1086" y="225"/>
                  </a:lnTo>
                  <a:lnTo>
                    <a:pt x="1079" y="236"/>
                  </a:lnTo>
                  <a:lnTo>
                    <a:pt x="1072" y="246"/>
                  </a:lnTo>
                  <a:lnTo>
                    <a:pt x="1067" y="257"/>
                  </a:lnTo>
                  <a:lnTo>
                    <a:pt x="1064" y="270"/>
                  </a:lnTo>
                  <a:lnTo>
                    <a:pt x="1061" y="282"/>
                  </a:lnTo>
                  <a:lnTo>
                    <a:pt x="1058" y="294"/>
                  </a:lnTo>
                  <a:lnTo>
                    <a:pt x="1058" y="307"/>
                  </a:lnTo>
                  <a:lnTo>
                    <a:pt x="1058" y="307"/>
                  </a:lnTo>
                  <a:lnTo>
                    <a:pt x="1060" y="323"/>
                  </a:lnTo>
                  <a:lnTo>
                    <a:pt x="1062" y="338"/>
                  </a:lnTo>
                  <a:lnTo>
                    <a:pt x="1066" y="352"/>
                  </a:lnTo>
                  <a:lnTo>
                    <a:pt x="1071" y="364"/>
                  </a:lnTo>
                  <a:lnTo>
                    <a:pt x="1077" y="376"/>
                  </a:lnTo>
                  <a:lnTo>
                    <a:pt x="1085" y="386"/>
                  </a:lnTo>
                  <a:lnTo>
                    <a:pt x="1093" y="394"/>
                  </a:lnTo>
                  <a:lnTo>
                    <a:pt x="1102" y="401"/>
                  </a:lnTo>
                  <a:lnTo>
                    <a:pt x="1113" y="408"/>
                  </a:lnTo>
                  <a:lnTo>
                    <a:pt x="1124" y="414"/>
                  </a:lnTo>
                  <a:lnTo>
                    <a:pt x="1135" y="418"/>
                  </a:lnTo>
                  <a:lnTo>
                    <a:pt x="1146" y="422"/>
                  </a:lnTo>
                  <a:lnTo>
                    <a:pt x="1159" y="424"/>
                  </a:lnTo>
                  <a:lnTo>
                    <a:pt x="1171" y="426"/>
                  </a:lnTo>
                  <a:lnTo>
                    <a:pt x="1183" y="427"/>
                  </a:lnTo>
                  <a:lnTo>
                    <a:pt x="1195" y="428"/>
                  </a:lnTo>
                  <a:lnTo>
                    <a:pt x="1195" y="428"/>
                  </a:lnTo>
                  <a:lnTo>
                    <a:pt x="1210" y="427"/>
                  </a:lnTo>
                  <a:lnTo>
                    <a:pt x="1223" y="426"/>
                  </a:lnTo>
                  <a:lnTo>
                    <a:pt x="1246" y="423"/>
                  </a:lnTo>
                  <a:lnTo>
                    <a:pt x="1268" y="418"/>
                  </a:lnTo>
                  <a:lnTo>
                    <a:pt x="1285" y="412"/>
                  </a:lnTo>
                  <a:lnTo>
                    <a:pt x="1300" y="406"/>
                  </a:lnTo>
                  <a:lnTo>
                    <a:pt x="1311" y="401"/>
                  </a:lnTo>
                  <a:lnTo>
                    <a:pt x="1318" y="397"/>
                  </a:lnTo>
                  <a:lnTo>
                    <a:pt x="1322" y="396"/>
                  </a:lnTo>
                  <a:lnTo>
                    <a:pt x="1322" y="396"/>
                  </a:lnTo>
                  <a:lnTo>
                    <a:pt x="1324" y="397"/>
                  </a:lnTo>
                  <a:lnTo>
                    <a:pt x="1327" y="398"/>
                  </a:lnTo>
                  <a:lnTo>
                    <a:pt x="1333" y="401"/>
                  </a:lnTo>
                  <a:lnTo>
                    <a:pt x="1341" y="404"/>
                  </a:lnTo>
                  <a:lnTo>
                    <a:pt x="1354" y="407"/>
                  </a:lnTo>
                  <a:lnTo>
                    <a:pt x="1368" y="411"/>
                  </a:lnTo>
                  <a:lnTo>
                    <a:pt x="1387" y="412"/>
                  </a:lnTo>
                  <a:lnTo>
                    <a:pt x="1411" y="413"/>
                  </a:lnTo>
                  <a:lnTo>
                    <a:pt x="1411" y="122"/>
                  </a:lnTo>
                  <a:lnTo>
                    <a:pt x="1411" y="122"/>
                  </a:lnTo>
                  <a:lnTo>
                    <a:pt x="1411" y="106"/>
                  </a:lnTo>
                  <a:lnTo>
                    <a:pt x="1409" y="92"/>
                  </a:lnTo>
                  <a:lnTo>
                    <a:pt x="1406" y="78"/>
                  </a:lnTo>
                  <a:lnTo>
                    <a:pt x="1401" y="66"/>
                  </a:lnTo>
                  <a:lnTo>
                    <a:pt x="1396" y="56"/>
                  </a:lnTo>
                  <a:lnTo>
                    <a:pt x="1388" y="45"/>
                  </a:lnTo>
                  <a:lnTo>
                    <a:pt x="1381" y="36"/>
                  </a:lnTo>
                  <a:lnTo>
                    <a:pt x="1372" y="29"/>
                  </a:lnTo>
                  <a:lnTo>
                    <a:pt x="1362" y="22"/>
                  </a:lnTo>
                  <a:lnTo>
                    <a:pt x="1351" y="15"/>
                  </a:lnTo>
                  <a:lnTo>
                    <a:pt x="1339" y="11"/>
                  </a:lnTo>
                  <a:lnTo>
                    <a:pt x="1326" y="7"/>
                  </a:lnTo>
                  <a:lnTo>
                    <a:pt x="1312" y="4"/>
                  </a:lnTo>
                  <a:lnTo>
                    <a:pt x="1297" y="2"/>
                  </a:lnTo>
                  <a:lnTo>
                    <a:pt x="1280" y="1"/>
                  </a:lnTo>
                  <a:lnTo>
                    <a:pt x="1264" y="0"/>
                  </a:lnTo>
                  <a:close/>
                  <a:moveTo>
                    <a:pt x="2735" y="317"/>
                  </a:moveTo>
                  <a:lnTo>
                    <a:pt x="2735" y="317"/>
                  </a:lnTo>
                  <a:lnTo>
                    <a:pt x="2714" y="326"/>
                  </a:lnTo>
                  <a:lnTo>
                    <a:pt x="2700" y="331"/>
                  </a:lnTo>
                  <a:lnTo>
                    <a:pt x="2686" y="335"/>
                  </a:lnTo>
                  <a:lnTo>
                    <a:pt x="2671" y="340"/>
                  </a:lnTo>
                  <a:lnTo>
                    <a:pt x="2654" y="343"/>
                  </a:lnTo>
                  <a:lnTo>
                    <a:pt x="2638" y="345"/>
                  </a:lnTo>
                  <a:lnTo>
                    <a:pt x="2621" y="346"/>
                  </a:lnTo>
                  <a:lnTo>
                    <a:pt x="2621" y="346"/>
                  </a:lnTo>
                  <a:lnTo>
                    <a:pt x="2609" y="346"/>
                  </a:lnTo>
                  <a:lnTo>
                    <a:pt x="2599" y="345"/>
                  </a:lnTo>
                  <a:lnTo>
                    <a:pt x="2590" y="343"/>
                  </a:lnTo>
                  <a:lnTo>
                    <a:pt x="2583" y="341"/>
                  </a:lnTo>
                  <a:lnTo>
                    <a:pt x="2576" y="337"/>
                  </a:lnTo>
                  <a:lnTo>
                    <a:pt x="2570" y="333"/>
                  </a:lnTo>
                  <a:lnTo>
                    <a:pt x="2564" y="328"/>
                  </a:lnTo>
                  <a:lnTo>
                    <a:pt x="2560" y="323"/>
                  </a:lnTo>
                  <a:lnTo>
                    <a:pt x="2556" y="317"/>
                  </a:lnTo>
                  <a:lnTo>
                    <a:pt x="2553" y="311"/>
                  </a:lnTo>
                  <a:lnTo>
                    <a:pt x="2551" y="302"/>
                  </a:lnTo>
                  <a:lnTo>
                    <a:pt x="2549" y="294"/>
                  </a:lnTo>
                  <a:lnTo>
                    <a:pt x="2547" y="275"/>
                  </a:lnTo>
                  <a:lnTo>
                    <a:pt x="2547" y="252"/>
                  </a:lnTo>
                  <a:lnTo>
                    <a:pt x="2547" y="4"/>
                  </a:lnTo>
                  <a:lnTo>
                    <a:pt x="2533" y="4"/>
                  </a:lnTo>
                  <a:lnTo>
                    <a:pt x="2533" y="4"/>
                  </a:lnTo>
                  <a:lnTo>
                    <a:pt x="2513" y="4"/>
                  </a:lnTo>
                  <a:lnTo>
                    <a:pt x="2490" y="6"/>
                  </a:lnTo>
                  <a:lnTo>
                    <a:pt x="2467" y="8"/>
                  </a:lnTo>
                  <a:lnTo>
                    <a:pt x="2454" y="10"/>
                  </a:lnTo>
                  <a:lnTo>
                    <a:pt x="2454" y="263"/>
                  </a:lnTo>
                  <a:lnTo>
                    <a:pt x="2454" y="263"/>
                  </a:lnTo>
                  <a:lnTo>
                    <a:pt x="2454" y="284"/>
                  </a:lnTo>
                  <a:lnTo>
                    <a:pt x="2455" y="302"/>
                  </a:lnTo>
                  <a:lnTo>
                    <a:pt x="2457" y="320"/>
                  </a:lnTo>
                  <a:lnTo>
                    <a:pt x="2459" y="336"/>
                  </a:lnTo>
                  <a:lnTo>
                    <a:pt x="2463" y="351"/>
                  </a:lnTo>
                  <a:lnTo>
                    <a:pt x="2468" y="364"/>
                  </a:lnTo>
                  <a:lnTo>
                    <a:pt x="2475" y="377"/>
                  </a:lnTo>
                  <a:lnTo>
                    <a:pt x="2482" y="387"/>
                  </a:lnTo>
                  <a:lnTo>
                    <a:pt x="2490" y="397"/>
                  </a:lnTo>
                  <a:lnTo>
                    <a:pt x="2500" y="405"/>
                  </a:lnTo>
                  <a:lnTo>
                    <a:pt x="2512" y="412"/>
                  </a:lnTo>
                  <a:lnTo>
                    <a:pt x="2525" y="418"/>
                  </a:lnTo>
                  <a:lnTo>
                    <a:pt x="2540" y="422"/>
                  </a:lnTo>
                  <a:lnTo>
                    <a:pt x="2556" y="425"/>
                  </a:lnTo>
                  <a:lnTo>
                    <a:pt x="2575" y="427"/>
                  </a:lnTo>
                  <a:lnTo>
                    <a:pt x="2595" y="428"/>
                  </a:lnTo>
                  <a:lnTo>
                    <a:pt x="2595" y="428"/>
                  </a:lnTo>
                  <a:lnTo>
                    <a:pt x="2611" y="427"/>
                  </a:lnTo>
                  <a:lnTo>
                    <a:pt x="2626" y="426"/>
                  </a:lnTo>
                  <a:lnTo>
                    <a:pt x="2640" y="425"/>
                  </a:lnTo>
                  <a:lnTo>
                    <a:pt x="2653" y="422"/>
                  </a:lnTo>
                  <a:lnTo>
                    <a:pt x="2677" y="417"/>
                  </a:lnTo>
                  <a:lnTo>
                    <a:pt x="2697" y="411"/>
                  </a:lnTo>
                  <a:lnTo>
                    <a:pt x="2714" y="404"/>
                  </a:lnTo>
                  <a:lnTo>
                    <a:pt x="2725" y="399"/>
                  </a:lnTo>
                  <a:lnTo>
                    <a:pt x="2737" y="394"/>
                  </a:lnTo>
                  <a:lnTo>
                    <a:pt x="2737" y="394"/>
                  </a:lnTo>
                  <a:lnTo>
                    <a:pt x="2743" y="397"/>
                  </a:lnTo>
                  <a:lnTo>
                    <a:pt x="2750" y="400"/>
                  </a:lnTo>
                  <a:lnTo>
                    <a:pt x="2761" y="403"/>
                  </a:lnTo>
                  <a:lnTo>
                    <a:pt x="2773" y="406"/>
                  </a:lnTo>
                  <a:lnTo>
                    <a:pt x="2788" y="409"/>
                  </a:lnTo>
                  <a:lnTo>
                    <a:pt x="2807" y="412"/>
                  </a:lnTo>
                  <a:lnTo>
                    <a:pt x="2828" y="413"/>
                  </a:lnTo>
                  <a:lnTo>
                    <a:pt x="2828" y="10"/>
                  </a:lnTo>
                  <a:lnTo>
                    <a:pt x="2828" y="10"/>
                  </a:lnTo>
                  <a:lnTo>
                    <a:pt x="2796" y="6"/>
                  </a:lnTo>
                  <a:lnTo>
                    <a:pt x="2774" y="5"/>
                  </a:lnTo>
                  <a:lnTo>
                    <a:pt x="2753" y="4"/>
                  </a:lnTo>
                  <a:lnTo>
                    <a:pt x="2735" y="4"/>
                  </a:lnTo>
                  <a:lnTo>
                    <a:pt x="2735" y="317"/>
                  </a:lnTo>
                  <a:close/>
                  <a:moveTo>
                    <a:pt x="2937" y="413"/>
                  </a:moveTo>
                  <a:lnTo>
                    <a:pt x="2937" y="413"/>
                  </a:lnTo>
                  <a:lnTo>
                    <a:pt x="2948" y="415"/>
                  </a:lnTo>
                  <a:lnTo>
                    <a:pt x="2976" y="420"/>
                  </a:lnTo>
                  <a:lnTo>
                    <a:pt x="2997" y="423"/>
                  </a:lnTo>
                  <a:lnTo>
                    <a:pt x="3020" y="425"/>
                  </a:lnTo>
                  <a:lnTo>
                    <a:pt x="3047" y="427"/>
                  </a:lnTo>
                  <a:lnTo>
                    <a:pt x="3075" y="428"/>
                  </a:lnTo>
                  <a:lnTo>
                    <a:pt x="3075" y="428"/>
                  </a:lnTo>
                  <a:lnTo>
                    <a:pt x="3091" y="427"/>
                  </a:lnTo>
                  <a:lnTo>
                    <a:pt x="3105" y="426"/>
                  </a:lnTo>
                  <a:lnTo>
                    <a:pt x="3120" y="425"/>
                  </a:lnTo>
                  <a:lnTo>
                    <a:pt x="3135" y="422"/>
                  </a:lnTo>
                  <a:lnTo>
                    <a:pt x="3150" y="419"/>
                  </a:lnTo>
                  <a:lnTo>
                    <a:pt x="3164" y="414"/>
                  </a:lnTo>
                  <a:lnTo>
                    <a:pt x="3178" y="408"/>
                  </a:lnTo>
                  <a:lnTo>
                    <a:pt x="3191" y="402"/>
                  </a:lnTo>
                  <a:lnTo>
                    <a:pt x="3202" y="394"/>
                  </a:lnTo>
                  <a:lnTo>
                    <a:pt x="3213" y="385"/>
                  </a:lnTo>
                  <a:lnTo>
                    <a:pt x="3223" y="375"/>
                  </a:lnTo>
                  <a:lnTo>
                    <a:pt x="3232" y="363"/>
                  </a:lnTo>
                  <a:lnTo>
                    <a:pt x="3239" y="350"/>
                  </a:lnTo>
                  <a:lnTo>
                    <a:pt x="3244" y="334"/>
                  </a:lnTo>
                  <a:lnTo>
                    <a:pt x="3247" y="318"/>
                  </a:lnTo>
                  <a:lnTo>
                    <a:pt x="3248" y="300"/>
                  </a:lnTo>
                  <a:lnTo>
                    <a:pt x="3248" y="300"/>
                  </a:lnTo>
                  <a:lnTo>
                    <a:pt x="3247" y="288"/>
                  </a:lnTo>
                  <a:lnTo>
                    <a:pt x="3246" y="277"/>
                  </a:lnTo>
                  <a:lnTo>
                    <a:pt x="3243" y="266"/>
                  </a:lnTo>
                  <a:lnTo>
                    <a:pt x="3239" y="256"/>
                  </a:lnTo>
                  <a:lnTo>
                    <a:pt x="3234" y="248"/>
                  </a:lnTo>
                  <a:lnTo>
                    <a:pt x="3228" y="239"/>
                  </a:lnTo>
                  <a:lnTo>
                    <a:pt x="3220" y="231"/>
                  </a:lnTo>
                  <a:lnTo>
                    <a:pt x="3213" y="224"/>
                  </a:lnTo>
                  <a:lnTo>
                    <a:pt x="3204" y="217"/>
                  </a:lnTo>
                  <a:lnTo>
                    <a:pt x="3194" y="211"/>
                  </a:lnTo>
                  <a:lnTo>
                    <a:pt x="3184" y="204"/>
                  </a:lnTo>
                  <a:lnTo>
                    <a:pt x="3171" y="199"/>
                  </a:lnTo>
                  <a:lnTo>
                    <a:pt x="3146" y="187"/>
                  </a:lnTo>
                  <a:lnTo>
                    <a:pt x="3117" y="176"/>
                  </a:lnTo>
                  <a:lnTo>
                    <a:pt x="3117" y="176"/>
                  </a:lnTo>
                  <a:lnTo>
                    <a:pt x="3086" y="164"/>
                  </a:lnTo>
                  <a:lnTo>
                    <a:pt x="3072" y="157"/>
                  </a:lnTo>
                  <a:lnTo>
                    <a:pt x="3060" y="151"/>
                  </a:lnTo>
                  <a:lnTo>
                    <a:pt x="3050" y="144"/>
                  </a:lnTo>
                  <a:lnTo>
                    <a:pt x="3046" y="140"/>
                  </a:lnTo>
                  <a:lnTo>
                    <a:pt x="3043" y="136"/>
                  </a:lnTo>
                  <a:lnTo>
                    <a:pt x="3040" y="132"/>
                  </a:lnTo>
                  <a:lnTo>
                    <a:pt x="3038" y="127"/>
                  </a:lnTo>
                  <a:lnTo>
                    <a:pt x="3037" y="121"/>
                  </a:lnTo>
                  <a:lnTo>
                    <a:pt x="3037" y="116"/>
                  </a:lnTo>
                  <a:lnTo>
                    <a:pt x="3037" y="116"/>
                  </a:lnTo>
                  <a:lnTo>
                    <a:pt x="3037" y="110"/>
                  </a:lnTo>
                  <a:lnTo>
                    <a:pt x="3039" y="104"/>
                  </a:lnTo>
                  <a:lnTo>
                    <a:pt x="3043" y="97"/>
                  </a:lnTo>
                  <a:lnTo>
                    <a:pt x="3049" y="90"/>
                  </a:lnTo>
                  <a:lnTo>
                    <a:pt x="3053" y="86"/>
                  </a:lnTo>
                  <a:lnTo>
                    <a:pt x="3057" y="83"/>
                  </a:lnTo>
                  <a:lnTo>
                    <a:pt x="3063" y="81"/>
                  </a:lnTo>
                  <a:lnTo>
                    <a:pt x="3069" y="78"/>
                  </a:lnTo>
                  <a:lnTo>
                    <a:pt x="3076" y="76"/>
                  </a:lnTo>
                  <a:lnTo>
                    <a:pt x="3084" y="75"/>
                  </a:lnTo>
                  <a:lnTo>
                    <a:pt x="3093" y="74"/>
                  </a:lnTo>
                  <a:lnTo>
                    <a:pt x="3103" y="74"/>
                  </a:lnTo>
                  <a:lnTo>
                    <a:pt x="3103" y="74"/>
                  </a:lnTo>
                  <a:lnTo>
                    <a:pt x="3122" y="75"/>
                  </a:lnTo>
                  <a:lnTo>
                    <a:pt x="3142" y="77"/>
                  </a:lnTo>
                  <a:lnTo>
                    <a:pt x="3159" y="81"/>
                  </a:lnTo>
                  <a:lnTo>
                    <a:pt x="3175" y="85"/>
                  </a:lnTo>
                  <a:lnTo>
                    <a:pt x="3199" y="94"/>
                  </a:lnTo>
                  <a:lnTo>
                    <a:pt x="3208" y="98"/>
                  </a:lnTo>
                  <a:lnTo>
                    <a:pt x="3232" y="30"/>
                  </a:lnTo>
                  <a:lnTo>
                    <a:pt x="3232" y="30"/>
                  </a:lnTo>
                  <a:lnTo>
                    <a:pt x="3213" y="22"/>
                  </a:lnTo>
                  <a:lnTo>
                    <a:pt x="3200" y="16"/>
                  </a:lnTo>
                  <a:lnTo>
                    <a:pt x="3184" y="12"/>
                  </a:lnTo>
                  <a:lnTo>
                    <a:pt x="3165" y="7"/>
                  </a:lnTo>
                  <a:lnTo>
                    <a:pt x="3144" y="4"/>
                  </a:lnTo>
                  <a:lnTo>
                    <a:pt x="3120" y="1"/>
                  </a:lnTo>
                  <a:lnTo>
                    <a:pt x="3095" y="0"/>
                  </a:lnTo>
                  <a:lnTo>
                    <a:pt x="3095" y="0"/>
                  </a:lnTo>
                  <a:lnTo>
                    <a:pt x="3080" y="1"/>
                  </a:lnTo>
                  <a:lnTo>
                    <a:pt x="3066" y="2"/>
                  </a:lnTo>
                  <a:lnTo>
                    <a:pt x="3052" y="4"/>
                  </a:lnTo>
                  <a:lnTo>
                    <a:pt x="3039" y="8"/>
                  </a:lnTo>
                  <a:lnTo>
                    <a:pt x="3025" y="12"/>
                  </a:lnTo>
                  <a:lnTo>
                    <a:pt x="3013" y="17"/>
                  </a:lnTo>
                  <a:lnTo>
                    <a:pt x="3001" y="24"/>
                  </a:lnTo>
                  <a:lnTo>
                    <a:pt x="2990" y="31"/>
                  </a:lnTo>
                  <a:lnTo>
                    <a:pt x="2979" y="39"/>
                  </a:lnTo>
                  <a:lnTo>
                    <a:pt x="2970" y="47"/>
                  </a:lnTo>
                  <a:lnTo>
                    <a:pt x="2962" y="58"/>
                  </a:lnTo>
                  <a:lnTo>
                    <a:pt x="2956" y="69"/>
                  </a:lnTo>
                  <a:lnTo>
                    <a:pt x="2950" y="80"/>
                  </a:lnTo>
                  <a:lnTo>
                    <a:pt x="2946" y="94"/>
                  </a:lnTo>
                  <a:lnTo>
                    <a:pt x="2944" y="107"/>
                  </a:lnTo>
                  <a:lnTo>
                    <a:pt x="2943" y="122"/>
                  </a:lnTo>
                  <a:lnTo>
                    <a:pt x="2943" y="122"/>
                  </a:lnTo>
                  <a:lnTo>
                    <a:pt x="2944" y="137"/>
                  </a:lnTo>
                  <a:lnTo>
                    <a:pt x="2946" y="150"/>
                  </a:lnTo>
                  <a:lnTo>
                    <a:pt x="2950" y="164"/>
                  </a:lnTo>
                  <a:lnTo>
                    <a:pt x="2956" y="175"/>
                  </a:lnTo>
                  <a:lnTo>
                    <a:pt x="2962" y="185"/>
                  </a:lnTo>
                  <a:lnTo>
                    <a:pt x="2970" y="194"/>
                  </a:lnTo>
                  <a:lnTo>
                    <a:pt x="2979" y="203"/>
                  </a:lnTo>
                  <a:lnTo>
                    <a:pt x="2988" y="210"/>
                  </a:lnTo>
                  <a:lnTo>
                    <a:pt x="2999" y="217"/>
                  </a:lnTo>
                  <a:lnTo>
                    <a:pt x="3010" y="223"/>
                  </a:lnTo>
                  <a:lnTo>
                    <a:pt x="3021" y="229"/>
                  </a:lnTo>
                  <a:lnTo>
                    <a:pt x="3032" y="235"/>
                  </a:lnTo>
                  <a:lnTo>
                    <a:pt x="3056" y="243"/>
                  </a:lnTo>
                  <a:lnTo>
                    <a:pt x="3079" y="251"/>
                  </a:lnTo>
                  <a:lnTo>
                    <a:pt x="3079" y="251"/>
                  </a:lnTo>
                  <a:lnTo>
                    <a:pt x="3108" y="261"/>
                  </a:lnTo>
                  <a:lnTo>
                    <a:pt x="3121" y="266"/>
                  </a:lnTo>
                  <a:lnTo>
                    <a:pt x="3133" y="273"/>
                  </a:lnTo>
                  <a:lnTo>
                    <a:pt x="3142" y="280"/>
                  </a:lnTo>
                  <a:lnTo>
                    <a:pt x="3148" y="287"/>
                  </a:lnTo>
                  <a:lnTo>
                    <a:pt x="3151" y="291"/>
                  </a:lnTo>
                  <a:lnTo>
                    <a:pt x="3153" y="296"/>
                  </a:lnTo>
                  <a:lnTo>
                    <a:pt x="3154" y="300"/>
                  </a:lnTo>
                  <a:lnTo>
                    <a:pt x="3154" y="306"/>
                  </a:lnTo>
                  <a:lnTo>
                    <a:pt x="3154" y="306"/>
                  </a:lnTo>
                  <a:lnTo>
                    <a:pt x="3154" y="315"/>
                  </a:lnTo>
                  <a:lnTo>
                    <a:pt x="3151" y="324"/>
                  </a:lnTo>
                  <a:lnTo>
                    <a:pt x="3149" y="328"/>
                  </a:lnTo>
                  <a:lnTo>
                    <a:pt x="3146" y="332"/>
                  </a:lnTo>
                  <a:lnTo>
                    <a:pt x="3143" y="335"/>
                  </a:lnTo>
                  <a:lnTo>
                    <a:pt x="3139" y="340"/>
                  </a:lnTo>
                  <a:lnTo>
                    <a:pt x="3134" y="343"/>
                  </a:lnTo>
                  <a:lnTo>
                    <a:pt x="3127" y="346"/>
                  </a:lnTo>
                  <a:lnTo>
                    <a:pt x="3121" y="348"/>
                  </a:lnTo>
                  <a:lnTo>
                    <a:pt x="3113" y="350"/>
                  </a:lnTo>
                  <a:lnTo>
                    <a:pt x="3104" y="352"/>
                  </a:lnTo>
                  <a:lnTo>
                    <a:pt x="3095" y="353"/>
                  </a:lnTo>
                  <a:lnTo>
                    <a:pt x="3071" y="354"/>
                  </a:lnTo>
                  <a:lnTo>
                    <a:pt x="3071" y="354"/>
                  </a:lnTo>
                  <a:lnTo>
                    <a:pt x="3050" y="354"/>
                  </a:lnTo>
                  <a:lnTo>
                    <a:pt x="3029" y="352"/>
                  </a:lnTo>
                  <a:lnTo>
                    <a:pt x="2992" y="348"/>
                  </a:lnTo>
                  <a:lnTo>
                    <a:pt x="2965" y="344"/>
                  </a:lnTo>
                  <a:lnTo>
                    <a:pt x="2955" y="342"/>
                  </a:lnTo>
                  <a:lnTo>
                    <a:pt x="2937" y="413"/>
                  </a:lnTo>
                  <a:close/>
                  <a:moveTo>
                    <a:pt x="1639" y="80"/>
                  </a:moveTo>
                  <a:lnTo>
                    <a:pt x="1639" y="80"/>
                  </a:lnTo>
                  <a:lnTo>
                    <a:pt x="1653" y="77"/>
                  </a:lnTo>
                  <a:lnTo>
                    <a:pt x="1670" y="75"/>
                  </a:lnTo>
                  <a:lnTo>
                    <a:pt x="1691" y="73"/>
                  </a:lnTo>
                  <a:lnTo>
                    <a:pt x="1712" y="73"/>
                  </a:lnTo>
                  <a:lnTo>
                    <a:pt x="1712" y="73"/>
                  </a:lnTo>
                  <a:lnTo>
                    <a:pt x="1726" y="73"/>
                  </a:lnTo>
                  <a:lnTo>
                    <a:pt x="1737" y="74"/>
                  </a:lnTo>
                  <a:lnTo>
                    <a:pt x="1749" y="77"/>
                  </a:lnTo>
                  <a:lnTo>
                    <a:pt x="1760" y="80"/>
                  </a:lnTo>
                  <a:lnTo>
                    <a:pt x="1771" y="84"/>
                  </a:lnTo>
                  <a:lnTo>
                    <a:pt x="1780" y="90"/>
                  </a:lnTo>
                  <a:lnTo>
                    <a:pt x="1790" y="97"/>
                  </a:lnTo>
                  <a:lnTo>
                    <a:pt x="1798" y="104"/>
                  </a:lnTo>
                  <a:lnTo>
                    <a:pt x="1805" y="113"/>
                  </a:lnTo>
                  <a:lnTo>
                    <a:pt x="1813" y="122"/>
                  </a:lnTo>
                  <a:lnTo>
                    <a:pt x="1819" y="134"/>
                  </a:lnTo>
                  <a:lnTo>
                    <a:pt x="1824" y="147"/>
                  </a:lnTo>
                  <a:lnTo>
                    <a:pt x="1828" y="161"/>
                  </a:lnTo>
                  <a:lnTo>
                    <a:pt x="1831" y="176"/>
                  </a:lnTo>
                  <a:lnTo>
                    <a:pt x="1832" y="192"/>
                  </a:lnTo>
                  <a:lnTo>
                    <a:pt x="1833" y="211"/>
                  </a:lnTo>
                  <a:lnTo>
                    <a:pt x="1833" y="211"/>
                  </a:lnTo>
                  <a:lnTo>
                    <a:pt x="1833" y="228"/>
                  </a:lnTo>
                  <a:lnTo>
                    <a:pt x="1832" y="245"/>
                  </a:lnTo>
                  <a:lnTo>
                    <a:pt x="1830" y="260"/>
                  </a:lnTo>
                  <a:lnTo>
                    <a:pt x="1827" y="275"/>
                  </a:lnTo>
                  <a:lnTo>
                    <a:pt x="1824" y="288"/>
                  </a:lnTo>
                  <a:lnTo>
                    <a:pt x="1820" y="299"/>
                  </a:lnTo>
                  <a:lnTo>
                    <a:pt x="1814" y="311"/>
                  </a:lnTo>
                  <a:lnTo>
                    <a:pt x="1807" y="320"/>
                  </a:lnTo>
                  <a:lnTo>
                    <a:pt x="1799" y="328"/>
                  </a:lnTo>
                  <a:lnTo>
                    <a:pt x="1790" y="335"/>
                  </a:lnTo>
                  <a:lnTo>
                    <a:pt x="1780" y="342"/>
                  </a:lnTo>
                  <a:lnTo>
                    <a:pt x="1768" y="347"/>
                  </a:lnTo>
                  <a:lnTo>
                    <a:pt x="1754" y="350"/>
                  </a:lnTo>
                  <a:lnTo>
                    <a:pt x="1739" y="353"/>
                  </a:lnTo>
                  <a:lnTo>
                    <a:pt x="1723" y="355"/>
                  </a:lnTo>
                  <a:lnTo>
                    <a:pt x="1704" y="355"/>
                  </a:lnTo>
                  <a:lnTo>
                    <a:pt x="1704" y="355"/>
                  </a:lnTo>
                  <a:lnTo>
                    <a:pt x="1681" y="354"/>
                  </a:lnTo>
                  <a:lnTo>
                    <a:pt x="1659" y="353"/>
                  </a:lnTo>
                  <a:lnTo>
                    <a:pt x="1639" y="351"/>
                  </a:lnTo>
                  <a:lnTo>
                    <a:pt x="1639" y="80"/>
                  </a:lnTo>
                  <a:close/>
                  <a:moveTo>
                    <a:pt x="1717" y="0"/>
                  </a:moveTo>
                  <a:lnTo>
                    <a:pt x="1717" y="0"/>
                  </a:lnTo>
                  <a:lnTo>
                    <a:pt x="1696" y="1"/>
                  </a:lnTo>
                  <a:lnTo>
                    <a:pt x="1675" y="2"/>
                  </a:lnTo>
                  <a:lnTo>
                    <a:pt x="1652" y="4"/>
                  </a:lnTo>
                  <a:lnTo>
                    <a:pt x="1629" y="7"/>
                  </a:lnTo>
                  <a:lnTo>
                    <a:pt x="1606" y="10"/>
                  </a:lnTo>
                  <a:lnTo>
                    <a:pt x="1585" y="14"/>
                  </a:lnTo>
                  <a:lnTo>
                    <a:pt x="1564" y="20"/>
                  </a:lnTo>
                  <a:lnTo>
                    <a:pt x="1546" y="26"/>
                  </a:lnTo>
                  <a:lnTo>
                    <a:pt x="1546" y="415"/>
                  </a:lnTo>
                  <a:lnTo>
                    <a:pt x="1546" y="415"/>
                  </a:lnTo>
                  <a:lnTo>
                    <a:pt x="1561" y="418"/>
                  </a:lnTo>
                  <a:lnTo>
                    <a:pt x="1580" y="420"/>
                  </a:lnTo>
                  <a:lnTo>
                    <a:pt x="1619" y="424"/>
                  </a:lnTo>
                  <a:lnTo>
                    <a:pt x="1662" y="427"/>
                  </a:lnTo>
                  <a:lnTo>
                    <a:pt x="1701" y="428"/>
                  </a:lnTo>
                  <a:lnTo>
                    <a:pt x="1701" y="428"/>
                  </a:lnTo>
                  <a:lnTo>
                    <a:pt x="1732" y="427"/>
                  </a:lnTo>
                  <a:lnTo>
                    <a:pt x="1758" y="425"/>
                  </a:lnTo>
                  <a:lnTo>
                    <a:pt x="1784" y="421"/>
                  </a:lnTo>
                  <a:lnTo>
                    <a:pt x="1807" y="415"/>
                  </a:lnTo>
                  <a:lnTo>
                    <a:pt x="1828" y="408"/>
                  </a:lnTo>
                  <a:lnTo>
                    <a:pt x="1847" y="399"/>
                  </a:lnTo>
                  <a:lnTo>
                    <a:pt x="1855" y="394"/>
                  </a:lnTo>
                  <a:lnTo>
                    <a:pt x="1864" y="389"/>
                  </a:lnTo>
                  <a:lnTo>
                    <a:pt x="1872" y="383"/>
                  </a:lnTo>
                  <a:lnTo>
                    <a:pt x="1879" y="377"/>
                  </a:lnTo>
                  <a:lnTo>
                    <a:pt x="1885" y="369"/>
                  </a:lnTo>
                  <a:lnTo>
                    <a:pt x="1891" y="362"/>
                  </a:lnTo>
                  <a:lnTo>
                    <a:pt x="1897" y="355"/>
                  </a:lnTo>
                  <a:lnTo>
                    <a:pt x="1902" y="347"/>
                  </a:lnTo>
                  <a:lnTo>
                    <a:pt x="1907" y="337"/>
                  </a:lnTo>
                  <a:lnTo>
                    <a:pt x="1912" y="329"/>
                  </a:lnTo>
                  <a:lnTo>
                    <a:pt x="1919" y="309"/>
                  </a:lnTo>
                  <a:lnTo>
                    <a:pt x="1924" y="287"/>
                  </a:lnTo>
                  <a:lnTo>
                    <a:pt x="1928" y="264"/>
                  </a:lnTo>
                  <a:lnTo>
                    <a:pt x="1930" y="239"/>
                  </a:lnTo>
                  <a:lnTo>
                    <a:pt x="1931" y="211"/>
                  </a:lnTo>
                  <a:lnTo>
                    <a:pt x="1931" y="211"/>
                  </a:lnTo>
                  <a:lnTo>
                    <a:pt x="1930" y="187"/>
                  </a:lnTo>
                  <a:lnTo>
                    <a:pt x="1927" y="164"/>
                  </a:lnTo>
                  <a:lnTo>
                    <a:pt x="1923" y="143"/>
                  </a:lnTo>
                  <a:lnTo>
                    <a:pt x="1917" y="122"/>
                  </a:lnTo>
                  <a:lnTo>
                    <a:pt x="1909" y="104"/>
                  </a:lnTo>
                  <a:lnTo>
                    <a:pt x="1898" y="86"/>
                  </a:lnTo>
                  <a:lnTo>
                    <a:pt x="1887" y="71"/>
                  </a:lnTo>
                  <a:lnTo>
                    <a:pt x="1874" y="57"/>
                  </a:lnTo>
                  <a:lnTo>
                    <a:pt x="1860" y="43"/>
                  </a:lnTo>
                  <a:lnTo>
                    <a:pt x="1843" y="32"/>
                  </a:lnTo>
                  <a:lnTo>
                    <a:pt x="1826" y="23"/>
                  </a:lnTo>
                  <a:lnTo>
                    <a:pt x="1806" y="14"/>
                  </a:lnTo>
                  <a:lnTo>
                    <a:pt x="1786" y="8"/>
                  </a:lnTo>
                  <a:lnTo>
                    <a:pt x="1764" y="4"/>
                  </a:lnTo>
                  <a:lnTo>
                    <a:pt x="1741" y="1"/>
                  </a:lnTo>
                  <a:lnTo>
                    <a:pt x="1717" y="0"/>
                  </a:lnTo>
                  <a:close/>
                </a:path>
              </a:pathLst>
            </a:custGeom>
            <a:solidFill>
              <a:srgbClr val="005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5160" y="3974"/>
              <a:ext cx="76" cy="107"/>
            </a:xfrm>
            <a:custGeom>
              <a:avLst/>
              <a:gdLst>
                <a:gd name="T0" fmla="*/ 0 w 305"/>
                <a:gd name="T1" fmla="*/ 407 h 428"/>
                <a:gd name="T2" fmla="*/ 0 w 305"/>
                <a:gd name="T3" fmla="*/ 407 h 428"/>
                <a:gd name="T4" fmla="*/ 13 w 305"/>
                <a:gd name="T5" fmla="*/ 411 h 428"/>
                <a:gd name="T6" fmla="*/ 47 w 305"/>
                <a:gd name="T7" fmla="*/ 418 h 428"/>
                <a:gd name="T8" fmla="*/ 71 w 305"/>
                <a:gd name="T9" fmla="*/ 421 h 428"/>
                <a:gd name="T10" fmla="*/ 98 w 305"/>
                <a:gd name="T11" fmla="*/ 425 h 428"/>
                <a:gd name="T12" fmla="*/ 129 w 305"/>
                <a:gd name="T13" fmla="*/ 427 h 428"/>
                <a:gd name="T14" fmla="*/ 163 w 305"/>
                <a:gd name="T15" fmla="*/ 428 h 428"/>
                <a:gd name="T16" fmla="*/ 163 w 305"/>
                <a:gd name="T17" fmla="*/ 428 h 428"/>
                <a:gd name="T18" fmla="*/ 197 w 305"/>
                <a:gd name="T19" fmla="*/ 427 h 428"/>
                <a:gd name="T20" fmla="*/ 226 w 305"/>
                <a:gd name="T21" fmla="*/ 426 h 428"/>
                <a:gd name="T22" fmla="*/ 251 w 305"/>
                <a:gd name="T23" fmla="*/ 424 h 428"/>
                <a:gd name="T24" fmla="*/ 270 w 305"/>
                <a:gd name="T25" fmla="*/ 422 h 428"/>
                <a:gd name="T26" fmla="*/ 297 w 305"/>
                <a:gd name="T27" fmla="*/ 419 h 428"/>
                <a:gd name="T28" fmla="*/ 305 w 305"/>
                <a:gd name="T29" fmla="*/ 417 h 428"/>
                <a:gd name="T30" fmla="*/ 305 w 305"/>
                <a:gd name="T31" fmla="*/ 346 h 428"/>
                <a:gd name="T32" fmla="*/ 305 w 305"/>
                <a:gd name="T33" fmla="*/ 346 h 428"/>
                <a:gd name="T34" fmla="*/ 297 w 305"/>
                <a:gd name="T35" fmla="*/ 347 h 428"/>
                <a:gd name="T36" fmla="*/ 272 w 305"/>
                <a:gd name="T37" fmla="*/ 351 h 428"/>
                <a:gd name="T38" fmla="*/ 235 w 305"/>
                <a:gd name="T39" fmla="*/ 354 h 428"/>
                <a:gd name="T40" fmla="*/ 213 w 305"/>
                <a:gd name="T41" fmla="*/ 355 h 428"/>
                <a:gd name="T42" fmla="*/ 188 w 305"/>
                <a:gd name="T43" fmla="*/ 355 h 428"/>
                <a:gd name="T44" fmla="*/ 188 w 305"/>
                <a:gd name="T45" fmla="*/ 355 h 428"/>
                <a:gd name="T46" fmla="*/ 167 w 305"/>
                <a:gd name="T47" fmla="*/ 355 h 428"/>
                <a:gd name="T48" fmla="*/ 149 w 305"/>
                <a:gd name="T49" fmla="*/ 354 h 428"/>
                <a:gd name="T50" fmla="*/ 118 w 305"/>
                <a:gd name="T51" fmla="*/ 351 h 428"/>
                <a:gd name="T52" fmla="*/ 99 w 305"/>
                <a:gd name="T53" fmla="*/ 349 h 428"/>
                <a:gd name="T54" fmla="*/ 92 w 305"/>
                <a:gd name="T55" fmla="*/ 348 h 428"/>
                <a:gd name="T56" fmla="*/ 92 w 305"/>
                <a:gd name="T57" fmla="*/ 247 h 428"/>
                <a:gd name="T58" fmla="*/ 276 w 305"/>
                <a:gd name="T59" fmla="*/ 247 h 428"/>
                <a:gd name="T60" fmla="*/ 276 w 305"/>
                <a:gd name="T61" fmla="*/ 175 h 428"/>
                <a:gd name="T62" fmla="*/ 92 w 305"/>
                <a:gd name="T63" fmla="*/ 175 h 428"/>
                <a:gd name="T64" fmla="*/ 92 w 305"/>
                <a:gd name="T65" fmla="*/ 79 h 428"/>
                <a:gd name="T66" fmla="*/ 92 w 305"/>
                <a:gd name="T67" fmla="*/ 79 h 428"/>
                <a:gd name="T68" fmla="*/ 99 w 305"/>
                <a:gd name="T69" fmla="*/ 78 h 428"/>
                <a:gd name="T70" fmla="*/ 117 w 305"/>
                <a:gd name="T71" fmla="*/ 76 h 428"/>
                <a:gd name="T72" fmla="*/ 145 w 305"/>
                <a:gd name="T73" fmla="*/ 74 h 428"/>
                <a:gd name="T74" fmla="*/ 182 w 305"/>
                <a:gd name="T75" fmla="*/ 73 h 428"/>
                <a:gd name="T76" fmla="*/ 182 w 305"/>
                <a:gd name="T77" fmla="*/ 73 h 428"/>
                <a:gd name="T78" fmla="*/ 205 w 305"/>
                <a:gd name="T79" fmla="*/ 73 h 428"/>
                <a:gd name="T80" fmla="*/ 226 w 305"/>
                <a:gd name="T81" fmla="*/ 74 h 428"/>
                <a:gd name="T82" fmla="*/ 263 w 305"/>
                <a:gd name="T83" fmla="*/ 77 h 428"/>
                <a:gd name="T84" fmla="*/ 289 w 305"/>
                <a:gd name="T85" fmla="*/ 80 h 428"/>
                <a:gd name="T86" fmla="*/ 298 w 305"/>
                <a:gd name="T87" fmla="*/ 82 h 428"/>
                <a:gd name="T88" fmla="*/ 298 w 305"/>
                <a:gd name="T89" fmla="*/ 10 h 428"/>
                <a:gd name="T90" fmla="*/ 298 w 305"/>
                <a:gd name="T91" fmla="*/ 10 h 428"/>
                <a:gd name="T92" fmla="*/ 289 w 305"/>
                <a:gd name="T93" fmla="*/ 9 h 428"/>
                <a:gd name="T94" fmla="*/ 264 w 305"/>
                <a:gd name="T95" fmla="*/ 5 h 428"/>
                <a:gd name="T96" fmla="*/ 224 w 305"/>
                <a:gd name="T97" fmla="*/ 2 h 428"/>
                <a:gd name="T98" fmla="*/ 200 w 305"/>
                <a:gd name="T99" fmla="*/ 1 h 428"/>
                <a:gd name="T100" fmla="*/ 172 w 305"/>
                <a:gd name="T101" fmla="*/ 0 h 428"/>
                <a:gd name="T102" fmla="*/ 172 w 305"/>
                <a:gd name="T103" fmla="*/ 0 h 428"/>
                <a:gd name="T104" fmla="*/ 134 w 305"/>
                <a:gd name="T105" fmla="*/ 1 h 428"/>
                <a:gd name="T106" fmla="*/ 102 w 305"/>
                <a:gd name="T107" fmla="*/ 3 h 428"/>
                <a:gd name="T108" fmla="*/ 72 w 305"/>
                <a:gd name="T109" fmla="*/ 6 h 428"/>
                <a:gd name="T110" fmla="*/ 47 w 305"/>
                <a:gd name="T111" fmla="*/ 9 h 428"/>
                <a:gd name="T112" fmla="*/ 27 w 305"/>
                <a:gd name="T113" fmla="*/ 13 h 428"/>
                <a:gd name="T114" fmla="*/ 13 w 305"/>
                <a:gd name="T115" fmla="*/ 15 h 428"/>
                <a:gd name="T116" fmla="*/ 0 w 305"/>
                <a:gd name="T117" fmla="*/ 19 h 428"/>
                <a:gd name="T118" fmla="*/ 0 w 305"/>
                <a:gd name="T119" fmla="*/ 407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05" h="428">
                  <a:moveTo>
                    <a:pt x="0" y="407"/>
                  </a:moveTo>
                  <a:lnTo>
                    <a:pt x="0" y="407"/>
                  </a:lnTo>
                  <a:lnTo>
                    <a:pt x="13" y="411"/>
                  </a:lnTo>
                  <a:lnTo>
                    <a:pt x="47" y="418"/>
                  </a:lnTo>
                  <a:lnTo>
                    <a:pt x="71" y="421"/>
                  </a:lnTo>
                  <a:lnTo>
                    <a:pt x="98" y="425"/>
                  </a:lnTo>
                  <a:lnTo>
                    <a:pt x="129" y="427"/>
                  </a:lnTo>
                  <a:lnTo>
                    <a:pt x="163" y="428"/>
                  </a:lnTo>
                  <a:lnTo>
                    <a:pt x="163" y="428"/>
                  </a:lnTo>
                  <a:lnTo>
                    <a:pt x="197" y="427"/>
                  </a:lnTo>
                  <a:lnTo>
                    <a:pt x="226" y="426"/>
                  </a:lnTo>
                  <a:lnTo>
                    <a:pt x="251" y="424"/>
                  </a:lnTo>
                  <a:lnTo>
                    <a:pt x="270" y="422"/>
                  </a:lnTo>
                  <a:lnTo>
                    <a:pt x="297" y="419"/>
                  </a:lnTo>
                  <a:lnTo>
                    <a:pt x="305" y="417"/>
                  </a:lnTo>
                  <a:lnTo>
                    <a:pt x="305" y="346"/>
                  </a:lnTo>
                  <a:lnTo>
                    <a:pt x="305" y="346"/>
                  </a:lnTo>
                  <a:lnTo>
                    <a:pt x="297" y="347"/>
                  </a:lnTo>
                  <a:lnTo>
                    <a:pt x="272" y="351"/>
                  </a:lnTo>
                  <a:lnTo>
                    <a:pt x="235" y="354"/>
                  </a:lnTo>
                  <a:lnTo>
                    <a:pt x="213" y="355"/>
                  </a:lnTo>
                  <a:lnTo>
                    <a:pt x="188" y="355"/>
                  </a:lnTo>
                  <a:lnTo>
                    <a:pt x="188" y="355"/>
                  </a:lnTo>
                  <a:lnTo>
                    <a:pt x="167" y="355"/>
                  </a:lnTo>
                  <a:lnTo>
                    <a:pt x="149" y="354"/>
                  </a:lnTo>
                  <a:lnTo>
                    <a:pt x="118" y="351"/>
                  </a:lnTo>
                  <a:lnTo>
                    <a:pt x="99" y="349"/>
                  </a:lnTo>
                  <a:lnTo>
                    <a:pt x="92" y="348"/>
                  </a:lnTo>
                  <a:lnTo>
                    <a:pt x="92" y="247"/>
                  </a:lnTo>
                  <a:lnTo>
                    <a:pt x="276" y="247"/>
                  </a:lnTo>
                  <a:lnTo>
                    <a:pt x="276" y="175"/>
                  </a:lnTo>
                  <a:lnTo>
                    <a:pt x="92" y="175"/>
                  </a:lnTo>
                  <a:lnTo>
                    <a:pt x="92" y="79"/>
                  </a:lnTo>
                  <a:lnTo>
                    <a:pt x="92" y="79"/>
                  </a:lnTo>
                  <a:lnTo>
                    <a:pt x="99" y="78"/>
                  </a:lnTo>
                  <a:lnTo>
                    <a:pt x="117" y="76"/>
                  </a:lnTo>
                  <a:lnTo>
                    <a:pt x="145" y="74"/>
                  </a:lnTo>
                  <a:lnTo>
                    <a:pt x="182" y="73"/>
                  </a:lnTo>
                  <a:lnTo>
                    <a:pt x="182" y="73"/>
                  </a:lnTo>
                  <a:lnTo>
                    <a:pt x="205" y="73"/>
                  </a:lnTo>
                  <a:lnTo>
                    <a:pt x="226" y="74"/>
                  </a:lnTo>
                  <a:lnTo>
                    <a:pt x="263" y="77"/>
                  </a:lnTo>
                  <a:lnTo>
                    <a:pt x="289" y="80"/>
                  </a:lnTo>
                  <a:lnTo>
                    <a:pt x="298" y="82"/>
                  </a:lnTo>
                  <a:lnTo>
                    <a:pt x="298" y="10"/>
                  </a:lnTo>
                  <a:lnTo>
                    <a:pt x="298" y="10"/>
                  </a:lnTo>
                  <a:lnTo>
                    <a:pt x="289" y="9"/>
                  </a:lnTo>
                  <a:lnTo>
                    <a:pt x="264" y="5"/>
                  </a:lnTo>
                  <a:lnTo>
                    <a:pt x="224" y="2"/>
                  </a:lnTo>
                  <a:lnTo>
                    <a:pt x="200" y="1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34" y="1"/>
                  </a:lnTo>
                  <a:lnTo>
                    <a:pt x="102" y="3"/>
                  </a:lnTo>
                  <a:lnTo>
                    <a:pt x="72" y="6"/>
                  </a:lnTo>
                  <a:lnTo>
                    <a:pt x="47" y="9"/>
                  </a:lnTo>
                  <a:lnTo>
                    <a:pt x="27" y="13"/>
                  </a:lnTo>
                  <a:lnTo>
                    <a:pt x="13" y="15"/>
                  </a:lnTo>
                  <a:lnTo>
                    <a:pt x="0" y="19"/>
                  </a:lnTo>
                  <a:lnTo>
                    <a:pt x="0" y="40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4767" y="3974"/>
              <a:ext cx="124" cy="105"/>
            </a:xfrm>
            <a:custGeom>
              <a:avLst/>
              <a:gdLst>
                <a:gd name="T0" fmla="*/ 255 w 496"/>
                <a:gd name="T1" fmla="*/ 246 h 422"/>
                <a:gd name="T2" fmla="*/ 255 w 496"/>
                <a:gd name="T3" fmla="*/ 246 h 422"/>
                <a:gd name="T4" fmla="*/ 251 w 496"/>
                <a:gd name="T5" fmla="*/ 257 h 422"/>
                <a:gd name="T6" fmla="*/ 248 w 496"/>
                <a:gd name="T7" fmla="*/ 270 h 422"/>
                <a:gd name="T8" fmla="*/ 248 w 496"/>
                <a:gd name="T9" fmla="*/ 270 h 422"/>
                <a:gd name="T10" fmla="*/ 244 w 496"/>
                <a:gd name="T11" fmla="*/ 257 h 422"/>
                <a:gd name="T12" fmla="*/ 241 w 496"/>
                <a:gd name="T13" fmla="*/ 246 h 422"/>
                <a:gd name="T14" fmla="*/ 159 w 496"/>
                <a:gd name="T15" fmla="*/ 39 h 422"/>
                <a:gd name="T16" fmla="*/ 159 w 496"/>
                <a:gd name="T17" fmla="*/ 39 h 422"/>
                <a:gd name="T18" fmla="*/ 153 w 496"/>
                <a:gd name="T19" fmla="*/ 28 h 422"/>
                <a:gd name="T20" fmla="*/ 147 w 496"/>
                <a:gd name="T21" fmla="*/ 19 h 422"/>
                <a:gd name="T22" fmla="*/ 140 w 496"/>
                <a:gd name="T23" fmla="*/ 11 h 422"/>
                <a:gd name="T24" fmla="*/ 132 w 496"/>
                <a:gd name="T25" fmla="*/ 7 h 422"/>
                <a:gd name="T26" fmla="*/ 122 w 496"/>
                <a:gd name="T27" fmla="*/ 3 h 422"/>
                <a:gd name="T28" fmla="*/ 110 w 496"/>
                <a:gd name="T29" fmla="*/ 1 h 422"/>
                <a:gd name="T30" fmla="*/ 98 w 496"/>
                <a:gd name="T31" fmla="*/ 1 h 422"/>
                <a:gd name="T32" fmla="*/ 84 w 496"/>
                <a:gd name="T33" fmla="*/ 0 h 422"/>
                <a:gd name="T34" fmla="*/ 84 w 496"/>
                <a:gd name="T35" fmla="*/ 0 h 422"/>
                <a:gd name="T36" fmla="*/ 58 w 496"/>
                <a:gd name="T37" fmla="*/ 1 h 422"/>
                <a:gd name="T38" fmla="*/ 42 w 496"/>
                <a:gd name="T39" fmla="*/ 2 h 422"/>
                <a:gd name="T40" fmla="*/ 0 w 496"/>
                <a:gd name="T41" fmla="*/ 422 h 422"/>
                <a:gd name="T42" fmla="*/ 93 w 496"/>
                <a:gd name="T43" fmla="*/ 422 h 422"/>
                <a:gd name="T44" fmla="*/ 113 w 496"/>
                <a:gd name="T45" fmla="*/ 140 h 422"/>
                <a:gd name="T46" fmla="*/ 201 w 496"/>
                <a:gd name="T47" fmla="*/ 353 h 422"/>
                <a:gd name="T48" fmla="*/ 201 w 496"/>
                <a:gd name="T49" fmla="*/ 353 h 422"/>
                <a:gd name="T50" fmla="*/ 204 w 496"/>
                <a:gd name="T51" fmla="*/ 359 h 422"/>
                <a:gd name="T52" fmla="*/ 208 w 496"/>
                <a:gd name="T53" fmla="*/ 364 h 422"/>
                <a:gd name="T54" fmla="*/ 213 w 496"/>
                <a:gd name="T55" fmla="*/ 368 h 422"/>
                <a:gd name="T56" fmla="*/ 218 w 496"/>
                <a:gd name="T57" fmla="*/ 371 h 422"/>
                <a:gd name="T58" fmla="*/ 224 w 496"/>
                <a:gd name="T59" fmla="*/ 373 h 422"/>
                <a:gd name="T60" fmla="*/ 231 w 496"/>
                <a:gd name="T61" fmla="*/ 376 h 422"/>
                <a:gd name="T62" fmla="*/ 239 w 496"/>
                <a:gd name="T63" fmla="*/ 377 h 422"/>
                <a:gd name="T64" fmla="*/ 248 w 496"/>
                <a:gd name="T65" fmla="*/ 377 h 422"/>
                <a:gd name="T66" fmla="*/ 248 w 496"/>
                <a:gd name="T67" fmla="*/ 377 h 422"/>
                <a:gd name="T68" fmla="*/ 257 w 496"/>
                <a:gd name="T69" fmla="*/ 377 h 422"/>
                <a:gd name="T70" fmla="*/ 266 w 496"/>
                <a:gd name="T71" fmla="*/ 376 h 422"/>
                <a:gd name="T72" fmla="*/ 273 w 496"/>
                <a:gd name="T73" fmla="*/ 373 h 422"/>
                <a:gd name="T74" fmla="*/ 279 w 496"/>
                <a:gd name="T75" fmla="*/ 371 h 422"/>
                <a:gd name="T76" fmla="*/ 284 w 496"/>
                <a:gd name="T77" fmla="*/ 368 h 422"/>
                <a:gd name="T78" fmla="*/ 288 w 496"/>
                <a:gd name="T79" fmla="*/ 364 h 422"/>
                <a:gd name="T80" fmla="*/ 291 w 496"/>
                <a:gd name="T81" fmla="*/ 359 h 422"/>
                <a:gd name="T82" fmla="*/ 294 w 496"/>
                <a:gd name="T83" fmla="*/ 353 h 422"/>
                <a:gd name="T84" fmla="*/ 382 w 496"/>
                <a:gd name="T85" fmla="*/ 140 h 422"/>
                <a:gd name="T86" fmla="*/ 403 w 496"/>
                <a:gd name="T87" fmla="*/ 422 h 422"/>
                <a:gd name="T88" fmla="*/ 496 w 496"/>
                <a:gd name="T89" fmla="*/ 422 h 422"/>
                <a:gd name="T90" fmla="*/ 454 w 496"/>
                <a:gd name="T91" fmla="*/ 2 h 422"/>
                <a:gd name="T92" fmla="*/ 454 w 496"/>
                <a:gd name="T93" fmla="*/ 2 h 422"/>
                <a:gd name="T94" fmla="*/ 438 w 496"/>
                <a:gd name="T95" fmla="*/ 1 h 422"/>
                <a:gd name="T96" fmla="*/ 412 w 496"/>
                <a:gd name="T97" fmla="*/ 0 h 422"/>
                <a:gd name="T98" fmla="*/ 412 w 496"/>
                <a:gd name="T99" fmla="*/ 0 h 422"/>
                <a:gd name="T100" fmla="*/ 397 w 496"/>
                <a:gd name="T101" fmla="*/ 1 h 422"/>
                <a:gd name="T102" fmla="*/ 385 w 496"/>
                <a:gd name="T103" fmla="*/ 1 h 422"/>
                <a:gd name="T104" fmla="*/ 374 w 496"/>
                <a:gd name="T105" fmla="*/ 3 h 422"/>
                <a:gd name="T106" fmla="*/ 365 w 496"/>
                <a:gd name="T107" fmla="*/ 7 h 422"/>
                <a:gd name="T108" fmla="*/ 356 w 496"/>
                <a:gd name="T109" fmla="*/ 11 h 422"/>
                <a:gd name="T110" fmla="*/ 348 w 496"/>
                <a:gd name="T111" fmla="*/ 19 h 422"/>
                <a:gd name="T112" fmla="*/ 342 w 496"/>
                <a:gd name="T113" fmla="*/ 28 h 422"/>
                <a:gd name="T114" fmla="*/ 337 w 496"/>
                <a:gd name="T115" fmla="*/ 39 h 422"/>
                <a:gd name="T116" fmla="*/ 255 w 496"/>
                <a:gd name="T117" fmla="*/ 246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" h="422">
                  <a:moveTo>
                    <a:pt x="255" y="246"/>
                  </a:moveTo>
                  <a:lnTo>
                    <a:pt x="255" y="246"/>
                  </a:lnTo>
                  <a:lnTo>
                    <a:pt x="251" y="257"/>
                  </a:lnTo>
                  <a:lnTo>
                    <a:pt x="248" y="270"/>
                  </a:lnTo>
                  <a:lnTo>
                    <a:pt x="248" y="270"/>
                  </a:lnTo>
                  <a:lnTo>
                    <a:pt x="244" y="257"/>
                  </a:lnTo>
                  <a:lnTo>
                    <a:pt x="241" y="246"/>
                  </a:lnTo>
                  <a:lnTo>
                    <a:pt x="159" y="39"/>
                  </a:lnTo>
                  <a:lnTo>
                    <a:pt x="159" y="39"/>
                  </a:lnTo>
                  <a:lnTo>
                    <a:pt x="153" y="28"/>
                  </a:lnTo>
                  <a:lnTo>
                    <a:pt x="147" y="19"/>
                  </a:lnTo>
                  <a:lnTo>
                    <a:pt x="140" y="11"/>
                  </a:lnTo>
                  <a:lnTo>
                    <a:pt x="132" y="7"/>
                  </a:lnTo>
                  <a:lnTo>
                    <a:pt x="122" y="3"/>
                  </a:lnTo>
                  <a:lnTo>
                    <a:pt x="110" y="1"/>
                  </a:lnTo>
                  <a:lnTo>
                    <a:pt x="98" y="1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58" y="1"/>
                  </a:lnTo>
                  <a:lnTo>
                    <a:pt x="42" y="2"/>
                  </a:lnTo>
                  <a:lnTo>
                    <a:pt x="0" y="422"/>
                  </a:lnTo>
                  <a:lnTo>
                    <a:pt x="93" y="422"/>
                  </a:lnTo>
                  <a:lnTo>
                    <a:pt x="113" y="140"/>
                  </a:lnTo>
                  <a:lnTo>
                    <a:pt x="201" y="353"/>
                  </a:lnTo>
                  <a:lnTo>
                    <a:pt x="201" y="353"/>
                  </a:lnTo>
                  <a:lnTo>
                    <a:pt x="204" y="359"/>
                  </a:lnTo>
                  <a:lnTo>
                    <a:pt x="208" y="364"/>
                  </a:lnTo>
                  <a:lnTo>
                    <a:pt x="213" y="368"/>
                  </a:lnTo>
                  <a:lnTo>
                    <a:pt x="218" y="371"/>
                  </a:lnTo>
                  <a:lnTo>
                    <a:pt x="224" y="373"/>
                  </a:lnTo>
                  <a:lnTo>
                    <a:pt x="231" y="376"/>
                  </a:lnTo>
                  <a:lnTo>
                    <a:pt x="239" y="377"/>
                  </a:lnTo>
                  <a:lnTo>
                    <a:pt x="248" y="377"/>
                  </a:lnTo>
                  <a:lnTo>
                    <a:pt x="248" y="377"/>
                  </a:lnTo>
                  <a:lnTo>
                    <a:pt x="257" y="377"/>
                  </a:lnTo>
                  <a:lnTo>
                    <a:pt x="266" y="376"/>
                  </a:lnTo>
                  <a:lnTo>
                    <a:pt x="273" y="373"/>
                  </a:lnTo>
                  <a:lnTo>
                    <a:pt x="279" y="371"/>
                  </a:lnTo>
                  <a:lnTo>
                    <a:pt x="284" y="368"/>
                  </a:lnTo>
                  <a:lnTo>
                    <a:pt x="288" y="364"/>
                  </a:lnTo>
                  <a:lnTo>
                    <a:pt x="291" y="359"/>
                  </a:lnTo>
                  <a:lnTo>
                    <a:pt x="294" y="353"/>
                  </a:lnTo>
                  <a:lnTo>
                    <a:pt x="382" y="140"/>
                  </a:lnTo>
                  <a:lnTo>
                    <a:pt x="403" y="422"/>
                  </a:lnTo>
                  <a:lnTo>
                    <a:pt x="496" y="422"/>
                  </a:lnTo>
                  <a:lnTo>
                    <a:pt x="454" y="2"/>
                  </a:lnTo>
                  <a:lnTo>
                    <a:pt x="454" y="2"/>
                  </a:lnTo>
                  <a:lnTo>
                    <a:pt x="438" y="1"/>
                  </a:lnTo>
                  <a:lnTo>
                    <a:pt x="412" y="0"/>
                  </a:lnTo>
                  <a:lnTo>
                    <a:pt x="412" y="0"/>
                  </a:lnTo>
                  <a:lnTo>
                    <a:pt x="397" y="1"/>
                  </a:lnTo>
                  <a:lnTo>
                    <a:pt x="385" y="1"/>
                  </a:lnTo>
                  <a:lnTo>
                    <a:pt x="374" y="3"/>
                  </a:lnTo>
                  <a:lnTo>
                    <a:pt x="365" y="7"/>
                  </a:lnTo>
                  <a:lnTo>
                    <a:pt x="356" y="11"/>
                  </a:lnTo>
                  <a:lnTo>
                    <a:pt x="348" y="19"/>
                  </a:lnTo>
                  <a:lnTo>
                    <a:pt x="342" y="28"/>
                  </a:lnTo>
                  <a:lnTo>
                    <a:pt x="337" y="39"/>
                  </a:lnTo>
                  <a:lnTo>
                    <a:pt x="255" y="24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4671" y="4034"/>
              <a:ext cx="43" cy="29"/>
            </a:xfrm>
            <a:custGeom>
              <a:avLst/>
              <a:gdLst>
                <a:gd name="T0" fmla="*/ 171 w 171"/>
                <a:gd name="T1" fmla="*/ 93 h 116"/>
                <a:gd name="T2" fmla="*/ 171 w 171"/>
                <a:gd name="T3" fmla="*/ 93 h 116"/>
                <a:gd name="T4" fmla="*/ 151 w 171"/>
                <a:gd name="T5" fmla="*/ 99 h 116"/>
                <a:gd name="T6" fmla="*/ 125 w 171"/>
                <a:gd name="T7" fmla="*/ 108 h 116"/>
                <a:gd name="T8" fmla="*/ 110 w 171"/>
                <a:gd name="T9" fmla="*/ 111 h 116"/>
                <a:gd name="T10" fmla="*/ 96 w 171"/>
                <a:gd name="T11" fmla="*/ 114 h 116"/>
                <a:gd name="T12" fmla="*/ 82 w 171"/>
                <a:gd name="T13" fmla="*/ 116 h 116"/>
                <a:gd name="T14" fmla="*/ 67 w 171"/>
                <a:gd name="T15" fmla="*/ 116 h 116"/>
                <a:gd name="T16" fmla="*/ 67 w 171"/>
                <a:gd name="T17" fmla="*/ 116 h 116"/>
                <a:gd name="T18" fmla="*/ 54 w 171"/>
                <a:gd name="T19" fmla="*/ 116 h 116"/>
                <a:gd name="T20" fmla="*/ 41 w 171"/>
                <a:gd name="T21" fmla="*/ 114 h 116"/>
                <a:gd name="T22" fmla="*/ 30 w 171"/>
                <a:gd name="T23" fmla="*/ 110 h 116"/>
                <a:gd name="T24" fmla="*/ 24 w 171"/>
                <a:gd name="T25" fmla="*/ 108 h 116"/>
                <a:gd name="T26" fmla="*/ 19 w 171"/>
                <a:gd name="T27" fmla="*/ 105 h 116"/>
                <a:gd name="T28" fmla="*/ 15 w 171"/>
                <a:gd name="T29" fmla="*/ 101 h 116"/>
                <a:gd name="T30" fmla="*/ 11 w 171"/>
                <a:gd name="T31" fmla="*/ 97 h 116"/>
                <a:gd name="T32" fmla="*/ 8 w 171"/>
                <a:gd name="T33" fmla="*/ 92 h 116"/>
                <a:gd name="T34" fmla="*/ 5 w 171"/>
                <a:gd name="T35" fmla="*/ 87 h 116"/>
                <a:gd name="T36" fmla="*/ 3 w 171"/>
                <a:gd name="T37" fmla="*/ 82 h 116"/>
                <a:gd name="T38" fmla="*/ 2 w 171"/>
                <a:gd name="T39" fmla="*/ 76 h 116"/>
                <a:gd name="T40" fmla="*/ 1 w 171"/>
                <a:gd name="T41" fmla="*/ 69 h 116"/>
                <a:gd name="T42" fmla="*/ 0 w 171"/>
                <a:gd name="T43" fmla="*/ 61 h 116"/>
                <a:gd name="T44" fmla="*/ 0 w 171"/>
                <a:gd name="T45" fmla="*/ 61 h 116"/>
                <a:gd name="T46" fmla="*/ 1 w 171"/>
                <a:gd name="T47" fmla="*/ 49 h 116"/>
                <a:gd name="T48" fmla="*/ 4 w 171"/>
                <a:gd name="T49" fmla="*/ 38 h 116"/>
                <a:gd name="T50" fmla="*/ 6 w 171"/>
                <a:gd name="T51" fmla="*/ 33 h 116"/>
                <a:gd name="T52" fmla="*/ 9 w 171"/>
                <a:gd name="T53" fmla="*/ 27 h 116"/>
                <a:gd name="T54" fmla="*/ 13 w 171"/>
                <a:gd name="T55" fmla="*/ 23 h 116"/>
                <a:gd name="T56" fmla="*/ 16 w 171"/>
                <a:gd name="T57" fmla="*/ 19 h 116"/>
                <a:gd name="T58" fmla="*/ 21 w 171"/>
                <a:gd name="T59" fmla="*/ 16 h 116"/>
                <a:gd name="T60" fmla="*/ 26 w 171"/>
                <a:gd name="T61" fmla="*/ 13 h 116"/>
                <a:gd name="T62" fmla="*/ 33 w 171"/>
                <a:gd name="T63" fmla="*/ 10 h 116"/>
                <a:gd name="T64" fmla="*/ 39 w 171"/>
                <a:gd name="T65" fmla="*/ 8 h 116"/>
                <a:gd name="T66" fmla="*/ 55 w 171"/>
                <a:gd name="T67" fmla="*/ 5 h 116"/>
                <a:gd name="T68" fmla="*/ 72 w 171"/>
                <a:gd name="T69" fmla="*/ 3 h 116"/>
                <a:gd name="T70" fmla="*/ 171 w 171"/>
                <a:gd name="T71" fmla="*/ 0 h 116"/>
                <a:gd name="T72" fmla="*/ 171 w 171"/>
                <a:gd name="T73" fmla="*/ 93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1" h="116">
                  <a:moveTo>
                    <a:pt x="171" y="93"/>
                  </a:moveTo>
                  <a:lnTo>
                    <a:pt x="171" y="93"/>
                  </a:lnTo>
                  <a:lnTo>
                    <a:pt x="151" y="99"/>
                  </a:lnTo>
                  <a:lnTo>
                    <a:pt x="125" y="108"/>
                  </a:lnTo>
                  <a:lnTo>
                    <a:pt x="110" y="111"/>
                  </a:lnTo>
                  <a:lnTo>
                    <a:pt x="96" y="114"/>
                  </a:lnTo>
                  <a:lnTo>
                    <a:pt x="82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54" y="116"/>
                  </a:lnTo>
                  <a:lnTo>
                    <a:pt x="41" y="114"/>
                  </a:lnTo>
                  <a:lnTo>
                    <a:pt x="30" y="110"/>
                  </a:lnTo>
                  <a:lnTo>
                    <a:pt x="24" y="108"/>
                  </a:lnTo>
                  <a:lnTo>
                    <a:pt x="19" y="105"/>
                  </a:lnTo>
                  <a:lnTo>
                    <a:pt x="15" y="101"/>
                  </a:lnTo>
                  <a:lnTo>
                    <a:pt x="11" y="97"/>
                  </a:lnTo>
                  <a:lnTo>
                    <a:pt x="8" y="92"/>
                  </a:lnTo>
                  <a:lnTo>
                    <a:pt x="5" y="87"/>
                  </a:lnTo>
                  <a:lnTo>
                    <a:pt x="3" y="82"/>
                  </a:lnTo>
                  <a:lnTo>
                    <a:pt x="2" y="76"/>
                  </a:lnTo>
                  <a:lnTo>
                    <a:pt x="1" y="69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1" y="49"/>
                  </a:lnTo>
                  <a:lnTo>
                    <a:pt x="4" y="38"/>
                  </a:lnTo>
                  <a:lnTo>
                    <a:pt x="6" y="33"/>
                  </a:lnTo>
                  <a:lnTo>
                    <a:pt x="9" y="27"/>
                  </a:lnTo>
                  <a:lnTo>
                    <a:pt x="13" y="23"/>
                  </a:lnTo>
                  <a:lnTo>
                    <a:pt x="16" y="19"/>
                  </a:lnTo>
                  <a:lnTo>
                    <a:pt x="21" y="16"/>
                  </a:lnTo>
                  <a:lnTo>
                    <a:pt x="26" y="13"/>
                  </a:lnTo>
                  <a:lnTo>
                    <a:pt x="33" y="10"/>
                  </a:lnTo>
                  <a:lnTo>
                    <a:pt x="39" y="8"/>
                  </a:lnTo>
                  <a:lnTo>
                    <a:pt x="55" y="5"/>
                  </a:lnTo>
                  <a:lnTo>
                    <a:pt x="72" y="3"/>
                  </a:lnTo>
                  <a:lnTo>
                    <a:pt x="171" y="0"/>
                  </a:lnTo>
                  <a:lnTo>
                    <a:pt x="171" y="9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4649" y="3974"/>
              <a:ext cx="88" cy="107"/>
            </a:xfrm>
            <a:custGeom>
              <a:avLst/>
              <a:gdLst>
                <a:gd name="T0" fmla="*/ 205 w 352"/>
                <a:gd name="T1" fmla="*/ 0 h 428"/>
                <a:gd name="T2" fmla="*/ 147 w 352"/>
                <a:gd name="T3" fmla="*/ 4 h 428"/>
                <a:gd name="T4" fmla="*/ 97 w 352"/>
                <a:gd name="T5" fmla="*/ 12 h 428"/>
                <a:gd name="T6" fmla="*/ 58 w 352"/>
                <a:gd name="T7" fmla="*/ 23 h 428"/>
                <a:gd name="T8" fmla="*/ 33 w 352"/>
                <a:gd name="T9" fmla="*/ 33 h 428"/>
                <a:gd name="T10" fmla="*/ 52 w 352"/>
                <a:gd name="T11" fmla="*/ 102 h 428"/>
                <a:gd name="T12" fmla="*/ 92 w 352"/>
                <a:gd name="T13" fmla="*/ 91 h 428"/>
                <a:gd name="T14" fmla="*/ 133 w 352"/>
                <a:gd name="T15" fmla="*/ 82 h 428"/>
                <a:gd name="T16" fmla="*/ 179 w 352"/>
                <a:gd name="T17" fmla="*/ 79 h 428"/>
                <a:gd name="T18" fmla="*/ 197 w 352"/>
                <a:gd name="T19" fmla="*/ 80 h 428"/>
                <a:gd name="T20" fmla="*/ 221 w 352"/>
                <a:gd name="T21" fmla="*/ 84 h 428"/>
                <a:gd name="T22" fmla="*/ 234 w 352"/>
                <a:gd name="T23" fmla="*/ 90 h 428"/>
                <a:gd name="T24" fmla="*/ 244 w 352"/>
                <a:gd name="T25" fmla="*/ 98 h 428"/>
                <a:gd name="T26" fmla="*/ 251 w 352"/>
                <a:gd name="T27" fmla="*/ 108 h 428"/>
                <a:gd name="T28" fmla="*/ 256 w 352"/>
                <a:gd name="T29" fmla="*/ 120 h 428"/>
                <a:gd name="T30" fmla="*/ 260 w 352"/>
                <a:gd name="T31" fmla="*/ 137 h 428"/>
                <a:gd name="T32" fmla="*/ 260 w 352"/>
                <a:gd name="T33" fmla="*/ 176 h 428"/>
                <a:gd name="T34" fmla="*/ 179 w 352"/>
                <a:gd name="T35" fmla="*/ 176 h 428"/>
                <a:gd name="T36" fmla="*/ 132 w 352"/>
                <a:gd name="T37" fmla="*/ 179 h 428"/>
                <a:gd name="T38" fmla="*/ 93 w 352"/>
                <a:gd name="T39" fmla="*/ 187 h 428"/>
                <a:gd name="T40" fmla="*/ 61 w 352"/>
                <a:gd name="T41" fmla="*/ 200 h 428"/>
                <a:gd name="T42" fmla="*/ 38 w 352"/>
                <a:gd name="T43" fmla="*/ 216 h 428"/>
                <a:gd name="T44" fmla="*/ 20 w 352"/>
                <a:gd name="T45" fmla="*/ 236 h 428"/>
                <a:gd name="T46" fmla="*/ 9 w 352"/>
                <a:gd name="T47" fmla="*/ 257 h 428"/>
                <a:gd name="T48" fmla="*/ 2 w 352"/>
                <a:gd name="T49" fmla="*/ 282 h 428"/>
                <a:gd name="T50" fmla="*/ 0 w 352"/>
                <a:gd name="T51" fmla="*/ 307 h 428"/>
                <a:gd name="T52" fmla="*/ 1 w 352"/>
                <a:gd name="T53" fmla="*/ 323 h 428"/>
                <a:gd name="T54" fmla="*/ 7 w 352"/>
                <a:gd name="T55" fmla="*/ 352 h 428"/>
                <a:gd name="T56" fmla="*/ 19 w 352"/>
                <a:gd name="T57" fmla="*/ 376 h 428"/>
                <a:gd name="T58" fmla="*/ 35 w 352"/>
                <a:gd name="T59" fmla="*/ 394 h 428"/>
                <a:gd name="T60" fmla="*/ 54 w 352"/>
                <a:gd name="T61" fmla="*/ 408 h 428"/>
                <a:gd name="T62" fmla="*/ 77 w 352"/>
                <a:gd name="T63" fmla="*/ 418 h 428"/>
                <a:gd name="T64" fmla="*/ 101 w 352"/>
                <a:gd name="T65" fmla="*/ 424 h 428"/>
                <a:gd name="T66" fmla="*/ 126 w 352"/>
                <a:gd name="T67" fmla="*/ 427 h 428"/>
                <a:gd name="T68" fmla="*/ 138 w 352"/>
                <a:gd name="T69" fmla="*/ 428 h 428"/>
                <a:gd name="T70" fmla="*/ 164 w 352"/>
                <a:gd name="T71" fmla="*/ 426 h 428"/>
                <a:gd name="T72" fmla="*/ 209 w 352"/>
                <a:gd name="T73" fmla="*/ 418 h 428"/>
                <a:gd name="T74" fmla="*/ 241 w 352"/>
                <a:gd name="T75" fmla="*/ 406 h 428"/>
                <a:gd name="T76" fmla="*/ 260 w 352"/>
                <a:gd name="T77" fmla="*/ 397 h 428"/>
                <a:gd name="T78" fmla="*/ 264 w 352"/>
                <a:gd name="T79" fmla="*/ 396 h 428"/>
                <a:gd name="T80" fmla="*/ 270 w 352"/>
                <a:gd name="T81" fmla="*/ 398 h 428"/>
                <a:gd name="T82" fmla="*/ 284 w 352"/>
                <a:gd name="T83" fmla="*/ 404 h 428"/>
                <a:gd name="T84" fmla="*/ 311 w 352"/>
                <a:gd name="T85" fmla="*/ 411 h 428"/>
                <a:gd name="T86" fmla="*/ 352 w 352"/>
                <a:gd name="T87" fmla="*/ 413 h 428"/>
                <a:gd name="T88" fmla="*/ 352 w 352"/>
                <a:gd name="T89" fmla="*/ 122 h 428"/>
                <a:gd name="T90" fmla="*/ 350 w 352"/>
                <a:gd name="T91" fmla="*/ 92 h 428"/>
                <a:gd name="T92" fmla="*/ 343 w 352"/>
                <a:gd name="T93" fmla="*/ 66 h 428"/>
                <a:gd name="T94" fmla="*/ 331 w 352"/>
                <a:gd name="T95" fmla="*/ 45 h 428"/>
                <a:gd name="T96" fmla="*/ 314 w 352"/>
                <a:gd name="T97" fmla="*/ 29 h 428"/>
                <a:gd name="T98" fmla="*/ 293 w 352"/>
                <a:gd name="T99" fmla="*/ 15 h 428"/>
                <a:gd name="T100" fmla="*/ 268 w 352"/>
                <a:gd name="T101" fmla="*/ 7 h 428"/>
                <a:gd name="T102" fmla="*/ 238 w 352"/>
                <a:gd name="T103" fmla="*/ 2 h 428"/>
                <a:gd name="T104" fmla="*/ 205 w 352"/>
                <a:gd name="T105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2" h="428">
                  <a:moveTo>
                    <a:pt x="205" y="0"/>
                  </a:moveTo>
                  <a:lnTo>
                    <a:pt x="205" y="0"/>
                  </a:lnTo>
                  <a:lnTo>
                    <a:pt x="176" y="1"/>
                  </a:lnTo>
                  <a:lnTo>
                    <a:pt x="147" y="4"/>
                  </a:lnTo>
                  <a:lnTo>
                    <a:pt x="121" y="7"/>
                  </a:lnTo>
                  <a:lnTo>
                    <a:pt x="97" y="12"/>
                  </a:lnTo>
                  <a:lnTo>
                    <a:pt x="77" y="17"/>
                  </a:lnTo>
                  <a:lnTo>
                    <a:pt x="58" y="23"/>
                  </a:lnTo>
                  <a:lnTo>
                    <a:pt x="44" y="28"/>
                  </a:lnTo>
                  <a:lnTo>
                    <a:pt x="33" y="33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63" y="98"/>
                  </a:lnTo>
                  <a:lnTo>
                    <a:pt x="92" y="91"/>
                  </a:lnTo>
                  <a:lnTo>
                    <a:pt x="111" y="86"/>
                  </a:lnTo>
                  <a:lnTo>
                    <a:pt x="133" y="82"/>
                  </a:lnTo>
                  <a:lnTo>
                    <a:pt x="155" y="80"/>
                  </a:lnTo>
                  <a:lnTo>
                    <a:pt x="179" y="79"/>
                  </a:lnTo>
                  <a:lnTo>
                    <a:pt x="179" y="79"/>
                  </a:lnTo>
                  <a:lnTo>
                    <a:pt x="197" y="80"/>
                  </a:lnTo>
                  <a:lnTo>
                    <a:pt x="214" y="82"/>
                  </a:lnTo>
                  <a:lnTo>
                    <a:pt x="221" y="84"/>
                  </a:lnTo>
                  <a:lnTo>
                    <a:pt x="228" y="86"/>
                  </a:lnTo>
                  <a:lnTo>
                    <a:pt x="234" y="90"/>
                  </a:lnTo>
                  <a:lnTo>
                    <a:pt x="239" y="94"/>
                  </a:lnTo>
                  <a:lnTo>
                    <a:pt x="244" y="98"/>
                  </a:lnTo>
                  <a:lnTo>
                    <a:pt x="248" y="102"/>
                  </a:lnTo>
                  <a:lnTo>
                    <a:pt x="251" y="108"/>
                  </a:lnTo>
                  <a:lnTo>
                    <a:pt x="254" y="114"/>
                  </a:lnTo>
                  <a:lnTo>
                    <a:pt x="256" y="120"/>
                  </a:lnTo>
                  <a:lnTo>
                    <a:pt x="258" y="129"/>
                  </a:lnTo>
                  <a:lnTo>
                    <a:pt x="260" y="137"/>
                  </a:lnTo>
                  <a:lnTo>
                    <a:pt x="260" y="146"/>
                  </a:lnTo>
                  <a:lnTo>
                    <a:pt x="260" y="176"/>
                  </a:lnTo>
                  <a:lnTo>
                    <a:pt x="179" y="176"/>
                  </a:lnTo>
                  <a:lnTo>
                    <a:pt x="179" y="176"/>
                  </a:lnTo>
                  <a:lnTo>
                    <a:pt x="154" y="177"/>
                  </a:lnTo>
                  <a:lnTo>
                    <a:pt x="132" y="179"/>
                  </a:lnTo>
                  <a:lnTo>
                    <a:pt x="111" y="182"/>
                  </a:lnTo>
                  <a:lnTo>
                    <a:pt x="93" y="187"/>
                  </a:lnTo>
                  <a:lnTo>
                    <a:pt x="77" y="192"/>
                  </a:lnTo>
                  <a:lnTo>
                    <a:pt x="61" y="200"/>
                  </a:lnTo>
                  <a:lnTo>
                    <a:pt x="49" y="207"/>
                  </a:lnTo>
                  <a:lnTo>
                    <a:pt x="38" y="216"/>
                  </a:lnTo>
                  <a:lnTo>
                    <a:pt x="29" y="225"/>
                  </a:lnTo>
                  <a:lnTo>
                    <a:pt x="20" y="236"/>
                  </a:lnTo>
                  <a:lnTo>
                    <a:pt x="14" y="246"/>
                  </a:lnTo>
                  <a:lnTo>
                    <a:pt x="9" y="257"/>
                  </a:lnTo>
                  <a:lnTo>
                    <a:pt x="5" y="270"/>
                  </a:lnTo>
                  <a:lnTo>
                    <a:pt x="2" y="282"/>
                  </a:lnTo>
                  <a:lnTo>
                    <a:pt x="1" y="294"/>
                  </a:lnTo>
                  <a:lnTo>
                    <a:pt x="0" y="307"/>
                  </a:lnTo>
                  <a:lnTo>
                    <a:pt x="0" y="307"/>
                  </a:lnTo>
                  <a:lnTo>
                    <a:pt x="1" y="323"/>
                  </a:lnTo>
                  <a:lnTo>
                    <a:pt x="3" y="338"/>
                  </a:lnTo>
                  <a:lnTo>
                    <a:pt x="7" y="352"/>
                  </a:lnTo>
                  <a:lnTo>
                    <a:pt x="12" y="364"/>
                  </a:lnTo>
                  <a:lnTo>
                    <a:pt x="19" y="376"/>
                  </a:lnTo>
                  <a:lnTo>
                    <a:pt x="27" y="386"/>
                  </a:lnTo>
                  <a:lnTo>
                    <a:pt x="35" y="394"/>
                  </a:lnTo>
                  <a:lnTo>
                    <a:pt x="45" y="401"/>
                  </a:lnTo>
                  <a:lnTo>
                    <a:pt x="54" y="408"/>
                  </a:lnTo>
                  <a:lnTo>
                    <a:pt x="65" y="414"/>
                  </a:lnTo>
                  <a:lnTo>
                    <a:pt x="77" y="418"/>
                  </a:lnTo>
                  <a:lnTo>
                    <a:pt x="89" y="422"/>
                  </a:lnTo>
                  <a:lnTo>
                    <a:pt x="101" y="424"/>
                  </a:lnTo>
                  <a:lnTo>
                    <a:pt x="113" y="426"/>
                  </a:lnTo>
                  <a:lnTo>
                    <a:pt x="126" y="427"/>
                  </a:lnTo>
                  <a:lnTo>
                    <a:pt x="138" y="428"/>
                  </a:lnTo>
                  <a:lnTo>
                    <a:pt x="138" y="428"/>
                  </a:lnTo>
                  <a:lnTo>
                    <a:pt x="151" y="427"/>
                  </a:lnTo>
                  <a:lnTo>
                    <a:pt x="164" y="426"/>
                  </a:lnTo>
                  <a:lnTo>
                    <a:pt x="189" y="423"/>
                  </a:lnTo>
                  <a:lnTo>
                    <a:pt x="209" y="418"/>
                  </a:lnTo>
                  <a:lnTo>
                    <a:pt x="227" y="412"/>
                  </a:lnTo>
                  <a:lnTo>
                    <a:pt x="241" y="406"/>
                  </a:lnTo>
                  <a:lnTo>
                    <a:pt x="252" y="401"/>
                  </a:lnTo>
                  <a:lnTo>
                    <a:pt x="260" y="397"/>
                  </a:lnTo>
                  <a:lnTo>
                    <a:pt x="264" y="396"/>
                  </a:lnTo>
                  <a:lnTo>
                    <a:pt x="264" y="396"/>
                  </a:lnTo>
                  <a:lnTo>
                    <a:pt x="266" y="397"/>
                  </a:lnTo>
                  <a:lnTo>
                    <a:pt x="270" y="398"/>
                  </a:lnTo>
                  <a:lnTo>
                    <a:pt x="276" y="401"/>
                  </a:lnTo>
                  <a:lnTo>
                    <a:pt x="284" y="404"/>
                  </a:lnTo>
                  <a:lnTo>
                    <a:pt x="295" y="407"/>
                  </a:lnTo>
                  <a:lnTo>
                    <a:pt x="311" y="411"/>
                  </a:lnTo>
                  <a:lnTo>
                    <a:pt x="329" y="412"/>
                  </a:lnTo>
                  <a:lnTo>
                    <a:pt x="352" y="413"/>
                  </a:lnTo>
                  <a:lnTo>
                    <a:pt x="352" y="122"/>
                  </a:lnTo>
                  <a:lnTo>
                    <a:pt x="352" y="122"/>
                  </a:lnTo>
                  <a:lnTo>
                    <a:pt x="352" y="106"/>
                  </a:lnTo>
                  <a:lnTo>
                    <a:pt x="350" y="92"/>
                  </a:lnTo>
                  <a:lnTo>
                    <a:pt x="347" y="78"/>
                  </a:lnTo>
                  <a:lnTo>
                    <a:pt x="343" y="66"/>
                  </a:lnTo>
                  <a:lnTo>
                    <a:pt x="337" y="56"/>
                  </a:lnTo>
                  <a:lnTo>
                    <a:pt x="331" y="45"/>
                  </a:lnTo>
                  <a:lnTo>
                    <a:pt x="323" y="36"/>
                  </a:lnTo>
                  <a:lnTo>
                    <a:pt x="314" y="29"/>
                  </a:lnTo>
                  <a:lnTo>
                    <a:pt x="304" y="22"/>
                  </a:lnTo>
                  <a:lnTo>
                    <a:pt x="293" y="15"/>
                  </a:lnTo>
                  <a:lnTo>
                    <a:pt x="281" y="11"/>
                  </a:lnTo>
                  <a:lnTo>
                    <a:pt x="268" y="7"/>
                  </a:lnTo>
                  <a:lnTo>
                    <a:pt x="253" y="4"/>
                  </a:lnTo>
                  <a:lnTo>
                    <a:pt x="238" y="2"/>
                  </a:lnTo>
                  <a:lnTo>
                    <a:pt x="223" y="1"/>
                  </a:lnTo>
                  <a:lnTo>
                    <a:pt x="20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  <p:sp>
          <p:nvSpPr>
            <p:cNvPr id="39" name="Freeform 10"/>
            <p:cNvSpPr>
              <a:spLocks/>
            </p:cNvSpPr>
            <p:nvPr userDrawn="1"/>
          </p:nvSpPr>
          <p:spPr bwMode="auto">
            <a:xfrm>
              <a:off x="4936" y="4034"/>
              <a:ext cx="43" cy="29"/>
            </a:xfrm>
            <a:custGeom>
              <a:avLst/>
              <a:gdLst>
                <a:gd name="T0" fmla="*/ 171 w 171"/>
                <a:gd name="T1" fmla="*/ 93 h 116"/>
                <a:gd name="T2" fmla="*/ 171 w 171"/>
                <a:gd name="T3" fmla="*/ 93 h 116"/>
                <a:gd name="T4" fmla="*/ 152 w 171"/>
                <a:gd name="T5" fmla="*/ 99 h 116"/>
                <a:gd name="T6" fmla="*/ 125 w 171"/>
                <a:gd name="T7" fmla="*/ 108 h 116"/>
                <a:gd name="T8" fmla="*/ 111 w 171"/>
                <a:gd name="T9" fmla="*/ 111 h 116"/>
                <a:gd name="T10" fmla="*/ 95 w 171"/>
                <a:gd name="T11" fmla="*/ 114 h 116"/>
                <a:gd name="T12" fmla="*/ 81 w 171"/>
                <a:gd name="T13" fmla="*/ 116 h 116"/>
                <a:gd name="T14" fmla="*/ 68 w 171"/>
                <a:gd name="T15" fmla="*/ 116 h 116"/>
                <a:gd name="T16" fmla="*/ 68 w 171"/>
                <a:gd name="T17" fmla="*/ 116 h 116"/>
                <a:gd name="T18" fmla="*/ 54 w 171"/>
                <a:gd name="T19" fmla="*/ 116 h 116"/>
                <a:gd name="T20" fmla="*/ 41 w 171"/>
                <a:gd name="T21" fmla="*/ 114 h 116"/>
                <a:gd name="T22" fmla="*/ 29 w 171"/>
                <a:gd name="T23" fmla="*/ 110 h 116"/>
                <a:gd name="T24" fmla="*/ 24 w 171"/>
                <a:gd name="T25" fmla="*/ 108 h 116"/>
                <a:gd name="T26" fmla="*/ 20 w 171"/>
                <a:gd name="T27" fmla="*/ 105 h 116"/>
                <a:gd name="T28" fmla="*/ 16 w 171"/>
                <a:gd name="T29" fmla="*/ 101 h 116"/>
                <a:gd name="T30" fmla="*/ 12 w 171"/>
                <a:gd name="T31" fmla="*/ 97 h 116"/>
                <a:gd name="T32" fmla="*/ 9 w 171"/>
                <a:gd name="T33" fmla="*/ 92 h 116"/>
                <a:gd name="T34" fmla="*/ 6 w 171"/>
                <a:gd name="T35" fmla="*/ 87 h 116"/>
                <a:gd name="T36" fmla="*/ 3 w 171"/>
                <a:gd name="T37" fmla="*/ 82 h 116"/>
                <a:gd name="T38" fmla="*/ 1 w 171"/>
                <a:gd name="T39" fmla="*/ 76 h 116"/>
                <a:gd name="T40" fmla="*/ 0 w 171"/>
                <a:gd name="T41" fmla="*/ 69 h 116"/>
                <a:gd name="T42" fmla="*/ 0 w 171"/>
                <a:gd name="T43" fmla="*/ 61 h 116"/>
                <a:gd name="T44" fmla="*/ 0 w 171"/>
                <a:gd name="T45" fmla="*/ 61 h 116"/>
                <a:gd name="T46" fmla="*/ 1 w 171"/>
                <a:gd name="T47" fmla="*/ 49 h 116"/>
                <a:gd name="T48" fmla="*/ 4 w 171"/>
                <a:gd name="T49" fmla="*/ 38 h 116"/>
                <a:gd name="T50" fmla="*/ 7 w 171"/>
                <a:gd name="T51" fmla="*/ 33 h 116"/>
                <a:gd name="T52" fmla="*/ 10 w 171"/>
                <a:gd name="T53" fmla="*/ 27 h 116"/>
                <a:gd name="T54" fmla="*/ 13 w 171"/>
                <a:gd name="T55" fmla="*/ 23 h 116"/>
                <a:gd name="T56" fmla="*/ 17 w 171"/>
                <a:gd name="T57" fmla="*/ 19 h 116"/>
                <a:gd name="T58" fmla="*/ 22 w 171"/>
                <a:gd name="T59" fmla="*/ 16 h 116"/>
                <a:gd name="T60" fmla="*/ 27 w 171"/>
                <a:gd name="T61" fmla="*/ 13 h 116"/>
                <a:gd name="T62" fmla="*/ 33 w 171"/>
                <a:gd name="T63" fmla="*/ 10 h 116"/>
                <a:gd name="T64" fmla="*/ 39 w 171"/>
                <a:gd name="T65" fmla="*/ 8 h 116"/>
                <a:gd name="T66" fmla="*/ 55 w 171"/>
                <a:gd name="T67" fmla="*/ 5 h 116"/>
                <a:gd name="T68" fmla="*/ 73 w 171"/>
                <a:gd name="T69" fmla="*/ 3 h 116"/>
                <a:gd name="T70" fmla="*/ 171 w 171"/>
                <a:gd name="T71" fmla="*/ 0 h 116"/>
                <a:gd name="T72" fmla="*/ 171 w 171"/>
                <a:gd name="T73" fmla="*/ 93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1" h="116">
                  <a:moveTo>
                    <a:pt x="171" y="93"/>
                  </a:moveTo>
                  <a:lnTo>
                    <a:pt x="171" y="93"/>
                  </a:lnTo>
                  <a:lnTo>
                    <a:pt x="152" y="99"/>
                  </a:lnTo>
                  <a:lnTo>
                    <a:pt x="125" y="108"/>
                  </a:lnTo>
                  <a:lnTo>
                    <a:pt x="111" y="111"/>
                  </a:lnTo>
                  <a:lnTo>
                    <a:pt x="95" y="114"/>
                  </a:lnTo>
                  <a:lnTo>
                    <a:pt x="81" y="116"/>
                  </a:lnTo>
                  <a:lnTo>
                    <a:pt x="68" y="116"/>
                  </a:lnTo>
                  <a:lnTo>
                    <a:pt x="68" y="116"/>
                  </a:lnTo>
                  <a:lnTo>
                    <a:pt x="54" y="116"/>
                  </a:lnTo>
                  <a:lnTo>
                    <a:pt x="41" y="114"/>
                  </a:lnTo>
                  <a:lnTo>
                    <a:pt x="29" y="110"/>
                  </a:lnTo>
                  <a:lnTo>
                    <a:pt x="24" y="108"/>
                  </a:lnTo>
                  <a:lnTo>
                    <a:pt x="20" y="105"/>
                  </a:lnTo>
                  <a:lnTo>
                    <a:pt x="16" y="101"/>
                  </a:lnTo>
                  <a:lnTo>
                    <a:pt x="12" y="97"/>
                  </a:lnTo>
                  <a:lnTo>
                    <a:pt x="9" y="92"/>
                  </a:lnTo>
                  <a:lnTo>
                    <a:pt x="6" y="87"/>
                  </a:lnTo>
                  <a:lnTo>
                    <a:pt x="3" y="82"/>
                  </a:lnTo>
                  <a:lnTo>
                    <a:pt x="1" y="76"/>
                  </a:lnTo>
                  <a:lnTo>
                    <a:pt x="0" y="69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1" y="49"/>
                  </a:lnTo>
                  <a:lnTo>
                    <a:pt x="4" y="38"/>
                  </a:lnTo>
                  <a:lnTo>
                    <a:pt x="7" y="33"/>
                  </a:lnTo>
                  <a:lnTo>
                    <a:pt x="10" y="27"/>
                  </a:lnTo>
                  <a:lnTo>
                    <a:pt x="13" y="23"/>
                  </a:lnTo>
                  <a:lnTo>
                    <a:pt x="17" y="19"/>
                  </a:lnTo>
                  <a:lnTo>
                    <a:pt x="22" y="16"/>
                  </a:lnTo>
                  <a:lnTo>
                    <a:pt x="27" y="13"/>
                  </a:lnTo>
                  <a:lnTo>
                    <a:pt x="33" y="10"/>
                  </a:lnTo>
                  <a:lnTo>
                    <a:pt x="39" y="8"/>
                  </a:lnTo>
                  <a:lnTo>
                    <a:pt x="55" y="5"/>
                  </a:lnTo>
                  <a:lnTo>
                    <a:pt x="73" y="3"/>
                  </a:lnTo>
                  <a:lnTo>
                    <a:pt x="171" y="0"/>
                  </a:lnTo>
                  <a:lnTo>
                    <a:pt x="171" y="9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  <p:sp>
          <p:nvSpPr>
            <p:cNvPr id="40" name="Freeform 11"/>
            <p:cNvSpPr>
              <a:spLocks/>
            </p:cNvSpPr>
            <p:nvPr userDrawn="1"/>
          </p:nvSpPr>
          <p:spPr bwMode="auto">
            <a:xfrm>
              <a:off x="4914" y="3974"/>
              <a:ext cx="88" cy="107"/>
            </a:xfrm>
            <a:custGeom>
              <a:avLst/>
              <a:gdLst>
                <a:gd name="T0" fmla="*/ 206 w 353"/>
                <a:gd name="T1" fmla="*/ 0 h 428"/>
                <a:gd name="T2" fmla="*/ 148 w 353"/>
                <a:gd name="T3" fmla="*/ 4 h 428"/>
                <a:gd name="T4" fmla="*/ 98 w 353"/>
                <a:gd name="T5" fmla="*/ 12 h 428"/>
                <a:gd name="T6" fmla="*/ 59 w 353"/>
                <a:gd name="T7" fmla="*/ 23 h 428"/>
                <a:gd name="T8" fmla="*/ 33 w 353"/>
                <a:gd name="T9" fmla="*/ 33 h 428"/>
                <a:gd name="T10" fmla="*/ 53 w 353"/>
                <a:gd name="T11" fmla="*/ 102 h 428"/>
                <a:gd name="T12" fmla="*/ 92 w 353"/>
                <a:gd name="T13" fmla="*/ 91 h 428"/>
                <a:gd name="T14" fmla="*/ 132 w 353"/>
                <a:gd name="T15" fmla="*/ 82 h 428"/>
                <a:gd name="T16" fmla="*/ 178 w 353"/>
                <a:gd name="T17" fmla="*/ 79 h 428"/>
                <a:gd name="T18" fmla="*/ 198 w 353"/>
                <a:gd name="T19" fmla="*/ 80 h 428"/>
                <a:gd name="T20" fmla="*/ 221 w 353"/>
                <a:gd name="T21" fmla="*/ 84 h 428"/>
                <a:gd name="T22" fmla="*/ 233 w 353"/>
                <a:gd name="T23" fmla="*/ 90 h 428"/>
                <a:gd name="T24" fmla="*/ 244 w 353"/>
                <a:gd name="T25" fmla="*/ 98 h 428"/>
                <a:gd name="T26" fmla="*/ 252 w 353"/>
                <a:gd name="T27" fmla="*/ 108 h 428"/>
                <a:gd name="T28" fmla="*/ 257 w 353"/>
                <a:gd name="T29" fmla="*/ 120 h 428"/>
                <a:gd name="T30" fmla="*/ 259 w 353"/>
                <a:gd name="T31" fmla="*/ 137 h 428"/>
                <a:gd name="T32" fmla="*/ 260 w 353"/>
                <a:gd name="T33" fmla="*/ 176 h 428"/>
                <a:gd name="T34" fmla="*/ 178 w 353"/>
                <a:gd name="T35" fmla="*/ 176 h 428"/>
                <a:gd name="T36" fmla="*/ 131 w 353"/>
                <a:gd name="T37" fmla="*/ 179 h 428"/>
                <a:gd name="T38" fmla="*/ 92 w 353"/>
                <a:gd name="T39" fmla="*/ 187 h 428"/>
                <a:gd name="T40" fmla="*/ 62 w 353"/>
                <a:gd name="T41" fmla="*/ 200 h 428"/>
                <a:gd name="T42" fmla="*/ 38 w 353"/>
                <a:gd name="T43" fmla="*/ 216 h 428"/>
                <a:gd name="T44" fmla="*/ 21 w 353"/>
                <a:gd name="T45" fmla="*/ 236 h 428"/>
                <a:gd name="T46" fmla="*/ 9 w 353"/>
                <a:gd name="T47" fmla="*/ 257 h 428"/>
                <a:gd name="T48" fmla="*/ 3 w 353"/>
                <a:gd name="T49" fmla="*/ 282 h 428"/>
                <a:gd name="T50" fmla="*/ 0 w 353"/>
                <a:gd name="T51" fmla="*/ 307 h 428"/>
                <a:gd name="T52" fmla="*/ 2 w 353"/>
                <a:gd name="T53" fmla="*/ 323 h 428"/>
                <a:gd name="T54" fmla="*/ 8 w 353"/>
                <a:gd name="T55" fmla="*/ 352 h 428"/>
                <a:gd name="T56" fmla="*/ 19 w 353"/>
                <a:gd name="T57" fmla="*/ 376 h 428"/>
                <a:gd name="T58" fmla="*/ 35 w 353"/>
                <a:gd name="T59" fmla="*/ 394 h 428"/>
                <a:gd name="T60" fmla="*/ 55 w 353"/>
                <a:gd name="T61" fmla="*/ 408 h 428"/>
                <a:gd name="T62" fmla="*/ 77 w 353"/>
                <a:gd name="T63" fmla="*/ 418 h 428"/>
                <a:gd name="T64" fmla="*/ 101 w 353"/>
                <a:gd name="T65" fmla="*/ 424 h 428"/>
                <a:gd name="T66" fmla="*/ 125 w 353"/>
                <a:gd name="T67" fmla="*/ 427 h 428"/>
                <a:gd name="T68" fmla="*/ 137 w 353"/>
                <a:gd name="T69" fmla="*/ 428 h 428"/>
                <a:gd name="T70" fmla="*/ 165 w 353"/>
                <a:gd name="T71" fmla="*/ 426 h 428"/>
                <a:gd name="T72" fmla="*/ 210 w 353"/>
                <a:gd name="T73" fmla="*/ 418 h 428"/>
                <a:gd name="T74" fmla="*/ 242 w 353"/>
                <a:gd name="T75" fmla="*/ 406 h 428"/>
                <a:gd name="T76" fmla="*/ 260 w 353"/>
                <a:gd name="T77" fmla="*/ 397 h 428"/>
                <a:gd name="T78" fmla="*/ 264 w 353"/>
                <a:gd name="T79" fmla="*/ 396 h 428"/>
                <a:gd name="T80" fmla="*/ 269 w 353"/>
                <a:gd name="T81" fmla="*/ 398 h 428"/>
                <a:gd name="T82" fmla="*/ 283 w 353"/>
                <a:gd name="T83" fmla="*/ 404 h 428"/>
                <a:gd name="T84" fmla="*/ 310 w 353"/>
                <a:gd name="T85" fmla="*/ 411 h 428"/>
                <a:gd name="T86" fmla="*/ 353 w 353"/>
                <a:gd name="T87" fmla="*/ 413 h 428"/>
                <a:gd name="T88" fmla="*/ 353 w 353"/>
                <a:gd name="T89" fmla="*/ 122 h 428"/>
                <a:gd name="T90" fmla="*/ 351 w 353"/>
                <a:gd name="T91" fmla="*/ 92 h 428"/>
                <a:gd name="T92" fmla="*/ 343 w 353"/>
                <a:gd name="T93" fmla="*/ 66 h 428"/>
                <a:gd name="T94" fmla="*/ 330 w 353"/>
                <a:gd name="T95" fmla="*/ 45 h 428"/>
                <a:gd name="T96" fmla="*/ 314 w 353"/>
                <a:gd name="T97" fmla="*/ 29 h 428"/>
                <a:gd name="T98" fmla="*/ 293 w 353"/>
                <a:gd name="T99" fmla="*/ 15 h 428"/>
                <a:gd name="T100" fmla="*/ 268 w 353"/>
                <a:gd name="T101" fmla="*/ 7 h 428"/>
                <a:gd name="T102" fmla="*/ 239 w 353"/>
                <a:gd name="T103" fmla="*/ 2 h 428"/>
                <a:gd name="T104" fmla="*/ 206 w 353"/>
                <a:gd name="T105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3" h="428">
                  <a:moveTo>
                    <a:pt x="206" y="0"/>
                  </a:moveTo>
                  <a:lnTo>
                    <a:pt x="206" y="0"/>
                  </a:lnTo>
                  <a:lnTo>
                    <a:pt x="175" y="1"/>
                  </a:lnTo>
                  <a:lnTo>
                    <a:pt x="148" y="4"/>
                  </a:lnTo>
                  <a:lnTo>
                    <a:pt x="121" y="7"/>
                  </a:lnTo>
                  <a:lnTo>
                    <a:pt x="98" y="12"/>
                  </a:lnTo>
                  <a:lnTo>
                    <a:pt x="77" y="17"/>
                  </a:lnTo>
                  <a:lnTo>
                    <a:pt x="59" y="23"/>
                  </a:lnTo>
                  <a:lnTo>
                    <a:pt x="44" y="28"/>
                  </a:lnTo>
                  <a:lnTo>
                    <a:pt x="33" y="33"/>
                  </a:lnTo>
                  <a:lnTo>
                    <a:pt x="53" y="102"/>
                  </a:lnTo>
                  <a:lnTo>
                    <a:pt x="53" y="102"/>
                  </a:lnTo>
                  <a:lnTo>
                    <a:pt x="64" y="98"/>
                  </a:lnTo>
                  <a:lnTo>
                    <a:pt x="92" y="91"/>
                  </a:lnTo>
                  <a:lnTo>
                    <a:pt x="111" y="86"/>
                  </a:lnTo>
                  <a:lnTo>
                    <a:pt x="132" y="82"/>
                  </a:lnTo>
                  <a:lnTo>
                    <a:pt x="155" y="80"/>
                  </a:lnTo>
                  <a:lnTo>
                    <a:pt x="178" y="79"/>
                  </a:lnTo>
                  <a:lnTo>
                    <a:pt x="178" y="79"/>
                  </a:lnTo>
                  <a:lnTo>
                    <a:pt x="198" y="80"/>
                  </a:lnTo>
                  <a:lnTo>
                    <a:pt x="214" y="82"/>
                  </a:lnTo>
                  <a:lnTo>
                    <a:pt x="221" y="84"/>
                  </a:lnTo>
                  <a:lnTo>
                    <a:pt x="227" y="86"/>
                  </a:lnTo>
                  <a:lnTo>
                    <a:pt x="233" y="90"/>
                  </a:lnTo>
                  <a:lnTo>
                    <a:pt x="240" y="94"/>
                  </a:lnTo>
                  <a:lnTo>
                    <a:pt x="244" y="98"/>
                  </a:lnTo>
                  <a:lnTo>
                    <a:pt x="248" y="102"/>
                  </a:lnTo>
                  <a:lnTo>
                    <a:pt x="252" y="108"/>
                  </a:lnTo>
                  <a:lnTo>
                    <a:pt x="255" y="114"/>
                  </a:lnTo>
                  <a:lnTo>
                    <a:pt x="257" y="120"/>
                  </a:lnTo>
                  <a:lnTo>
                    <a:pt x="258" y="129"/>
                  </a:lnTo>
                  <a:lnTo>
                    <a:pt x="259" y="137"/>
                  </a:lnTo>
                  <a:lnTo>
                    <a:pt x="260" y="146"/>
                  </a:lnTo>
                  <a:lnTo>
                    <a:pt x="260" y="176"/>
                  </a:lnTo>
                  <a:lnTo>
                    <a:pt x="178" y="176"/>
                  </a:lnTo>
                  <a:lnTo>
                    <a:pt x="178" y="176"/>
                  </a:lnTo>
                  <a:lnTo>
                    <a:pt x="154" y="177"/>
                  </a:lnTo>
                  <a:lnTo>
                    <a:pt x="131" y="179"/>
                  </a:lnTo>
                  <a:lnTo>
                    <a:pt x="111" y="182"/>
                  </a:lnTo>
                  <a:lnTo>
                    <a:pt x="92" y="187"/>
                  </a:lnTo>
                  <a:lnTo>
                    <a:pt x="76" y="192"/>
                  </a:lnTo>
                  <a:lnTo>
                    <a:pt x="62" y="200"/>
                  </a:lnTo>
                  <a:lnTo>
                    <a:pt x="50" y="207"/>
                  </a:lnTo>
                  <a:lnTo>
                    <a:pt x="38" y="216"/>
                  </a:lnTo>
                  <a:lnTo>
                    <a:pt x="28" y="225"/>
                  </a:lnTo>
                  <a:lnTo>
                    <a:pt x="21" y="236"/>
                  </a:lnTo>
                  <a:lnTo>
                    <a:pt x="14" y="246"/>
                  </a:lnTo>
                  <a:lnTo>
                    <a:pt x="9" y="257"/>
                  </a:lnTo>
                  <a:lnTo>
                    <a:pt x="6" y="270"/>
                  </a:lnTo>
                  <a:lnTo>
                    <a:pt x="3" y="282"/>
                  </a:lnTo>
                  <a:lnTo>
                    <a:pt x="0" y="294"/>
                  </a:lnTo>
                  <a:lnTo>
                    <a:pt x="0" y="307"/>
                  </a:lnTo>
                  <a:lnTo>
                    <a:pt x="0" y="307"/>
                  </a:lnTo>
                  <a:lnTo>
                    <a:pt x="2" y="323"/>
                  </a:lnTo>
                  <a:lnTo>
                    <a:pt x="4" y="338"/>
                  </a:lnTo>
                  <a:lnTo>
                    <a:pt x="8" y="352"/>
                  </a:lnTo>
                  <a:lnTo>
                    <a:pt x="13" y="364"/>
                  </a:lnTo>
                  <a:lnTo>
                    <a:pt x="19" y="376"/>
                  </a:lnTo>
                  <a:lnTo>
                    <a:pt x="27" y="386"/>
                  </a:lnTo>
                  <a:lnTo>
                    <a:pt x="35" y="394"/>
                  </a:lnTo>
                  <a:lnTo>
                    <a:pt x="44" y="401"/>
                  </a:lnTo>
                  <a:lnTo>
                    <a:pt x="55" y="408"/>
                  </a:lnTo>
                  <a:lnTo>
                    <a:pt x="66" y="414"/>
                  </a:lnTo>
                  <a:lnTo>
                    <a:pt x="77" y="418"/>
                  </a:lnTo>
                  <a:lnTo>
                    <a:pt x="88" y="422"/>
                  </a:lnTo>
                  <a:lnTo>
                    <a:pt x="101" y="424"/>
                  </a:lnTo>
                  <a:lnTo>
                    <a:pt x="113" y="426"/>
                  </a:lnTo>
                  <a:lnTo>
                    <a:pt x="125" y="427"/>
                  </a:lnTo>
                  <a:lnTo>
                    <a:pt x="137" y="428"/>
                  </a:lnTo>
                  <a:lnTo>
                    <a:pt x="137" y="428"/>
                  </a:lnTo>
                  <a:lnTo>
                    <a:pt x="152" y="427"/>
                  </a:lnTo>
                  <a:lnTo>
                    <a:pt x="165" y="426"/>
                  </a:lnTo>
                  <a:lnTo>
                    <a:pt x="188" y="423"/>
                  </a:lnTo>
                  <a:lnTo>
                    <a:pt x="210" y="418"/>
                  </a:lnTo>
                  <a:lnTo>
                    <a:pt x="227" y="412"/>
                  </a:lnTo>
                  <a:lnTo>
                    <a:pt x="242" y="406"/>
                  </a:lnTo>
                  <a:lnTo>
                    <a:pt x="253" y="401"/>
                  </a:lnTo>
                  <a:lnTo>
                    <a:pt x="260" y="397"/>
                  </a:lnTo>
                  <a:lnTo>
                    <a:pt x="264" y="396"/>
                  </a:lnTo>
                  <a:lnTo>
                    <a:pt x="264" y="396"/>
                  </a:lnTo>
                  <a:lnTo>
                    <a:pt x="266" y="397"/>
                  </a:lnTo>
                  <a:lnTo>
                    <a:pt x="269" y="398"/>
                  </a:lnTo>
                  <a:lnTo>
                    <a:pt x="275" y="401"/>
                  </a:lnTo>
                  <a:lnTo>
                    <a:pt x="283" y="404"/>
                  </a:lnTo>
                  <a:lnTo>
                    <a:pt x="296" y="407"/>
                  </a:lnTo>
                  <a:lnTo>
                    <a:pt x="310" y="411"/>
                  </a:lnTo>
                  <a:lnTo>
                    <a:pt x="329" y="412"/>
                  </a:lnTo>
                  <a:lnTo>
                    <a:pt x="353" y="413"/>
                  </a:lnTo>
                  <a:lnTo>
                    <a:pt x="353" y="122"/>
                  </a:lnTo>
                  <a:lnTo>
                    <a:pt x="353" y="122"/>
                  </a:lnTo>
                  <a:lnTo>
                    <a:pt x="353" y="106"/>
                  </a:lnTo>
                  <a:lnTo>
                    <a:pt x="351" y="92"/>
                  </a:lnTo>
                  <a:lnTo>
                    <a:pt x="348" y="78"/>
                  </a:lnTo>
                  <a:lnTo>
                    <a:pt x="343" y="66"/>
                  </a:lnTo>
                  <a:lnTo>
                    <a:pt x="338" y="56"/>
                  </a:lnTo>
                  <a:lnTo>
                    <a:pt x="330" y="45"/>
                  </a:lnTo>
                  <a:lnTo>
                    <a:pt x="323" y="36"/>
                  </a:lnTo>
                  <a:lnTo>
                    <a:pt x="314" y="29"/>
                  </a:lnTo>
                  <a:lnTo>
                    <a:pt x="304" y="22"/>
                  </a:lnTo>
                  <a:lnTo>
                    <a:pt x="293" y="15"/>
                  </a:lnTo>
                  <a:lnTo>
                    <a:pt x="281" y="11"/>
                  </a:lnTo>
                  <a:lnTo>
                    <a:pt x="268" y="7"/>
                  </a:lnTo>
                  <a:lnTo>
                    <a:pt x="254" y="4"/>
                  </a:lnTo>
                  <a:lnTo>
                    <a:pt x="239" y="2"/>
                  </a:lnTo>
                  <a:lnTo>
                    <a:pt x="222" y="1"/>
                  </a:lnTo>
                  <a:lnTo>
                    <a:pt x="20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  <p:sp>
          <p:nvSpPr>
            <p:cNvPr id="41" name="Freeform 12"/>
            <p:cNvSpPr>
              <a:spLocks/>
            </p:cNvSpPr>
            <p:nvPr userDrawn="1"/>
          </p:nvSpPr>
          <p:spPr bwMode="auto">
            <a:xfrm>
              <a:off x="5263" y="3975"/>
              <a:ext cx="93" cy="106"/>
            </a:xfrm>
            <a:custGeom>
              <a:avLst/>
              <a:gdLst>
                <a:gd name="T0" fmla="*/ 281 w 374"/>
                <a:gd name="T1" fmla="*/ 313 h 424"/>
                <a:gd name="T2" fmla="*/ 246 w 374"/>
                <a:gd name="T3" fmla="*/ 327 h 424"/>
                <a:gd name="T4" fmla="*/ 217 w 374"/>
                <a:gd name="T5" fmla="*/ 336 h 424"/>
                <a:gd name="T6" fmla="*/ 184 w 374"/>
                <a:gd name="T7" fmla="*/ 341 h 424"/>
                <a:gd name="T8" fmla="*/ 167 w 374"/>
                <a:gd name="T9" fmla="*/ 342 h 424"/>
                <a:gd name="T10" fmla="*/ 145 w 374"/>
                <a:gd name="T11" fmla="*/ 341 h 424"/>
                <a:gd name="T12" fmla="*/ 129 w 374"/>
                <a:gd name="T13" fmla="*/ 337 h 424"/>
                <a:gd name="T14" fmla="*/ 116 w 374"/>
                <a:gd name="T15" fmla="*/ 329 h 424"/>
                <a:gd name="T16" fmla="*/ 106 w 374"/>
                <a:gd name="T17" fmla="*/ 319 h 424"/>
                <a:gd name="T18" fmla="*/ 99 w 374"/>
                <a:gd name="T19" fmla="*/ 307 h 424"/>
                <a:gd name="T20" fmla="*/ 95 w 374"/>
                <a:gd name="T21" fmla="*/ 290 h 424"/>
                <a:gd name="T22" fmla="*/ 93 w 374"/>
                <a:gd name="T23" fmla="*/ 248 h 424"/>
                <a:gd name="T24" fmla="*/ 79 w 374"/>
                <a:gd name="T25" fmla="*/ 0 h 424"/>
                <a:gd name="T26" fmla="*/ 59 w 374"/>
                <a:gd name="T27" fmla="*/ 0 h 424"/>
                <a:gd name="T28" fmla="*/ 13 w 374"/>
                <a:gd name="T29" fmla="*/ 4 h 424"/>
                <a:gd name="T30" fmla="*/ 0 w 374"/>
                <a:gd name="T31" fmla="*/ 259 h 424"/>
                <a:gd name="T32" fmla="*/ 0 w 374"/>
                <a:gd name="T33" fmla="*/ 280 h 424"/>
                <a:gd name="T34" fmla="*/ 3 w 374"/>
                <a:gd name="T35" fmla="*/ 316 h 424"/>
                <a:gd name="T36" fmla="*/ 9 w 374"/>
                <a:gd name="T37" fmla="*/ 347 h 424"/>
                <a:gd name="T38" fmla="*/ 21 w 374"/>
                <a:gd name="T39" fmla="*/ 373 h 424"/>
                <a:gd name="T40" fmla="*/ 36 w 374"/>
                <a:gd name="T41" fmla="*/ 393 h 424"/>
                <a:gd name="T42" fmla="*/ 58 w 374"/>
                <a:gd name="T43" fmla="*/ 408 h 424"/>
                <a:gd name="T44" fmla="*/ 86 w 374"/>
                <a:gd name="T45" fmla="*/ 418 h 424"/>
                <a:gd name="T46" fmla="*/ 121 w 374"/>
                <a:gd name="T47" fmla="*/ 423 h 424"/>
                <a:gd name="T48" fmla="*/ 141 w 374"/>
                <a:gd name="T49" fmla="*/ 424 h 424"/>
                <a:gd name="T50" fmla="*/ 172 w 374"/>
                <a:gd name="T51" fmla="*/ 422 h 424"/>
                <a:gd name="T52" fmla="*/ 199 w 374"/>
                <a:gd name="T53" fmla="*/ 418 h 424"/>
                <a:gd name="T54" fmla="*/ 243 w 374"/>
                <a:gd name="T55" fmla="*/ 407 h 424"/>
                <a:gd name="T56" fmla="*/ 271 w 374"/>
                <a:gd name="T57" fmla="*/ 395 h 424"/>
                <a:gd name="T58" fmla="*/ 283 w 374"/>
                <a:gd name="T59" fmla="*/ 390 h 424"/>
                <a:gd name="T60" fmla="*/ 296 w 374"/>
                <a:gd name="T61" fmla="*/ 396 h 424"/>
                <a:gd name="T62" fmla="*/ 319 w 374"/>
                <a:gd name="T63" fmla="*/ 402 h 424"/>
                <a:gd name="T64" fmla="*/ 353 w 374"/>
                <a:gd name="T65" fmla="*/ 408 h 424"/>
                <a:gd name="T66" fmla="*/ 374 w 374"/>
                <a:gd name="T67" fmla="*/ 6 h 424"/>
                <a:gd name="T68" fmla="*/ 342 w 374"/>
                <a:gd name="T69" fmla="*/ 2 h 424"/>
                <a:gd name="T70" fmla="*/ 299 w 374"/>
                <a:gd name="T71" fmla="*/ 0 h 424"/>
                <a:gd name="T72" fmla="*/ 281 w 374"/>
                <a:gd name="T73" fmla="*/ 313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74" h="424">
                  <a:moveTo>
                    <a:pt x="281" y="313"/>
                  </a:moveTo>
                  <a:lnTo>
                    <a:pt x="281" y="313"/>
                  </a:lnTo>
                  <a:lnTo>
                    <a:pt x="260" y="322"/>
                  </a:lnTo>
                  <a:lnTo>
                    <a:pt x="246" y="327"/>
                  </a:lnTo>
                  <a:lnTo>
                    <a:pt x="232" y="331"/>
                  </a:lnTo>
                  <a:lnTo>
                    <a:pt x="217" y="336"/>
                  </a:lnTo>
                  <a:lnTo>
                    <a:pt x="200" y="339"/>
                  </a:lnTo>
                  <a:lnTo>
                    <a:pt x="184" y="341"/>
                  </a:lnTo>
                  <a:lnTo>
                    <a:pt x="167" y="342"/>
                  </a:lnTo>
                  <a:lnTo>
                    <a:pt x="167" y="342"/>
                  </a:lnTo>
                  <a:lnTo>
                    <a:pt x="155" y="342"/>
                  </a:lnTo>
                  <a:lnTo>
                    <a:pt x="145" y="341"/>
                  </a:lnTo>
                  <a:lnTo>
                    <a:pt x="136" y="339"/>
                  </a:lnTo>
                  <a:lnTo>
                    <a:pt x="129" y="337"/>
                  </a:lnTo>
                  <a:lnTo>
                    <a:pt x="122" y="333"/>
                  </a:lnTo>
                  <a:lnTo>
                    <a:pt x="116" y="329"/>
                  </a:lnTo>
                  <a:lnTo>
                    <a:pt x="110" y="324"/>
                  </a:lnTo>
                  <a:lnTo>
                    <a:pt x="106" y="319"/>
                  </a:lnTo>
                  <a:lnTo>
                    <a:pt x="102" y="313"/>
                  </a:lnTo>
                  <a:lnTo>
                    <a:pt x="99" y="307"/>
                  </a:lnTo>
                  <a:lnTo>
                    <a:pt x="97" y="298"/>
                  </a:lnTo>
                  <a:lnTo>
                    <a:pt x="95" y="290"/>
                  </a:lnTo>
                  <a:lnTo>
                    <a:pt x="93" y="271"/>
                  </a:lnTo>
                  <a:lnTo>
                    <a:pt x="93" y="248"/>
                  </a:lnTo>
                  <a:lnTo>
                    <a:pt x="93" y="0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59" y="0"/>
                  </a:lnTo>
                  <a:lnTo>
                    <a:pt x="36" y="2"/>
                  </a:lnTo>
                  <a:lnTo>
                    <a:pt x="13" y="4"/>
                  </a:lnTo>
                  <a:lnTo>
                    <a:pt x="0" y="6"/>
                  </a:lnTo>
                  <a:lnTo>
                    <a:pt x="0" y="259"/>
                  </a:lnTo>
                  <a:lnTo>
                    <a:pt x="0" y="259"/>
                  </a:lnTo>
                  <a:lnTo>
                    <a:pt x="0" y="280"/>
                  </a:lnTo>
                  <a:lnTo>
                    <a:pt x="1" y="298"/>
                  </a:lnTo>
                  <a:lnTo>
                    <a:pt x="3" y="316"/>
                  </a:lnTo>
                  <a:lnTo>
                    <a:pt x="5" y="332"/>
                  </a:lnTo>
                  <a:lnTo>
                    <a:pt x="9" y="347"/>
                  </a:lnTo>
                  <a:lnTo>
                    <a:pt x="14" y="360"/>
                  </a:lnTo>
                  <a:lnTo>
                    <a:pt x="21" y="373"/>
                  </a:lnTo>
                  <a:lnTo>
                    <a:pt x="28" y="383"/>
                  </a:lnTo>
                  <a:lnTo>
                    <a:pt x="36" y="393"/>
                  </a:lnTo>
                  <a:lnTo>
                    <a:pt x="46" y="401"/>
                  </a:lnTo>
                  <a:lnTo>
                    <a:pt x="58" y="408"/>
                  </a:lnTo>
                  <a:lnTo>
                    <a:pt x="71" y="414"/>
                  </a:lnTo>
                  <a:lnTo>
                    <a:pt x="86" y="418"/>
                  </a:lnTo>
                  <a:lnTo>
                    <a:pt x="102" y="421"/>
                  </a:lnTo>
                  <a:lnTo>
                    <a:pt x="121" y="423"/>
                  </a:lnTo>
                  <a:lnTo>
                    <a:pt x="141" y="424"/>
                  </a:lnTo>
                  <a:lnTo>
                    <a:pt x="141" y="424"/>
                  </a:lnTo>
                  <a:lnTo>
                    <a:pt x="157" y="423"/>
                  </a:lnTo>
                  <a:lnTo>
                    <a:pt x="172" y="422"/>
                  </a:lnTo>
                  <a:lnTo>
                    <a:pt x="186" y="421"/>
                  </a:lnTo>
                  <a:lnTo>
                    <a:pt x="199" y="418"/>
                  </a:lnTo>
                  <a:lnTo>
                    <a:pt x="223" y="413"/>
                  </a:lnTo>
                  <a:lnTo>
                    <a:pt x="243" y="407"/>
                  </a:lnTo>
                  <a:lnTo>
                    <a:pt x="260" y="400"/>
                  </a:lnTo>
                  <a:lnTo>
                    <a:pt x="271" y="395"/>
                  </a:lnTo>
                  <a:lnTo>
                    <a:pt x="283" y="390"/>
                  </a:lnTo>
                  <a:lnTo>
                    <a:pt x="283" y="390"/>
                  </a:lnTo>
                  <a:lnTo>
                    <a:pt x="289" y="393"/>
                  </a:lnTo>
                  <a:lnTo>
                    <a:pt x="296" y="396"/>
                  </a:lnTo>
                  <a:lnTo>
                    <a:pt x="307" y="399"/>
                  </a:lnTo>
                  <a:lnTo>
                    <a:pt x="319" y="402"/>
                  </a:lnTo>
                  <a:lnTo>
                    <a:pt x="334" y="405"/>
                  </a:lnTo>
                  <a:lnTo>
                    <a:pt x="353" y="408"/>
                  </a:lnTo>
                  <a:lnTo>
                    <a:pt x="374" y="409"/>
                  </a:lnTo>
                  <a:lnTo>
                    <a:pt x="374" y="6"/>
                  </a:lnTo>
                  <a:lnTo>
                    <a:pt x="374" y="6"/>
                  </a:lnTo>
                  <a:lnTo>
                    <a:pt x="342" y="2"/>
                  </a:lnTo>
                  <a:lnTo>
                    <a:pt x="320" y="1"/>
                  </a:lnTo>
                  <a:lnTo>
                    <a:pt x="299" y="0"/>
                  </a:lnTo>
                  <a:lnTo>
                    <a:pt x="281" y="0"/>
                  </a:lnTo>
                  <a:lnTo>
                    <a:pt x="281" y="31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  <p:sp>
          <p:nvSpPr>
            <p:cNvPr id="42" name="Freeform 13"/>
            <p:cNvSpPr>
              <a:spLocks/>
            </p:cNvSpPr>
            <p:nvPr userDrawn="1"/>
          </p:nvSpPr>
          <p:spPr bwMode="auto">
            <a:xfrm>
              <a:off x="5383" y="3974"/>
              <a:ext cx="78" cy="107"/>
            </a:xfrm>
            <a:custGeom>
              <a:avLst/>
              <a:gdLst>
                <a:gd name="T0" fmla="*/ 11 w 311"/>
                <a:gd name="T1" fmla="*/ 415 h 428"/>
                <a:gd name="T2" fmla="*/ 83 w 311"/>
                <a:gd name="T3" fmla="*/ 425 h 428"/>
                <a:gd name="T4" fmla="*/ 138 w 311"/>
                <a:gd name="T5" fmla="*/ 428 h 428"/>
                <a:gd name="T6" fmla="*/ 183 w 311"/>
                <a:gd name="T7" fmla="*/ 425 h 428"/>
                <a:gd name="T8" fmla="*/ 227 w 311"/>
                <a:gd name="T9" fmla="*/ 414 h 428"/>
                <a:gd name="T10" fmla="*/ 265 w 311"/>
                <a:gd name="T11" fmla="*/ 394 h 428"/>
                <a:gd name="T12" fmla="*/ 295 w 311"/>
                <a:gd name="T13" fmla="*/ 363 h 428"/>
                <a:gd name="T14" fmla="*/ 310 w 311"/>
                <a:gd name="T15" fmla="*/ 318 h 428"/>
                <a:gd name="T16" fmla="*/ 310 w 311"/>
                <a:gd name="T17" fmla="*/ 288 h 428"/>
                <a:gd name="T18" fmla="*/ 302 w 311"/>
                <a:gd name="T19" fmla="*/ 256 h 428"/>
                <a:gd name="T20" fmla="*/ 283 w 311"/>
                <a:gd name="T21" fmla="*/ 231 h 428"/>
                <a:gd name="T22" fmla="*/ 257 w 311"/>
                <a:gd name="T23" fmla="*/ 211 h 428"/>
                <a:gd name="T24" fmla="*/ 209 w 311"/>
                <a:gd name="T25" fmla="*/ 187 h 428"/>
                <a:gd name="T26" fmla="*/ 149 w 311"/>
                <a:gd name="T27" fmla="*/ 164 h 428"/>
                <a:gd name="T28" fmla="*/ 113 w 311"/>
                <a:gd name="T29" fmla="*/ 144 h 428"/>
                <a:gd name="T30" fmla="*/ 103 w 311"/>
                <a:gd name="T31" fmla="*/ 132 h 428"/>
                <a:gd name="T32" fmla="*/ 100 w 311"/>
                <a:gd name="T33" fmla="*/ 116 h 428"/>
                <a:gd name="T34" fmla="*/ 102 w 311"/>
                <a:gd name="T35" fmla="*/ 104 h 428"/>
                <a:gd name="T36" fmla="*/ 116 w 311"/>
                <a:gd name="T37" fmla="*/ 86 h 428"/>
                <a:gd name="T38" fmla="*/ 132 w 311"/>
                <a:gd name="T39" fmla="*/ 78 h 428"/>
                <a:gd name="T40" fmla="*/ 156 w 311"/>
                <a:gd name="T41" fmla="*/ 74 h 428"/>
                <a:gd name="T42" fmla="*/ 185 w 311"/>
                <a:gd name="T43" fmla="*/ 75 h 428"/>
                <a:gd name="T44" fmla="*/ 238 w 311"/>
                <a:gd name="T45" fmla="*/ 85 h 428"/>
                <a:gd name="T46" fmla="*/ 295 w 311"/>
                <a:gd name="T47" fmla="*/ 30 h 428"/>
                <a:gd name="T48" fmla="*/ 263 w 311"/>
                <a:gd name="T49" fmla="*/ 16 h 428"/>
                <a:gd name="T50" fmla="*/ 207 w 311"/>
                <a:gd name="T51" fmla="*/ 4 h 428"/>
                <a:gd name="T52" fmla="*/ 158 w 311"/>
                <a:gd name="T53" fmla="*/ 0 h 428"/>
                <a:gd name="T54" fmla="*/ 115 w 311"/>
                <a:gd name="T55" fmla="*/ 4 h 428"/>
                <a:gd name="T56" fmla="*/ 76 w 311"/>
                <a:gd name="T57" fmla="*/ 17 h 428"/>
                <a:gd name="T58" fmla="*/ 42 w 311"/>
                <a:gd name="T59" fmla="*/ 39 h 428"/>
                <a:gd name="T60" fmla="*/ 19 w 311"/>
                <a:gd name="T61" fmla="*/ 69 h 428"/>
                <a:gd name="T62" fmla="*/ 7 w 311"/>
                <a:gd name="T63" fmla="*/ 107 h 428"/>
                <a:gd name="T64" fmla="*/ 7 w 311"/>
                <a:gd name="T65" fmla="*/ 137 h 428"/>
                <a:gd name="T66" fmla="*/ 19 w 311"/>
                <a:gd name="T67" fmla="*/ 175 h 428"/>
                <a:gd name="T68" fmla="*/ 42 w 311"/>
                <a:gd name="T69" fmla="*/ 203 h 428"/>
                <a:gd name="T70" fmla="*/ 73 w 311"/>
                <a:gd name="T71" fmla="*/ 223 h 428"/>
                <a:gd name="T72" fmla="*/ 119 w 311"/>
                <a:gd name="T73" fmla="*/ 243 h 428"/>
                <a:gd name="T74" fmla="*/ 171 w 311"/>
                <a:gd name="T75" fmla="*/ 261 h 428"/>
                <a:gd name="T76" fmla="*/ 205 w 311"/>
                <a:gd name="T77" fmla="*/ 280 h 428"/>
                <a:gd name="T78" fmla="*/ 216 w 311"/>
                <a:gd name="T79" fmla="*/ 296 h 428"/>
                <a:gd name="T80" fmla="*/ 217 w 311"/>
                <a:gd name="T81" fmla="*/ 306 h 428"/>
                <a:gd name="T82" fmla="*/ 212 w 311"/>
                <a:gd name="T83" fmla="*/ 328 h 428"/>
                <a:gd name="T84" fmla="*/ 202 w 311"/>
                <a:gd name="T85" fmla="*/ 340 h 428"/>
                <a:gd name="T86" fmla="*/ 184 w 311"/>
                <a:gd name="T87" fmla="*/ 348 h 428"/>
                <a:gd name="T88" fmla="*/ 158 w 311"/>
                <a:gd name="T89" fmla="*/ 353 h 428"/>
                <a:gd name="T90" fmla="*/ 113 w 311"/>
                <a:gd name="T91" fmla="*/ 354 h 428"/>
                <a:gd name="T92" fmla="*/ 28 w 311"/>
                <a:gd name="T93" fmla="*/ 344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11" h="428">
                  <a:moveTo>
                    <a:pt x="0" y="413"/>
                  </a:moveTo>
                  <a:lnTo>
                    <a:pt x="0" y="413"/>
                  </a:lnTo>
                  <a:lnTo>
                    <a:pt x="11" y="415"/>
                  </a:lnTo>
                  <a:lnTo>
                    <a:pt x="39" y="420"/>
                  </a:lnTo>
                  <a:lnTo>
                    <a:pt x="60" y="423"/>
                  </a:lnTo>
                  <a:lnTo>
                    <a:pt x="83" y="425"/>
                  </a:lnTo>
                  <a:lnTo>
                    <a:pt x="110" y="427"/>
                  </a:lnTo>
                  <a:lnTo>
                    <a:pt x="138" y="428"/>
                  </a:lnTo>
                  <a:lnTo>
                    <a:pt x="138" y="428"/>
                  </a:lnTo>
                  <a:lnTo>
                    <a:pt x="154" y="427"/>
                  </a:lnTo>
                  <a:lnTo>
                    <a:pt x="168" y="426"/>
                  </a:lnTo>
                  <a:lnTo>
                    <a:pt x="183" y="425"/>
                  </a:lnTo>
                  <a:lnTo>
                    <a:pt x="198" y="422"/>
                  </a:lnTo>
                  <a:lnTo>
                    <a:pt x="213" y="419"/>
                  </a:lnTo>
                  <a:lnTo>
                    <a:pt x="227" y="414"/>
                  </a:lnTo>
                  <a:lnTo>
                    <a:pt x="241" y="408"/>
                  </a:lnTo>
                  <a:lnTo>
                    <a:pt x="254" y="402"/>
                  </a:lnTo>
                  <a:lnTo>
                    <a:pt x="265" y="394"/>
                  </a:lnTo>
                  <a:lnTo>
                    <a:pt x="276" y="385"/>
                  </a:lnTo>
                  <a:lnTo>
                    <a:pt x="286" y="375"/>
                  </a:lnTo>
                  <a:lnTo>
                    <a:pt x="295" y="363"/>
                  </a:lnTo>
                  <a:lnTo>
                    <a:pt x="302" y="350"/>
                  </a:lnTo>
                  <a:lnTo>
                    <a:pt x="307" y="334"/>
                  </a:lnTo>
                  <a:lnTo>
                    <a:pt x="310" y="318"/>
                  </a:lnTo>
                  <a:lnTo>
                    <a:pt x="311" y="300"/>
                  </a:lnTo>
                  <a:lnTo>
                    <a:pt x="311" y="300"/>
                  </a:lnTo>
                  <a:lnTo>
                    <a:pt x="310" y="288"/>
                  </a:lnTo>
                  <a:lnTo>
                    <a:pt x="309" y="277"/>
                  </a:lnTo>
                  <a:lnTo>
                    <a:pt x="306" y="266"/>
                  </a:lnTo>
                  <a:lnTo>
                    <a:pt x="302" y="256"/>
                  </a:lnTo>
                  <a:lnTo>
                    <a:pt x="297" y="248"/>
                  </a:lnTo>
                  <a:lnTo>
                    <a:pt x="291" y="239"/>
                  </a:lnTo>
                  <a:lnTo>
                    <a:pt x="283" y="231"/>
                  </a:lnTo>
                  <a:lnTo>
                    <a:pt x="276" y="224"/>
                  </a:lnTo>
                  <a:lnTo>
                    <a:pt x="267" y="217"/>
                  </a:lnTo>
                  <a:lnTo>
                    <a:pt x="257" y="211"/>
                  </a:lnTo>
                  <a:lnTo>
                    <a:pt x="247" y="204"/>
                  </a:lnTo>
                  <a:lnTo>
                    <a:pt x="234" y="199"/>
                  </a:lnTo>
                  <a:lnTo>
                    <a:pt x="209" y="187"/>
                  </a:lnTo>
                  <a:lnTo>
                    <a:pt x="180" y="176"/>
                  </a:lnTo>
                  <a:lnTo>
                    <a:pt x="180" y="176"/>
                  </a:lnTo>
                  <a:lnTo>
                    <a:pt x="149" y="164"/>
                  </a:lnTo>
                  <a:lnTo>
                    <a:pt x="135" y="157"/>
                  </a:lnTo>
                  <a:lnTo>
                    <a:pt x="123" y="151"/>
                  </a:lnTo>
                  <a:lnTo>
                    <a:pt x="113" y="144"/>
                  </a:lnTo>
                  <a:lnTo>
                    <a:pt x="109" y="140"/>
                  </a:lnTo>
                  <a:lnTo>
                    <a:pt x="106" y="136"/>
                  </a:lnTo>
                  <a:lnTo>
                    <a:pt x="103" y="132"/>
                  </a:lnTo>
                  <a:lnTo>
                    <a:pt x="101" y="127"/>
                  </a:lnTo>
                  <a:lnTo>
                    <a:pt x="100" y="121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0"/>
                  </a:lnTo>
                  <a:lnTo>
                    <a:pt x="102" y="104"/>
                  </a:lnTo>
                  <a:lnTo>
                    <a:pt x="106" y="97"/>
                  </a:lnTo>
                  <a:lnTo>
                    <a:pt x="112" y="90"/>
                  </a:lnTo>
                  <a:lnTo>
                    <a:pt x="116" y="86"/>
                  </a:lnTo>
                  <a:lnTo>
                    <a:pt x="120" y="83"/>
                  </a:lnTo>
                  <a:lnTo>
                    <a:pt x="126" y="81"/>
                  </a:lnTo>
                  <a:lnTo>
                    <a:pt x="132" y="78"/>
                  </a:lnTo>
                  <a:lnTo>
                    <a:pt x="139" y="76"/>
                  </a:lnTo>
                  <a:lnTo>
                    <a:pt x="147" y="75"/>
                  </a:lnTo>
                  <a:lnTo>
                    <a:pt x="156" y="74"/>
                  </a:lnTo>
                  <a:lnTo>
                    <a:pt x="166" y="74"/>
                  </a:lnTo>
                  <a:lnTo>
                    <a:pt x="166" y="74"/>
                  </a:lnTo>
                  <a:lnTo>
                    <a:pt x="185" y="75"/>
                  </a:lnTo>
                  <a:lnTo>
                    <a:pt x="205" y="77"/>
                  </a:lnTo>
                  <a:lnTo>
                    <a:pt x="222" y="81"/>
                  </a:lnTo>
                  <a:lnTo>
                    <a:pt x="238" y="85"/>
                  </a:lnTo>
                  <a:lnTo>
                    <a:pt x="262" y="94"/>
                  </a:lnTo>
                  <a:lnTo>
                    <a:pt x="271" y="98"/>
                  </a:lnTo>
                  <a:lnTo>
                    <a:pt x="295" y="30"/>
                  </a:lnTo>
                  <a:lnTo>
                    <a:pt x="295" y="30"/>
                  </a:lnTo>
                  <a:lnTo>
                    <a:pt x="276" y="22"/>
                  </a:lnTo>
                  <a:lnTo>
                    <a:pt x="263" y="16"/>
                  </a:lnTo>
                  <a:lnTo>
                    <a:pt x="247" y="12"/>
                  </a:lnTo>
                  <a:lnTo>
                    <a:pt x="228" y="7"/>
                  </a:lnTo>
                  <a:lnTo>
                    <a:pt x="207" y="4"/>
                  </a:lnTo>
                  <a:lnTo>
                    <a:pt x="183" y="1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143" y="1"/>
                  </a:lnTo>
                  <a:lnTo>
                    <a:pt x="129" y="2"/>
                  </a:lnTo>
                  <a:lnTo>
                    <a:pt x="115" y="4"/>
                  </a:lnTo>
                  <a:lnTo>
                    <a:pt x="102" y="8"/>
                  </a:lnTo>
                  <a:lnTo>
                    <a:pt x="88" y="12"/>
                  </a:lnTo>
                  <a:lnTo>
                    <a:pt x="76" y="17"/>
                  </a:lnTo>
                  <a:lnTo>
                    <a:pt x="64" y="24"/>
                  </a:lnTo>
                  <a:lnTo>
                    <a:pt x="53" y="31"/>
                  </a:lnTo>
                  <a:lnTo>
                    <a:pt x="42" y="39"/>
                  </a:lnTo>
                  <a:lnTo>
                    <a:pt x="33" y="47"/>
                  </a:lnTo>
                  <a:lnTo>
                    <a:pt x="25" y="58"/>
                  </a:lnTo>
                  <a:lnTo>
                    <a:pt x="19" y="69"/>
                  </a:lnTo>
                  <a:lnTo>
                    <a:pt x="13" y="80"/>
                  </a:lnTo>
                  <a:lnTo>
                    <a:pt x="9" y="94"/>
                  </a:lnTo>
                  <a:lnTo>
                    <a:pt x="7" y="107"/>
                  </a:lnTo>
                  <a:lnTo>
                    <a:pt x="6" y="122"/>
                  </a:lnTo>
                  <a:lnTo>
                    <a:pt x="6" y="122"/>
                  </a:lnTo>
                  <a:lnTo>
                    <a:pt x="7" y="137"/>
                  </a:lnTo>
                  <a:lnTo>
                    <a:pt x="9" y="150"/>
                  </a:lnTo>
                  <a:lnTo>
                    <a:pt x="13" y="164"/>
                  </a:lnTo>
                  <a:lnTo>
                    <a:pt x="19" y="175"/>
                  </a:lnTo>
                  <a:lnTo>
                    <a:pt x="25" y="185"/>
                  </a:lnTo>
                  <a:lnTo>
                    <a:pt x="33" y="194"/>
                  </a:lnTo>
                  <a:lnTo>
                    <a:pt x="42" y="203"/>
                  </a:lnTo>
                  <a:lnTo>
                    <a:pt x="51" y="210"/>
                  </a:lnTo>
                  <a:lnTo>
                    <a:pt x="62" y="217"/>
                  </a:lnTo>
                  <a:lnTo>
                    <a:pt x="73" y="223"/>
                  </a:lnTo>
                  <a:lnTo>
                    <a:pt x="84" y="229"/>
                  </a:lnTo>
                  <a:lnTo>
                    <a:pt x="95" y="235"/>
                  </a:lnTo>
                  <a:lnTo>
                    <a:pt x="119" y="243"/>
                  </a:lnTo>
                  <a:lnTo>
                    <a:pt x="142" y="251"/>
                  </a:lnTo>
                  <a:lnTo>
                    <a:pt x="142" y="251"/>
                  </a:lnTo>
                  <a:lnTo>
                    <a:pt x="171" y="261"/>
                  </a:lnTo>
                  <a:lnTo>
                    <a:pt x="184" y="266"/>
                  </a:lnTo>
                  <a:lnTo>
                    <a:pt x="196" y="273"/>
                  </a:lnTo>
                  <a:lnTo>
                    <a:pt x="205" y="280"/>
                  </a:lnTo>
                  <a:lnTo>
                    <a:pt x="211" y="287"/>
                  </a:lnTo>
                  <a:lnTo>
                    <a:pt x="214" y="291"/>
                  </a:lnTo>
                  <a:lnTo>
                    <a:pt x="216" y="296"/>
                  </a:lnTo>
                  <a:lnTo>
                    <a:pt x="217" y="300"/>
                  </a:lnTo>
                  <a:lnTo>
                    <a:pt x="217" y="306"/>
                  </a:lnTo>
                  <a:lnTo>
                    <a:pt x="217" y="306"/>
                  </a:lnTo>
                  <a:lnTo>
                    <a:pt x="217" y="315"/>
                  </a:lnTo>
                  <a:lnTo>
                    <a:pt x="214" y="324"/>
                  </a:lnTo>
                  <a:lnTo>
                    <a:pt x="212" y="328"/>
                  </a:lnTo>
                  <a:lnTo>
                    <a:pt x="209" y="332"/>
                  </a:lnTo>
                  <a:lnTo>
                    <a:pt x="206" y="335"/>
                  </a:lnTo>
                  <a:lnTo>
                    <a:pt x="202" y="340"/>
                  </a:lnTo>
                  <a:lnTo>
                    <a:pt x="197" y="343"/>
                  </a:lnTo>
                  <a:lnTo>
                    <a:pt x="190" y="346"/>
                  </a:lnTo>
                  <a:lnTo>
                    <a:pt x="184" y="348"/>
                  </a:lnTo>
                  <a:lnTo>
                    <a:pt x="176" y="350"/>
                  </a:lnTo>
                  <a:lnTo>
                    <a:pt x="167" y="352"/>
                  </a:lnTo>
                  <a:lnTo>
                    <a:pt x="158" y="353"/>
                  </a:lnTo>
                  <a:lnTo>
                    <a:pt x="134" y="354"/>
                  </a:lnTo>
                  <a:lnTo>
                    <a:pt x="134" y="354"/>
                  </a:lnTo>
                  <a:lnTo>
                    <a:pt x="113" y="354"/>
                  </a:lnTo>
                  <a:lnTo>
                    <a:pt x="92" y="352"/>
                  </a:lnTo>
                  <a:lnTo>
                    <a:pt x="55" y="348"/>
                  </a:lnTo>
                  <a:lnTo>
                    <a:pt x="28" y="344"/>
                  </a:lnTo>
                  <a:lnTo>
                    <a:pt x="18" y="342"/>
                  </a:lnTo>
                  <a:lnTo>
                    <a:pt x="0" y="41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  <p:sp>
          <p:nvSpPr>
            <p:cNvPr id="43" name="Freeform 14"/>
            <p:cNvSpPr>
              <a:spLocks/>
            </p:cNvSpPr>
            <p:nvPr userDrawn="1"/>
          </p:nvSpPr>
          <p:spPr bwMode="auto">
            <a:xfrm>
              <a:off x="5059" y="3992"/>
              <a:ext cx="48" cy="71"/>
            </a:xfrm>
            <a:custGeom>
              <a:avLst/>
              <a:gdLst>
                <a:gd name="T0" fmla="*/ 0 w 194"/>
                <a:gd name="T1" fmla="*/ 7 h 282"/>
                <a:gd name="T2" fmla="*/ 0 w 194"/>
                <a:gd name="T3" fmla="*/ 7 h 282"/>
                <a:gd name="T4" fmla="*/ 14 w 194"/>
                <a:gd name="T5" fmla="*/ 4 h 282"/>
                <a:gd name="T6" fmla="*/ 31 w 194"/>
                <a:gd name="T7" fmla="*/ 2 h 282"/>
                <a:gd name="T8" fmla="*/ 52 w 194"/>
                <a:gd name="T9" fmla="*/ 0 h 282"/>
                <a:gd name="T10" fmla="*/ 73 w 194"/>
                <a:gd name="T11" fmla="*/ 0 h 282"/>
                <a:gd name="T12" fmla="*/ 73 w 194"/>
                <a:gd name="T13" fmla="*/ 0 h 282"/>
                <a:gd name="T14" fmla="*/ 87 w 194"/>
                <a:gd name="T15" fmla="*/ 0 h 282"/>
                <a:gd name="T16" fmla="*/ 98 w 194"/>
                <a:gd name="T17" fmla="*/ 1 h 282"/>
                <a:gd name="T18" fmla="*/ 110 w 194"/>
                <a:gd name="T19" fmla="*/ 4 h 282"/>
                <a:gd name="T20" fmla="*/ 121 w 194"/>
                <a:gd name="T21" fmla="*/ 7 h 282"/>
                <a:gd name="T22" fmla="*/ 132 w 194"/>
                <a:gd name="T23" fmla="*/ 11 h 282"/>
                <a:gd name="T24" fmla="*/ 141 w 194"/>
                <a:gd name="T25" fmla="*/ 17 h 282"/>
                <a:gd name="T26" fmla="*/ 151 w 194"/>
                <a:gd name="T27" fmla="*/ 24 h 282"/>
                <a:gd name="T28" fmla="*/ 159 w 194"/>
                <a:gd name="T29" fmla="*/ 31 h 282"/>
                <a:gd name="T30" fmla="*/ 166 w 194"/>
                <a:gd name="T31" fmla="*/ 40 h 282"/>
                <a:gd name="T32" fmla="*/ 174 w 194"/>
                <a:gd name="T33" fmla="*/ 49 h 282"/>
                <a:gd name="T34" fmla="*/ 180 w 194"/>
                <a:gd name="T35" fmla="*/ 61 h 282"/>
                <a:gd name="T36" fmla="*/ 185 w 194"/>
                <a:gd name="T37" fmla="*/ 74 h 282"/>
                <a:gd name="T38" fmla="*/ 189 w 194"/>
                <a:gd name="T39" fmla="*/ 88 h 282"/>
                <a:gd name="T40" fmla="*/ 192 w 194"/>
                <a:gd name="T41" fmla="*/ 103 h 282"/>
                <a:gd name="T42" fmla="*/ 193 w 194"/>
                <a:gd name="T43" fmla="*/ 119 h 282"/>
                <a:gd name="T44" fmla="*/ 194 w 194"/>
                <a:gd name="T45" fmla="*/ 138 h 282"/>
                <a:gd name="T46" fmla="*/ 194 w 194"/>
                <a:gd name="T47" fmla="*/ 138 h 282"/>
                <a:gd name="T48" fmla="*/ 194 w 194"/>
                <a:gd name="T49" fmla="*/ 155 h 282"/>
                <a:gd name="T50" fmla="*/ 193 w 194"/>
                <a:gd name="T51" fmla="*/ 172 h 282"/>
                <a:gd name="T52" fmla="*/ 191 w 194"/>
                <a:gd name="T53" fmla="*/ 187 h 282"/>
                <a:gd name="T54" fmla="*/ 188 w 194"/>
                <a:gd name="T55" fmla="*/ 202 h 282"/>
                <a:gd name="T56" fmla="*/ 185 w 194"/>
                <a:gd name="T57" fmla="*/ 215 h 282"/>
                <a:gd name="T58" fmla="*/ 181 w 194"/>
                <a:gd name="T59" fmla="*/ 226 h 282"/>
                <a:gd name="T60" fmla="*/ 175 w 194"/>
                <a:gd name="T61" fmla="*/ 238 h 282"/>
                <a:gd name="T62" fmla="*/ 168 w 194"/>
                <a:gd name="T63" fmla="*/ 247 h 282"/>
                <a:gd name="T64" fmla="*/ 160 w 194"/>
                <a:gd name="T65" fmla="*/ 255 h 282"/>
                <a:gd name="T66" fmla="*/ 151 w 194"/>
                <a:gd name="T67" fmla="*/ 262 h 282"/>
                <a:gd name="T68" fmla="*/ 141 w 194"/>
                <a:gd name="T69" fmla="*/ 269 h 282"/>
                <a:gd name="T70" fmla="*/ 129 w 194"/>
                <a:gd name="T71" fmla="*/ 274 h 282"/>
                <a:gd name="T72" fmla="*/ 115 w 194"/>
                <a:gd name="T73" fmla="*/ 277 h 282"/>
                <a:gd name="T74" fmla="*/ 100 w 194"/>
                <a:gd name="T75" fmla="*/ 280 h 282"/>
                <a:gd name="T76" fmla="*/ 84 w 194"/>
                <a:gd name="T77" fmla="*/ 282 h 282"/>
                <a:gd name="T78" fmla="*/ 65 w 194"/>
                <a:gd name="T79" fmla="*/ 282 h 282"/>
                <a:gd name="T80" fmla="*/ 65 w 194"/>
                <a:gd name="T81" fmla="*/ 282 h 282"/>
                <a:gd name="T82" fmla="*/ 42 w 194"/>
                <a:gd name="T83" fmla="*/ 281 h 282"/>
                <a:gd name="T84" fmla="*/ 20 w 194"/>
                <a:gd name="T85" fmla="*/ 280 h 282"/>
                <a:gd name="T86" fmla="*/ 0 w 194"/>
                <a:gd name="T87" fmla="*/ 278 h 282"/>
                <a:gd name="T88" fmla="*/ 0 w 194"/>
                <a:gd name="T89" fmla="*/ 7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4" h="282">
                  <a:moveTo>
                    <a:pt x="0" y="7"/>
                  </a:moveTo>
                  <a:lnTo>
                    <a:pt x="0" y="7"/>
                  </a:lnTo>
                  <a:lnTo>
                    <a:pt x="14" y="4"/>
                  </a:lnTo>
                  <a:lnTo>
                    <a:pt x="31" y="2"/>
                  </a:lnTo>
                  <a:lnTo>
                    <a:pt x="52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87" y="0"/>
                  </a:lnTo>
                  <a:lnTo>
                    <a:pt x="98" y="1"/>
                  </a:lnTo>
                  <a:lnTo>
                    <a:pt x="110" y="4"/>
                  </a:lnTo>
                  <a:lnTo>
                    <a:pt x="121" y="7"/>
                  </a:lnTo>
                  <a:lnTo>
                    <a:pt x="132" y="11"/>
                  </a:lnTo>
                  <a:lnTo>
                    <a:pt x="141" y="17"/>
                  </a:lnTo>
                  <a:lnTo>
                    <a:pt x="151" y="24"/>
                  </a:lnTo>
                  <a:lnTo>
                    <a:pt x="159" y="31"/>
                  </a:lnTo>
                  <a:lnTo>
                    <a:pt x="166" y="40"/>
                  </a:lnTo>
                  <a:lnTo>
                    <a:pt x="174" y="49"/>
                  </a:lnTo>
                  <a:lnTo>
                    <a:pt x="180" y="61"/>
                  </a:lnTo>
                  <a:lnTo>
                    <a:pt x="185" y="74"/>
                  </a:lnTo>
                  <a:lnTo>
                    <a:pt x="189" y="88"/>
                  </a:lnTo>
                  <a:lnTo>
                    <a:pt x="192" y="103"/>
                  </a:lnTo>
                  <a:lnTo>
                    <a:pt x="193" y="119"/>
                  </a:lnTo>
                  <a:lnTo>
                    <a:pt x="194" y="138"/>
                  </a:lnTo>
                  <a:lnTo>
                    <a:pt x="194" y="138"/>
                  </a:lnTo>
                  <a:lnTo>
                    <a:pt x="194" y="155"/>
                  </a:lnTo>
                  <a:lnTo>
                    <a:pt x="193" y="172"/>
                  </a:lnTo>
                  <a:lnTo>
                    <a:pt x="191" y="187"/>
                  </a:lnTo>
                  <a:lnTo>
                    <a:pt x="188" y="202"/>
                  </a:lnTo>
                  <a:lnTo>
                    <a:pt x="185" y="215"/>
                  </a:lnTo>
                  <a:lnTo>
                    <a:pt x="181" y="226"/>
                  </a:lnTo>
                  <a:lnTo>
                    <a:pt x="175" y="238"/>
                  </a:lnTo>
                  <a:lnTo>
                    <a:pt x="168" y="247"/>
                  </a:lnTo>
                  <a:lnTo>
                    <a:pt x="160" y="255"/>
                  </a:lnTo>
                  <a:lnTo>
                    <a:pt x="151" y="262"/>
                  </a:lnTo>
                  <a:lnTo>
                    <a:pt x="141" y="269"/>
                  </a:lnTo>
                  <a:lnTo>
                    <a:pt x="129" y="274"/>
                  </a:lnTo>
                  <a:lnTo>
                    <a:pt x="115" y="277"/>
                  </a:lnTo>
                  <a:lnTo>
                    <a:pt x="100" y="280"/>
                  </a:lnTo>
                  <a:lnTo>
                    <a:pt x="84" y="282"/>
                  </a:lnTo>
                  <a:lnTo>
                    <a:pt x="65" y="282"/>
                  </a:lnTo>
                  <a:lnTo>
                    <a:pt x="65" y="282"/>
                  </a:lnTo>
                  <a:lnTo>
                    <a:pt x="42" y="281"/>
                  </a:lnTo>
                  <a:lnTo>
                    <a:pt x="20" y="280"/>
                  </a:lnTo>
                  <a:lnTo>
                    <a:pt x="0" y="278"/>
                  </a:lnTo>
                  <a:lnTo>
                    <a:pt x="0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  <p:sp>
          <p:nvSpPr>
            <p:cNvPr id="44" name="Freeform 15"/>
            <p:cNvSpPr>
              <a:spLocks/>
            </p:cNvSpPr>
            <p:nvPr userDrawn="1"/>
          </p:nvSpPr>
          <p:spPr bwMode="auto">
            <a:xfrm>
              <a:off x="5035" y="3974"/>
              <a:ext cx="97" cy="107"/>
            </a:xfrm>
            <a:custGeom>
              <a:avLst/>
              <a:gdLst>
                <a:gd name="T0" fmla="*/ 171 w 385"/>
                <a:gd name="T1" fmla="*/ 0 h 428"/>
                <a:gd name="T2" fmla="*/ 171 w 385"/>
                <a:gd name="T3" fmla="*/ 0 h 428"/>
                <a:gd name="T4" fmla="*/ 150 w 385"/>
                <a:gd name="T5" fmla="*/ 1 h 428"/>
                <a:gd name="T6" fmla="*/ 129 w 385"/>
                <a:gd name="T7" fmla="*/ 2 h 428"/>
                <a:gd name="T8" fmla="*/ 106 w 385"/>
                <a:gd name="T9" fmla="*/ 4 h 428"/>
                <a:gd name="T10" fmla="*/ 83 w 385"/>
                <a:gd name="T11" fmla="*/ 7 h 428"/>
                <a:gd name="T12" fmla="*/ 60 w 385"/>
                <a:gd name="T13" fmla="*/ 10 h 428"/>
                <a:gd name="T14" fmla="*/ 39 w 385"/>
                <a:gd name="T15" fmla="*/ 14 h 428"/>
                <a:gd name="T16" fmla="*/ 18 w 385"/>
                <a:gd name="T17" fmla="*/ 20 h 428"/>
                <a:gd name="T18" fmla="*/ 0 w 385"/>
                <a:gd name="T19" fmla="*/ 26 h 428"/>
                <a:gd name="T20" fmla="*/ 0 w 385"/>
                <a:gd name="T21" fmla="*/ 415 h 428"/>
                <a:gd name="T22" fmla="*/ 0 w 385"/>
                <a:gd name="T23" fmla="*/ 415 h 428"/>
                <a:gd name="T24" fmla="*/ 15 w 385"/>
                <a:gd name="T25" fmla="*/ 418 h 428"/>
                <a:gd name="T26" fmla="*/ 34 w 385"/>
                <a:gd name="T27" fmla="*/ 420 h 428"/>
                <a:gd name="T28" fmla="*/ 73 w 385"/>
                <a:gd name="T29" fmla="*/ 424 h 428"/>
                <a:gd name="T30" fmla="*/ 116 w 385"/>
                <a:gd name="T31" fmla="*/ 427 h 428"/>
                <a:gd name="T32" fmla="*/ 155 w 385"/>
                <a:gd name="T33" fmla="*/ 428 h 428"/>
                <a:gd name="T34" fmla="*/ 155 w 385"/>
                <a:gd name="T35" fmla="*/ 428 h 428"/>
                <a:gd name="T36" fmla="*/ 186 w 385"/>
                <a:gd name="T37" fmla="*/ 427 h 428"/>
                <a:gd name="T38" fmla="*/ 212 w 385"/>
                <a:gd name="T39" fmla="*/ 425 h 428"/>
                <a:gd name="T40" fmla="*/ 238 w 385"/>
                <a:gd name="T41" fmla="*/ 421 h 428"/>
                <a:gd name="T42" fmla="*/ 261 w 385"/>
                <a:gd name="T43" fmla="*/ 415 h 428"/>
                <a:gd name="T44" fmla="*/ 282 w 385"/>
                <a:gd name="T45" fmla="*/ 408 h 428"/>
                <a:gd name="T46" fmla="*/ 301 w 385"/>
                <a:gd name="T47" fmla="*/ 399 h 428"/>
                <a:gd name="T48" fmla="*/ 309 w 385"/>
                <a:gd name="T49" fmla="*/ 394 h 428"/>
                <a:gd name="T50" fmla="*/ 318 w 385"/>
                <a:gd name="T51" fmla="*/ 389 h 428"/>
                <a:gd name="T52" fmla="*/ 326 w 385"/>
                <a:gd name="T53" fmla="*/ 383 h 428"/>
                <a:gd name="T54" fmla="*/ 333 w 385"/>
                <a:gd name="T55" fmla="*/ 377 h 428"/>
                <a:gd name="T56" fmla="*/ 339 w 385"/>
                <a:gd name="T57" fmla="*/ 369 h 428"/>
                <a:gd name="T58" fmla="*/ 345 w 385"/>
                <a:gd name="T59" fmla="*/ 362 h 428"/>
                <a:gd name="T60" fmla="*/ 351 w 385"/>
                <a:gd name="T61" fmla="*/ 355 h 428"/>
                <a:gd name="T62" fmla="*/ 356 w 385"/>
                <a:gd name="T63" fmla="*/ 347 h 428"/>
                <a:gd name="T64" fmla="*/ 361 w 385"/>
                <a:gd name="T65" fmla="*/ 337 h 428"/>
                <a:gd name="T66" fmla="*/ 366 w 385"/>
                <a:gd name="T67" fmla="*/ 329 h 428"/>
                <a:gd name="T68" fmla="*/ 373 w 385"/>
                <a:gd name="T69" fmla="*/ 309 h 428"/>
                <a:gd name="T70" fmla="*/ 378 w 385"/>
                <a:gd name="T71" fmla="*/ 287 h 428"/>
                <a:gd name="T72" fmla="*/ 382 w 385"/>
                <a:gd name="T73" fmla="*/ 264 h 428"/>
                <a:gd name="T74" fmla="*/ 384 w 385"/>
                <a:gd name="T75" fmla="*/ 239 h 428"/>
                <a:gd name="T76" fmla="*/ 385 w 385"/>
                <a:gd name="T77" fmla="*/ 211 h 428"/>
                <a:gd name="T78" fmla="*/ 385 w 385"/>
                <a:gd name="T79" fmla="*/ 211 h 428"/>
                <a:gd name="T80" fmla="*/ 384 w 385"/>
                <a:gd name="T81" fmla="*/ 187 h 428"/>
                <a:gd name="T82" fmla="*/ 381 w 385"/>
                <a:gd name="T83" fmla="*/ 164 h 428"/>
                <a:gd name="T84" fmla="*/ 377 w 385"/>
                <a:gd name="T85" fmla="*/ 143 h 428"/>
                <a:gd name="T86" fmla="*/ 371 w 385"/>
                <a:gd name="T87" fmla="*/ 122 h 428"/>
                <a:gd name="T88" fmla="*/ 363 w 385"/>
                <a:gd name="T89" fmla="*/ 104 h 428"/>
                <a:gd name="T90" fmla="*/ 352 w 385"/>
                <a:gd name="T91" fmla="*/ 86 h 428"/>
                <a:gd name="T92" fmla="*/ 341 w 385"/>
                <a:gd name="T93" fmla="*/ 71 h 428"/>
                <a:gd name="T94" fmla="*/ 328 w 385"/>
                <a:gd name="T95" fmla="*/ 57 h 428"/>
                <a:gd name="T96" fmla="*/ 314 w 385"/>
                <a:gd name="T97" fmla="*/ 43 h 428"/>
                <a:gd name="T98" fmla="*/ 297 w 385"/>
                <a:gd name="T99" fmla="*/ 32 h 428"/>
                <a:gd name="T100" fmla="*/ 280 w 385"/>
                <a:gd name="T101" fmla="*/ 23 h 428"/>
                <a:gd name="T102" fmla="*/ 260 w 385"/>
                <a:gd name="T103" fmla="*/ 14 h 428"/>
                <a:gd name="T104" fmla="*/ 240 w 385"/>
                <a:gd name="T105" fmla="*/ 8 h 428"/>
                <a:gd name="T106" fmla="*/ 218 w 385"/>
                <a:gd name="T107" fmla="*/ 4 h 428"/>
                <a:gd name="T108" fmla="*/ 195 w 385"/>
                <a:gd name="T109" fmla="*/ 1 h 428"/>
                <a:gd name="T110" fmla="*/ 171 w 385"/>
                <a:gd name="T111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5" h="428">
                  <a:moveTo>
                    <a:pt x="171" y="0"/>
                  </a:moveTo>
                  <a:lnTo>
                    <a:pt x="171" y="0"/>
                  </a:lnTo>
                  <a:lnTo>
                    <a:pt x="150" y="1"/>
                  </a:lnTo>
                  <a:lnTo>
                    <a:pt x="129" y="2"/>
                  </a:lnTo>
                  <a:lnTo>
                    <a:pt x="106" y="4"/>
                  </a:lnTo>
                  <a:lnTo>
                    <a:pt x="83" y="7"/>
                  </a:lnTo>
                  <a:lnTo>
                    <a:pt x="60" y="10"/>
                  </a:lnTo>
                  <a:lnTo>
                    <a:pt x="39" y="14"/>
                  </a:lnTo>
                  <a:lnTo>
                    <a:pt x="18" y="20"/>
                  </a:lnTo>
                  <a:lnTo>
                    <a:pt x="0" y="26"/>
                  </a:lnTo>
                  <a:lnTo>
                    <a:pt x="0" y="415"/>
                  </a:lnTo>
                  <a:lnTo>
                    <a:pt x="0" y="415"/>
                  </a:lnTo>
                  <a:lnTo>
                    <a:pt x="15" y="418"/>
                  </a:lnTo>
                  <a:lnTo>
                    <a:pt x="34" y="420"/>
                  </a:lnTo>
                  <a:lnTo>
                    <a:pt x="73" y="424"/>
                  </a:lnTo>
                  <a:lnTo>
                    <a:pt x="116" y="427"/>
                  </a:lnTo>
                  <a:lnTo>
                    <a:pt x="155" y="428"/>
                  </a:lnTo>
                  <a:lnTo>
                    <a:pt x="155" y="428"/>
                  </a:lnTo>
                  <a:lnTo>
                    <a:pt x="186" y="427"/>
                  </a:lnTo>
                  <a:lnTo>
                    <a:pt x="212" y="425"/>
                  </a:lnTo>
                  <a:lnTo>
                    <a:pt x="238" y="421"/>
                  </a:lnTo>
                  <a:lnTo>
                    <a:pt x="261" y="415"/>
                  </a:lnTo>
                  <a:lnTo>
                    <a:pt x="282" y="408"/>
                  </a:lnTo>
                  <a:lnTo>
                    <a:pt x="301" y="399"/>
                  </a:lnTo>
                  <a:lnTo>
                    <a:pt x="309" y="394"/>
                  </a:lnTo>
                  <a:lnTo>
                    <a:pt x="318" y="389"/>
                  </a:lnTo>
                  <a:lnTo>
                    <a:pt x="326" y="383"/>
                  </a:lnTo>
                  <a:lnTo>
                    <a:pt x="333" y="377"/>
                  </a:lnTo>
                  <a:lnTo>
                    <a:pt x="339" y="369"/>
                  </a:lnTo>
                  <a:lnTo>
                    <a:pt x="345" y="362"/>
                  </a:lnTo>
                  <a:lnTo>
                    <a:pt x="351" y="355"/>
                  </a:lnTo>
                  <a:lnTo>
                    <a:pt x="356" y="347"/>
                  </a:lnTo>
                  <a:lnTo>
                    <a:pt x="361" y="337"/>
                  </a:lnTo>
                  <a:lnTo>
                    <a:pt x="366" y="329"/>
                  </a:lnTo>
                  <a:lnTo>
                    <a:pt x="373" y="309"/>
                  </a:lnTo>
                  <a:lnTo>
                    <a:pt x="378" y="287"/>
                  </a:lnTo>
                  <a:lnTo>
                    <a:pt x="382" y="264"/>
                  </a:lnTo>
                  <a:lnTo>
                    <a:pt x="384" y="239"/>
                  </a:lnTo>
                  <a:lnTo>
                    <a:pt x="385" y="211"/>
                  </a:lnTo>
                  <a:lnTo>
                    <a:pt x="385" y="211"/>
                  </a:lnTo>
                  <a:lnTo>
                    <a:pt x="384" y="187"/>
                  </a:lnTo>
                  <a:lnTo>
                    <a:pt x="381" y="164"/>
                  </a:lnTo>
                  <a:lnTo>
                    <a:pt x="377" y="143"/>
                  </a:lnTo>
                  <a:lnTo>
                    <a:pt x="371" y="122"/>
                  </a:lnTo>
                  <a:lnTo>
                    <a:pt x="363" y="104"/>
                  </a:lnTo>
                  <a:lnTo>
                    <a:pt x="352" y="86"/>
                  </a:lnTo>
                  <a:lnTo>
                    <a:pt x="341" y="71"/>
                  </a:lnTo>
                  <a:lnTo>
                    <a:pt x="328" y="57"/>
                  </a:lnTo>
                  <a:lnTo>
                    <a:pt x="314" y="43"/>
                  </a:lnTo>
                  <a:lnTo>
                    <a:pt x="297" y="32"/>
                  </a:lnTo>
                  <a:lnTo>
                    <a:pt x="280" y="23"/>
                  </a:lnTo>
                  <a:lnTo>
                    <a:pt x="260" y="14"/>
                  </a:lnTo>
                  <a:lnTo>
                    <a:pt x="240" y="8"/>
                  </a:lnTo>
                  <a:lnTo>
                    <a:pt x="218" y="4"/>
                  </a:lnTo>
                  <a:lnTo>
                    <a:pt x="195" y="1"/>
                  </a:lnTo>
                  <a:lnTo>
                    <a:pt x="17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</p:grpSp>
      <p:cxnSp>
        <p:nvCxnSpPr>
          <p:cNvPr id="25" name="Conector recto 12"/>
          <p:cNvCxnSpPr/>
          <p:nvPr userDrawn="1"/>
        </p:nvCxnSpPr>
        <p:spPr>
          <a:xfrm flipH="1">
            <a:off x="388938" y="3351542"/>
            <a:ext cx="1841652" cy="0"/>
          </a:xfrm>
          <a:prstGeom prst="line">
            <a:avLst/>
          </a:prstGeom>
          <a:noFill/>
          <a:ln w="12700" cap="flat" cmpd="sng" algn="ctr">
            <a:solidFill>
              <a:schemeClr val="accent3"/>
            </a:solidFill>
            <a:prstDash val="solid"/>
          </a:ln>
          <a:effectLst/>
        </p:spPr>
      </p:cxnSp>
      <p:sp>
        <p:nvSpPr>
          <p:cNvPr id="26" name="TextBox 25"/>
          <p:cNvSpPr txBox="1"/>
          <p:nvPr userDrawn="1"/>
        </p:nvSpPr>
        <p:spPr>
          <a:xfrm>
            <a:off x="2287740" y="3032191"/>
            <a:ext cx="5870370" cy="415859"/>
          </a:xfrm>
          <a:prstGeom prst="rect">
            <a:avLst/>
          </a:prstGeom>
          <a:noFill/>
        </p:spPr>
        <p:txBody>
          <a:bodyPr wrap="square" lIns="90000" rIns="90000" rtlCol="0">
            <a:noAutofit/>
          </a:bodyPr>
          <a:lstStyle/>
          <a:p>
            <a:pPr defTabSz="895350">
              <a:buClr>
                <a:srgbClr val="00A9E0"/>
              </a:buClr>
              <a:buSzPct val="120000"/>
              <a:buFont typeface="Verdana" pitchFamily="34" charset="0"/>
              <a:buNone/>
            </a:pPr>
            <a:r>
              <a:rPr lang="en-US" sz="2000" dirty="0" smtClean="0">
                <a:solidFill>
                  <a:srgbClr val="00A9E0"/>
                </a:solidFill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623770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ST - 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0"/>
          <p:cNvSpPr txBox="1">
            <a:spLocks noChangeArrowheads="1"/>
          </p:cNvSpPr>
          <p:nvPr userDrawn="1"/>
        </p:nvSpPr>
        <p:spPr>
          <a:xfrm>
            <a:off x="414971" y="6488689"/>
            <a:ext cx="1771650" cy="211203"/>
          </a:xfrm>
          <a:prstGeom prst="rect">
            <a:avLst/>
          </a:prstGeom>
          <a:ln/>
        </p:spPr>
        <p:txBody>
          <a:bodyPr vert="horz" lIns="0" tIns="36000" rIns="0" bIns="3600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accent6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dirty="0" smtClean="0">
                <a:solidFill>
                  <a:srgbClr val="4D4D4D"/>
                </a:solidFill>
              </a:rPr>
              <a:t>Page </a:t>
            </a:r>
            <a:fld id="{4A1B87DD-86B5-48CA-9454-66C05345144F}" type="slidenum">
              <a:rPr lang="en-US" smtClean="0">
                <a:solidFill>
                  <a:srgbClr val="4D4D4D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86379" y="1309683"/>
            <a:ext cx="8482017" cy="4570732"/>
          </a:xfrm>
          <a:prstGeom prst="rect">
            <a:avLst/>
          </a:prstGeom>
        </p:spPr>
        <p:txBody>
          <a:bodyPr lIns="72000" rIns="72000">
            <a:noAutofit/>
          </a:bodyPr>
          <a:lstStyle>
            <a:lvl1pPr marL="363538" indent="-365125">
              <a:spcBef>
                <a:spcPts val="0"/>
              </a:spcBef>
              <a:buClr>
                <a:schemeClr val="accent3"/>
              </a:buClr>
              <a:buSzPct val="120000"/>
              <a:buFont typeface="Verdana" pitchFamily="34" charset="0"/>
              <a:buChar char="_"/>
              <a:defRPr sz="1600">
                <a:solidFill>
                  <a:schemeClr val="tx1"/>
                </a:solidFill>
                <a:latin typeface="+mj-lt"/>
              </a:defRPr>
            </a:lvl1pPr>
            <a:lvl2pPr marL="628650" indent="-184150">
              <a:spcBef>
                <a:spcPts val="0"/>
              </a:spcBef>
              <a:buClr>
                <a:schemeClr val="accent3"/>
              </a:buClr>
              <a:buSzPct val="12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2pPr>
            <a:lvl3pPr marL="542925" indent="-161925">
              <a:spcBef>
                <a:spcPts val="0"/>
              </a:spcBef>
              <a:buClr>
                <a:schemeClr val="accent3"/>
              </a:buClr>
              <a:buSzPct val="12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3pPr>
            <a:lvl4pPr marL="895350" indent="-174625">
              <a:spcBef>
                <a:spcPts val="0"/>
              </a:spcBef>
              <a:buClr>
                <a:schemeClr val="accent3"/>
              </a:buClr>
              <a:buSzPct val="80000"/>
              <a:buFont typeface="Courier New" panose="02070309020205020404" pitchFamily="49" charset="0"/>
              <a:buChar char="o"/>
              <a:defRPr sz="1600">
                <a:solidFill>
                  <a:schemeClr val="tx1"/>
                </a:solidFill>
                <a:latin typeface="+mj-lt"/>
              </a:defRPr>
            </a:lvl4pPr>
            <a:lvl5pPr marL="1162050" indent="-171450">
              <a:spcBef>
                <a:spcPts val="0"/>
              </a:spcBef>
              <a:buClr>
                <a:schemeClr val="accent3"/>
              </a:buClr>
              <a:buSzPct val="120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86379" y="1039556"/>
            <a:ext cx="7920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9144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160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lang="en-US" sz="2200" smtClean="0">
                <a:solidFill>
                  <a:srgbClr val="1A61A9"/>
                </a:solidFill>
                <a:latin typeface="Arial" charset="0"/>
              </a:defRPr>
            </a:lvl2pPr>
            <a:lvl3pPr marL="914400" indent="0">
              <a:buNone/>
              <a:defRPr lang="en-US" sz="2200" smtClean="0">
                <a:solidFill>
                  <a:srgbClr val="1A61A9"/>
                </a:solidFill>
                <a:latin typeface="Arial" charset="0"/>
              </a:defRPr>
            </a:lvl3pPr>
            <a:lvl4pPr marL="1371600" indent="0">
              <a:buNone/>
              <a:defRPr lang="en-US" sz="2200" smtClean="0">
                <a:solidFill>
                  <a:srgbClr val="1A61A9"/>
                </a:solidFill>
                <a:latin typeface="Arial" charset="0"/>
              </a:defRPr>
            </a:lvl4pPr>
            <a:lvl5pPr marL="1828800" indent="0">
              <a:buNone/>
              <a:defRPr lang="en-US" sz="2200">
                <a:solidFill>
                  <a:srgbClr val="1A61A9"/>
                </a:solidFill>
                <a:latin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subtitle style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286379" y="348775"/>
            <a:ext cx="7920000" cy="674489"/>
          </a:xfrm>
          <a:prstGeom prst="rect">
            <a:avLst/>
          </a:prstGeom>
        </p:spPr>
        <p:txBody>
          <a:bodyPr lIns="72000" anchor="t" anchorCtr="0"/>
          <a:lstStyle>
            <a:lvl1pPr>
              <a:lnSpc>
                <a:spcPct val="90000"/>
              </a:lnSpc>
              <a:defRPr sz="2000" baseline="0">
                <a:solidFill>
                  <a:schemeClr val="accent1"/>
                </a:solidFill>
                <a:latin typeface="Verdana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572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ST - 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0"/>
          <p:cNvSpPr txBox="1">
            <a:spLocks noChangeArrowheads="1"/>
          </p:cNvSpPr>
          <p:nvPr userDrawn="1"/>
        </p:nvSpPr>
        <p:spPr>
          <a:xfrm>
            <a:off x="414971" y="6488689"/>
            <a:ext cx="1771650" cy="211203"/>
          </a:xfrm>
          <a:prstGeom prst="rect">
            <a:avLst/>
          </a:prstGeom>
          <a:ln/>
        </p:spPr>
        <p:txBody>
          <a:bodyPr vert="horz" lIns="0" tIns="36000" rIns="0" bIns="3600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accent6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dirty="0" smtClean="0">
                <a:solidFill>
                  <a:srgbClr val="4D4D4D"/>
                </a:solidFill>
              </a:rPr>
              <a:t>Page </a:t>
            </a:r>
            <a:fld id="{4A1B87DD-86B5-48CA-9454-66C05345144F}" type="slidenum">
              <a:rPr lang="en-US" smtClean="0">
                <a:solidFill>
                  <a:srgbClr val="4D4D4D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86379" y="1309683"/>
            <a:ext cx="8482017" cy="4570732"/>
          </a:xfrm>
          <a:prstGeom prst="rect">
            <a:avLst/>
          </a:prstGeom>
        </p:spPr>
        <p:txBody>
          <a:bodyPr lIns="72000" rIns="72000">
            <a:noAutofit/>
          </a:bodyPr>
          <a:lstStyle>
            <a:lvl1pPr marL="363538" indent="-365125">
              <a:spcBef>
                <a:spcPts val="0"/>
              </a:spcBef>
              <a:buClr>
                <a:schemeClr val="accent3"/>
              </a:buClr>
              <a:buSzPct val="120000"/>
              <a:buFont typeface="Verdana" pitchFamily="34" charset="0"/>
              <a:buChar char="_"/>
              <a:defRPr sz="1600">
                <a:solidFill>
                  <a:schemeClr val="tx1"/>
                </a:solidFill>
                <a:latin typeface="+mj-lt"/>
              </a:defRPr>
            </a:lvl1pPr>
            <a:lvl2pPr marL="628650" indent="-184150">
              <a:spcBef>
                <a:spcPts val="0"/>
              </a:spcBef>
              <a:buClr>
                <a:schemeClr val="accent3"/>
              </a:buClr>
              <a:buSzPct val="12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2pPr>
            <a:lvl3pPr marL="542925" indent="-161925">
              <a:spcBef>
                <a:spcPts val="0"/>
              </a:spcBef>
              <a:buClr>
                <a:schemeClr val="accent3"/>
              </a:buClr>
              <a:buSzPct val="12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3pPr>
            <a:lvl4pPr marL="895350" indent="-174625">
              <a:spcBef>
                <a:spcPts val="0"/>
              </a:spcBef>
              <a:buClr>
                <a:schemeClr val="accent3"/>
              </a:buClr>
              <a:buSzPct val="80000"/>
              <a:buFont typeface="Courier New" panose="02070309020205020404" pitchFamily="49" charset="0"/>
              <a:buChar char="o"/>
              <a:defRPr sz="1600">
                <a:solidFill>
                  <a:schemeClr val="tx1"/>
                </a:solidFill>
                <a:latin typeface="+mj-lt"/>
              </a:defRPr>
            </a:lvl4pPr>
            <a:lvl5pPr marL="1162050" indent="-171450">
              <a:spcBef>
                <a:spcPts val="0"/>
              </a:spcBef>
              <a:buClr>
                <a:schemeClr val="accent3"/>
              </a:buClr>
              <a:buSzPct val="120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86379" y="1039556"/>
            <a:ext cx="7920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9144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160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lang="en-US" sz="2200" smtClean="0">
                <a:solidFill>
                  <a:srgbClr val="1A61A9"/>
                </a:solidFill>
                <a:latin typeface="Arial" charset="0"/>
              </a:defRPr>
            </a:lvl2pPr>
            <a:lvl3pPr marL="914400" indent="0">
              <a:buNone/>
              <a:defRPr lang="en-US" sz="2200" smtClean="0">
                <a:solidFill>
                  <a:srgbClr val="1A61A9"/>
                </a:solidFill>
                <a:latin typeface="Arial" charset="0"/>
              </a:defRPr>
            </a:lvl3pPr>
            <a:lvl4pPr marL="1371600" indent="0">
              <a:buNone/>
              <a:defRPr lang="en-US" sz="2200" smtClean="0">
                <a:solidFill>
                  <a:srgbClr val="1A61A9"/>
                </a:solidFill>
                <a:latin typeface="Arial" charset="0"/>
              </a:defRPr>
            </a:lvl4pPr>
            <a:lvl5pPr marL="1828800" indent="0">
              <a:buNone/>
              <a:defRPr lang="en-US" sz="2200">
                <a:solidFill>
                  <a:srgbClr val="1A61A9"/>
                </a:solidFill>
                <a:latin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subtitle style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286379" y="348775"/>
            <a:ext cx="7920000" cy="674489"/>
          </a:xfrm>
          <a:prstGeom prst="rect">
            <a:avLst/>
          </a:prstGeom>
        </p:spPr>
        <p:txBody>
          <a:bodyPr lIns="72000" anchor="t" anchorCtr="0"/>
          <a:lstStyle>
            <a:lvl1pPr>
              <a:lnSpc>
                <a:spcPct val="90000"/>
              </a:lnSpc>
              <a:defRPr sz="2000" baseline="0">
                <a:solidFill>
                  <a:schemeClr val="accent1"/>
                </a:solidFill>
                <a:latin typeface="Verdana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993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ST - Appendix divider">
    <p:bg>
      <p:bgPr>
        <a:solidFill>
          <a:srgbClr val="D7D2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Box 11"/>
          <p:cNvSpPr txBox="1">
            <a:spLocks noChangeArrowheads="1"/>
          </p:cNvSpPr>
          <p:nvPr userDrawn="1"/>
        </p:nvSpPr>
        <p:spPr bwMode="auto">
          <a:xfrm rot="-5400000">
            <a:off x="6347717" y="3020626"/>
            <a:ext cx="528796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defRPr/>
            </a:pPr>
            <a:r>
              <a:rPr lang="en-GB" sz="700" b="0" dirty="0" smtClean="0">
                <a:solidFill>
                  <a:srgbClr val="FFFFFF">
                    <a:lumMod val="65000"/>
                  </a:srgbClr>
                </a:solidFill>
                <a:latin typeface="Verdana"/>
              </a:rPr>
              <a:t>© 2013 Amadeus IT Group SA</a:t>
            </a:r>
          </a:p>
        </p:txBody>
      </p:sp>
      <p:cxnSp>
        <p:nvCxnSpPr>
          <p:cNvPr id="25" name="Conector recto 12"/>
          <p:cNvCxnSpPr/>
          <p:nvPr userDrawn="1"/>
        </p:nvCxnSpPr>
        <p:spPr>
          <a:xfrm flipH="1">
            <a:off x="388938" y="3351542"/>
            <a:ext cx="1841652" cy="0"/>
          </a:xfrm>
          <a:prstGeom prst="line">
            <a:avLst/>
          </a:prstGeom>
          <a:noFill/>
          <a:ln w="12700" cap="flat" cmpd="sng" algn="ctr">
            <a:solidFill>
              <a:schemeClr val="accent3"/>
            </a:solidFill>
            <a:prstDash val="solid"/>
          </a:ln>
          <a:effectLst/>
        </p:spPr>
      </p:cxnSp>
      <p:sp>
        <p:nvSpPr>
          <p:cNvPr id="26" name="TextBox 25"/>
          <p:cNvSpPr txBox="1"/>
          <p:nvPr userDrawn="1"/>
        </p:nvSpPr>
        <p:spPr>
          <a:xfrm>
            <a:off x="2287740" y="3032191"/>
            <a:ext cx="5870370" cy="415859"/>
          </a:xfrm>
          <a:prstGeom prst="rect">
            <a:avLst/>
          </a:prstGeom>
          <a:noFill/>
        </p:spPr>
        <p:txBody>
          <a:bodyPr wrap="square" lIns="90000" rIns="90000" rtlCol="0">
            <a:noAutofit/>
          </a:bodyPr>
          <a:lstStyle/>
          <a:p>
            <a:pPr defTabSz="895350">
              <a:buClr>
                <a:srgbClr val="00A9E0"/>
              </a:buClr>
              <a:buSzPct val="120000"/>
              <a:buFont typeface="Verdana" pitchFamily="34" charset="0"/>
              <a:buNone/>
            </a:pPr>
            <a:r>
              <a:rPr lang="en-US" sz="2000" dirty="0" smtClean="0">
                <a:solidFill>
                  <a:srgbClr val="00A9E0"/>
                </a:solidFill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4001389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ST -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1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n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5621" y="2395098"/>
            <a:ext cx="6718887" cy="4479258"/>
          </a:xfrm>
          <a:prstGeom prst="rect">
            <a:avLst/>
          </a:prstGeom>
        </p:spPr>
      </p:pic>
      <p:pic>
        <p:nvPicPr>
          <p:cNvPr id="3" name="Imagen 14" descr="mascara 2.w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5621" y="-54496"/>
            <a:ext cx="9252519" cy="693939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itle 6"/>
          <p:cNvSpPr>
            <a:spLocks noGrp="1"/>
          </p:cNvSpPr>
          <p:nvPr>
            <p:ph type="title" hasCustomPrompt="1"/>
          </p:nvPr>
        </p:nvSpPr>
        <p:spPr>
          <a:xfrm>
            <a:off x="424309" y="1052736"/>
            <a:ext cx="5947891" cy="1908118"/>
          </a:xfrm>
          <a:prstGeom prst="rect">
            <a:avLst/>
          </a:prstGeom>
          <a:ln>
            <a:noFill/>
          </a:ln>
        </p:spPr>
        <p:txBody>
          <a:bodyPr anchor="b">
            <a:normAutofit/>
          </a:bodyPr>
          <a:lstStyle>
            <a:lvl1pPr algn="r">
              <a:defRPr kumimoji="0" lang="en-US" sz="2600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</a:defRPr>
            </a:lvl1pPr>
          </a:lstStyle>
          <a:p>
            <a:pPr marL="0" marR="0" lvl="0" indent="0" algn="r" defTabSz="914400" fontAlgn="auto" latinLnBrk="0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&lt;Name of the project&gt;</a:t>
            </a:r>
            <a:endParaRPr lang="en-US" dirty="0"/>
          </a:p>
        </p:txBody>
      </p:sp>
      <p:cxnSp>
        <p:nvCxnSpPr>
          <p:cNvPr id="5" name="Conector recto 12"/>
          <p:cNvCxnSpPr/>
          <p:nvPr userDrawn="1"/>
        </p:nvCxnSpPr>
        <p:spPr>
          <a:xfrm flipH="1">
            <a:off x="6419269" y="2836310"/>
            <a:ext cx="2166838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6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419269" y="2924944"/>
            <a:ext cx="2166838" cy="566309"/>
          </a:xfrm>
          <a:prstGeom prst="rect">
            <a:avLst/>
          </a:prstGeom>
          <a:ln>
            <a:noFill/>
          </a:ln>
        </p:spPr>
        <p:txBody>
          <a:bodyPr lIns="0" rIns="0">
            <a:spAutoFit/>
          </a:bodyPr>
          <a:lstStyle>
            <a:lvl1pPr marL="342900" indent="-342900">
              <a:buNone/>
              <a:defRPr lang="en-US" sz="1400" kern="1200" baseline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2400" kern="1200" smtClean="0">
                <a:solidFill>
                  <a:schemeClr val="tx1">
                    <a:tint val="75000"/>
                  </a:schemeClr>
                </a:solidFill>
                <a:ea typeface="+mn-ea"/>
                <a:cs typeface="+mn-cs"/>
              </a:defRPr>
            </a:lvl2pPr>
            <a:lvl3pPr>
              <a:defRPr lang="en-US" sz="2000" kern="1200" smtClean="0">
                <a:solidFill>
                  <a:schemeClr val="tx1">
                    <a:tint val="75000"/>
                  </a:schemeClr>
                </a:solidFill>
                <a:ea typeface="+mn-ea"/>
                <a:cs typeface="+mn-cs"/>
              </a:defRPr>
            </a:lvl3pPr>
            <a:lvl4pPr>
              <a:defRPr lang="en-US" sz="1800" kern="1200" smtClean="0">
                <a:solidFill>
                  <a:schemeClr val="tx1">
                    <a:tint val="75000"/>
                  </a:schemeClr>
                </a:solidFill>
                <a:ea typeface="+mn-ea"/>
                <a:cs typeface="+mn-cs"/>
              </a:defRPr>
            </a:lvl4pPr>
            <a:lvl5pPr>
              <a:defRPr lang="en-US" sz="1800" kern="1200">
                <a:solidFill>
                  <a:schemeClr val="tx1">
                    <a:tint val="75000"/>
                  </a:schemeClr>
                </a:solidFill>
                <a:ea typeface="+mn-ea"/>
                <a:cs typeface="+mn-cs"/>
              </a:defRPr>
            </a:lvl5pPr>
          </a:lstStyle>
          <a:p>
            <a:pPr marL="0" lvl="0" indent="0" defTabSz="914400" latinLnBrk="0">
              <a:buSzPct val="25000"/>
            </a:pPr>
            <a:r>
              <a:rPr lang="en-US" dirty="0" smtClean="0"/>
              <a:t>&lt;Meeting description&gt;</a:t>
            </a:r>
          </a:p>
          <a:p>
            <a:pPr marL="0" lvl="0" indent="0" defTabSz="914400" latinLnBrk="0">
              <a:buSzPct val="25000"/>
            </a:pPr>
            <a:r>
              <a:rPr lang="en-US" dirty="0" smtClean="0"/>
              <a:t>&lt;Date&gt;</a:t>
            </a:r>
            <a:endParaRPr lang="en-US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22036" y="36245"/>
            <a:ext cx="874464" cy="651751"/>
            <a:chOff x="8388192" y="36245"/>
            <a:chExt cx="874464" cy="651751"/>
          </a:xfrm>
        </p:grpSpPr>
        <p:grpSp>
          <p:nvGrpSpPr>
            <p:cNvPr id="10" name="Group 9"/>
            <p:cNvGrpSpPr/>
            <p:nvPr userDrawn="1"/>
          </p:nvGrpSpPr>
          <p:grpSpPr>
            <a:xfrm>
              <a:off x="8545513" y="36245"/>
              <a:ext cx="489905" cy="495602"/>
              <a:chOff x="7818438" y="101600"/>
              <a:chExt cx="546100" cy="552450"/>
            </a:xfrm>
          </p:grpSpPr>
          <p:sp>
            <p:nvSpPr>
              <p:cNvPr id="13" name="Freeform 5"/>
              <p:cNvSpPr>
                <a:spLocks noEditPoints="1"/>
              </p:cNvSpPr>
              <p:nvPr userDrawn="1"/>
            </p:nvSpPr>
            <p:spPr bwMode="auto">
              <a:xfrm>
                <a:off x="7818438" y="200025"/>
                <a:ext cx="546100" cy="454025"/>
              </a:xfrm>
              <a:custGeom>
                <a:avLst/>
                <a:gdLst>
                  <a:gd name="T0" fmla="*/ 56 w 344"/>
                  <a:gd name="T1" fmla="*/ 0 h 286"/>
                  <a:gd name="T2" fmla="*/ 44 w 344"/>
                  <a:gd name="T3" fmla="*/ 2 h 286"/>
                  <a:gd name="T4" fmla="*/ 24 w 344"/>
                  <a:gd name="T5" fmla="*/ 10 h 286"/>
                  <a:gd name="T6" fmla="*/ 10 w 344"/>
                  <a:gd name="T7" fmla="*/ 26 h 286"/>
                  <a:gd name="T8" fmla="*/ 2 w 344"/>
                  <a:gd name="T9" fmla="*/ 46 h 286"/>
                  <a:gd name="T10" fmla="*/ 0 w 344"/>
                  <a:gd name="T11" fmla="*/ 230 h 286"/>
                  <a:gd name="T12" fmla="*/ 2 w 344"/>
                  <a:gd name="T13" fmla="*/ 242 h 286"/>
                  <a:gd name="T14" fmla="*/ 10 w 344"/>
                  <a:gd name="T15" fmla="*/ 262 h 286"/>
                  <a:gd name="T16" fmla="*/ 24 w 344"/>
                  <a:gd name="T17" fmla="*/ 278 h 286"/>
                  <a:gd name="T18" fmla="*/ 44 w 344"/>
                  <a:gd name="T19" fmla="*/ 286 h 286"/>
                  <a:gd name="T20" fmla="*/ 288 w 344"/>
                  <a:gd name="T21" fmla="*/ 286 h 286"/>
                  <a:gd name="T22" fmla="*/ 300 w 344"/>
                  <a:gd name="T23" fmla="*/ 286 h 286"/>
                  <a:gd name="T24" fmla="*/ 320 w 344"/>
                  <a:gd name="T25" fmla="*/ 278 h 286"/>
                  <a:gd name="T26" fmla="*/ 334 w 344"/>
                  <a:gd name="T27" fmla="*/ 262 h 286"/>
                  <a:gd name="T28" fmla="*/ 344 w 344"/>
                  <a:gd name="T29" fmla="*/ 242 h 286"/>
                  <a:gd name="T30" fmla="*/ 344 w 344"/>
                  <a:gd name="T31" fmla="*/ 58 h 286"/>
                  <a:gd name="T32" fmla="*/ 344 w 344"/>
                  <a:gd name="T33" fmla="*/ 46 h 286"/>
                  <a:gd name="T34" fmla="*/ 334 w 344"/>
                  <a:gd name="T35" fmla="*/ 26 h 286"/>
                  <a:gd name="T36" fmla="*/ 320 w 344"/>
                  <a:gd name="T37" fmla="*/ 10 h 286"/>
                  <a:gd name="T38" fmla="*/ 300 w 344"/>
                  <a:gd name="T39" fmla="*/ 2 h 286"/>
                  <a:gd name="T40" fmla="*/ 288 w 344"/>
                  <a:gd name="T41" fmla="*/ 0 h 286"/>
                  <a:gd name="T42" fmla="*/ 148 w 344"/>
                  <a:gd name="T43" fmla="*/ 142 h 286"/>
                  <a:gd name="T44" fmla="*/ 144 w 344"/>
                  <a:gd name="T45" fmla="*/ 136 h 286"/>
                  <a:gd name="T46" fmla="*/ 136 w 344"/>
                  <a:gd name="T47" fmla="*/ 122 h 286"/>
                  <a:gd name="T48" fmla="*/ 134 w 344"/>
                  <a:gd name="T49" fmla="*/ 112 h 286"/>
                  <a:gd name="T50" fmla="*/ 138 w 344"/>
                  <a:gd name="T51" fmla="*/ 98 h 286"/>
                  <a:gd name="T52" fmla="*/ 146 w 344"/>
                  <a:gd name="T53" fmla="*/ 88 h 286"/>
                  <a:gd name="T54" fmla="*/ 158 w 344"/>
                  <a:gd name="T55" fmla="*/ 80 h 286"/>
                  <a:gd name="T56" fmla="*/ 172 w 344"/>
                  <a:gd name="T57" fmla="*/ 76 h 286"/>
                  <a:gd name="T58" fmla="*/ 178 w 344"/>
                  <a:gd name="T59" fmla="*/ 78 h 286"/>
                  <a:gd name="T60" fmla="*/ 192 w 344"/>
                  <a:gd name="T61" fmla="*/ 82 h 286"/>
                  <a:gd name="T62" fmla="*/ 202 w 344"/>
                  <a:gd name="T63" fmla="*/ 92 h 286"/>
                  <a:gd name="T64" fmla="*/ 208 w 344"/>
                  <a:gd name="T65" fmla="*/ 106 h 286"/>
                  <a:gd name="T66" fmla="*/ 208 w 344"/>
                  <a:gd name="T67" fmla="*/ 112 h 286"/>
                  <a:gd name="T68" fmla="*/ 204 w 344"/>
                  <a:gd name="T69" fmla="*/ 128 h 286"/>
                  <a:gd name="T70" fmla="*/ 196 w 344"/>
                  <a:gd name="T71" fmla="*/ 140 h 286"/>
                  <a:gd name="T72" fmla="*/ 126 w 344"/>
                  <a:gd name="T73" fmla="*/ 228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44" h="286">
                    <a:moveTo>
                      <a:pt x="288" y="0"/>
                    </a:moveTo>
                    <a:lnTo>
                      <a:pt x="56" y="0"/>
                    </a:lnTo>
                    <a:lnTo>
                      <a:pt x="56" y="0"/>
                    </a:lnTo>
                    <a:lnTo>
                      <a:pt x="44" y="2"/>
                    </a:lnTo>
                    <a:lnTo>
                      <a:pt x="34" y="6"/>
                    </a:lnTo>
                    <a:lnTo>
                      <a:pt x="24" y="10"/>
                    </a:lnTo>
                    <a:lnTo>
                      <a:pt x="16" y="18"/>
                    </a:lnTo>
                    <a:lnTo>
                      <a:pt x="10" y="26"/>
                    </a:lnTo>
                    <a:lnTo>
                      <a:pt x="4" y="36"/>
                    </a:lnTo>
                    <a:lnTo>
                      <a:pt x="2" y="46"/>
                    </a:lnTo>
                    <a:lnTo>
                      <a:pt x="0" y="58"/>
                    </a:lnTo>
                    <a:lnTo>
                      <a:pt x="0" y="230"/>
                    </a:lnTo>
                    <a:lnTo>
                      <a:pt x="0" y="230"/>
                    </a:lnTo>
                    <a:lnTo>
                      <a:pt x="2" y="242"/>
                    </a:lnTo>
                    <a:lnTo>
                      <a:pt x="4" y="252"/>
                    </a:lnTo>
                    <a:lnTo>
                      <a:pt x="10" y="262"/>
                    </a:lnTo>
                    <a:lnTo>
                      <a:pt x="16" y="270"/>
                    </a:lnTo>
                    <a:lnTo>
                      <a:pt x="24" y="278"/>
                    </a:lnTo>
                    <a:lnTo>
                      <a:pt x="34" y="282"/>
                    </a:lnTo>
                    <a:lnTo>
                      <a:pt x="44" y="286"/>
                    </a:lnTo>
                    <a:lnTo>
                      <a:pt x="56" y="286"/>
                    </a:lnTo>
                    <a:lnTo>
                      <a:pt x="288" y="286"/>
                    </a:lnTo>
                    <a:lnTo>
                      <a:pt x="288" y="286"/>
                    </a:lnTo>
                    <a:lnTo>
                      <a:pt x="300" y="286"/>
                    </a:lnTo>
                    <a:lnTo>
                      <a:pt x="310" y="282"/>
                    </a:lnTo>
                    <a:lnTo>
                      <a:pt x="320" y="278"/>
                    </a:lnTo>
                    <a:lnTo>
                      <a:pt x="328" y="270"/>
                    </a:lnTo>
                    <a:lnTo>
                      <a:pt x="334" y="262"/>
                    </a:lnTo>
                    <a:lnTo>
                      <a:pt x="340" y="252"/>
                    </a:lnTo>
                    <a:lnTo>
                      <a:pt x="344" y="242"/>
                    </a:lnTo>
                    <a:lnTo>
                      <a:pt x="344" y="230"/>
                    </a:lnTo>
                    <a:lnTo>
                      <a:pt x="344" y="58"/>
                    </a:lnTo>
                    <a:lnTo>
                      <a:pt x="344" y="58"/>
                    </a:lnTo>
                    <a:lnTo>
                      <a:pt x="344" y="46"/>
                    </a:lnTo>
                    <a:lnTo>
                      <a:pt x="340" y="36"/>
                    </a:lnTo>
                    <a:lnTo>
                      <a:pt x="334" y="26"/>
                    </a:lnTo>
                    <a:lnTo>
                      <a:pt x="328" y="18"/>
                    </a:lnTo>
                    <a:lnTo>
                      <a:pt x="320" y="10"/>
                    </a:lnTo>
                    <a:lnTo>
                      <a:pt x="310" y="6"/>
                    </a:lnTo>
                    <a:lnTo>
                      <a:pt x="300" y="2"/>
                    </a:lnTo>
                    <a:lnTo>
                      <a:pt x="288" y="0"/>
                    </a:lnTo>
                    <a:lnTo>
                      <a:pt x="288" y="0"/>
                    </a:lnTo>
                    <a:close/>
                    <a:moveTo>
                      <a:pt x="126" y="228"/>
                    </a:moveTo>
                    <a:lnTo>
                      <a:pt x="148" y="142"/>
                    </a:lnTo>
                    <a:lnTo>
                      <a:pt x="148" y="142"/>
                    </a:lnTo>
                    <a:lnTo>
                      <a:pt x="144" y="136"/>
                    </a:lnTo>
                    <a:lnTo>
                      <a:pt x="138" y="130"/>
                    </a:lnTo>
                    <a:lnTo>
                      <a:pt x="136" y="122"/>
                    </a:lnTo>
                    <a:lnTo>
                      <a:pt x="134" y="112"/>
                    </a:lnTo>
                    <a:lnTo>
                      <a:pt x="134" y="112"/>
                    </a:lnTo>
                    <a:lnTo>
                      <a:pt x="136" y="106"/>
                    </a:lnTo>
                    <a:lnTo>
                      <a:pt x="138" y="98"/>
                    </a:lnTo>
                    <a:lnTo>
                      <a:pt x="142" y="92"/>
                    </a:lnTo>
                    <a:lnTo>
                      <a:pt x="146" y="88"/>
                    </a:lnTo>
                    <a:lnTo>
                      <a:pt x="152" y="82"/>
                    </a:lnTo>
                    <a:lnTo>
                      <a:pt x="158" y="80"/>
                    </a:lnTo>
                    <a:lnTo>
                      <a:pt x="164" y="78"/>
                    </a:lnTo>
                    <a:lnTo>
                      <a:pt x="172" y="76"/>
                    </a:lnTo>
                    <a:lnTo>
                      <a:pt x="172" y="76"/>
                    </a:lnTo>
                    <a:lnTo>
                      <a:pt x="178" y="78"/>
                    </a:lnTo>
                    <a:lnTo>
                      <a:pt x="186" y="80"/>
                    </a:lnTo>
                    <a:lnTo>
                      <a:pt x="192" y="82"/>
                    </a:lnTo>
                    <a:lnTo>
                      <a:pt x="198" y="88"/>
                    </a:lnTo>
                    <a:lnTo>
                      <a:pt x="202" y="92"/>
                    </a:lnTo>
                    <a:lnTo>
                      <a:pt x="204" y="98"/>
                    </a:lnTo>
                    <a:lnTo>
                      <a:pt x="208" y="106"/>
                    </a:lnTo>
                    <a:lnTo>
                      <a:pt x="208" y="112"/>
                    </a:lnTo>
                    <a:lnTo>
                      <a:pt x="208" y="112"/>
                    </a:lnTo>
                    <a:lnTo>
                      <a:pt x="206" y="120"/>
                    </a:lnTo>
                    <a:lnTo>
                      <a:pt x="204" y="128"/>
                    </a:lnTo>
                    <a:lnTo>
                      <a:pt x="200" y="134"/>
                    </a:lnTo>
                    <a:lnTo>
                      <a:pt x="196" y="140"/>
                    </a:lnTo>
                    <a:lnTo>
                      <a:pt x="220" y="228"/>
                    </a:lnTo>
                    <a:lnTo>
                      <a:pt x="126" y="22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4D4D4D"/>
                  </a:solidFill>
                </a:endParaRPr>
              </a:p>
            </p:txBody>
          </p:sp>
          <p:sp>
            <p:nvSpPr>
              <p:cNvPr id="14" name="Freeform 6"/>
              <p:cNvSpPr>
                <a:spLocks/>
              </p:cNvSpPr>
              <p:nvPr userDrawn="1"/>
            </p:nvSpPr>
            <p:spPr bwMode="auto">
              <a:xfrm>
                <a:off x="7961313" y="101600"/>
                <a:ext cx="260350" cy="88900"/>
              </a:xfrm>
              <a:custGeom>
                <a:avLst/>
                <a:gdLst>
                  <a:gd name="T0" fmla="*/ 20 w 164"/>
                  <a:gd name="T1" fmla="*/ 56 h 56"/>
                  <a:gd name="T2" fmla="*/ 20 w 164"/>
                  <a:gd name="T3" fmla="*/ 56 h 56"/>
                  <a:gd name="T4" fmla="*/ 22 w 164"/>
                  <a:gd name="T5" fmla="*/ 46 h 56"/>
                  <a:gd name="T6" fmla="*/ 26 w 164"/>
                  <a:gd name="T7" fmla="*/ 36 h 56"/>
                  <a:gd name="T8" fmla="*/ 30 w 164"/>
                  <a:gd name="T9" fmla="*/ 30 h 56"/>
                  <a:gd name="T10" fmla="*/ 36 w 164"/>
                  <a:gd name="T11" fmla="*/ 26 h 56"/>
                  <a:gd name="T12" fmla="*/ 42 w 164"/>
                  <a:gd name="T13" fmla="*/ 22 h 56"/>
                  <a:gd name="T14" fmla="*/ 54 w 164"/>
                  <a:gd name="T15" fmla="*/ 20 h 56"/>
                  <a:gd name="T16" fmla="*/ 82 w 164"/>
                  <a:gd name="T17" fmla="*/ 20 h 56"/>
                  <a:gd name="T18" fmla="*/ 82 w 164"/>
                  <a:gd name="T19" fmla="*/ 20 h 56"/>
                  <a:gd name="T20" fmla="*/ 112 w 164"/>
                  <a:gd name="T21" fmla="*/ 20 h 56"/>
                  <a:gd name="T22" fmla="*/ 122 w 164"/>
                  <a:gd name="T23" fmla="*/ 22 h 56"/>
                  <a:gd name="T24" fmla="*/ 130 w 164"/>
                  <a:gd name="T25" fmla="*/ 26 h 56"/>
                  <a:gd name="T26" fmla="*/ 136 w 164"/>
                  <a:gd name="T27" fmla="*/ 30 h 56"/>
                  <a:gd name="T28" fmla="*/ 140 w 164"/>
                  <a:gd name="T29" fmla="*/ 36 h 56"/>
                  <a:gd name="T30" fmla="*/ 142 w 164"/>
                  <a:gd name="T31" fmla="*/ 46 h 56"/>
                  <a:gd name="T32" fmla="*/ 144 w 164"/>
                  <a:gd name="T33" fmla="*/ 56 h 56"/>
                  <a:gd name="T34" fmla="*/ 164 w 164"/>
                  <a:gd name="T35" fmla="*/ 56 h 56"/>
                  <a:gd name="T36" fmla="*/ 164 w 164"/>
                  <a:gd name="T37" fmla="*/ 56 h 56"/>
                  <a:gd name="T38" fmla="*/ 162 w 164"/>
                  <a:gd name="T39" fmla="*/ 38 h 56"/>
                  <a:gd name="T40" fmla="*/ 156 w 164"/>
                  <a:gd name="T41" fmla="*/ 24 h 56"/>
                  <a:gd name="T42" fmla="*/ 148 w 164"/>
                  <a:gd name="T43" fmla="*/ 14 h 56"/>
                  <a:gd name="T44" fmla="*/ 138 w 164"/>
                  <a:gd name="T45" fmla="*/ 6 h 56"/>
                  <a:gd name="T46" fmla="*/ 126 w 164"/>
                  <a:gd name="T47" fmla="*/ 2 h 56"/>
                  <a:gd name="T48" fmla="*/ 112 w 164"/>
                  <a:gd name="T49" fmla="*/ 0 h 56"/>
                  <a:gd name="T50" fmla="*/ 82 w 164"/>
                  <a:gd name="T51" fmla="*/ 0 h 56"/>
                  <a:gd name="T52" fmla="*/ 82 w 164"/>
                  <a:gd name="T53" fmla="*/ 0 h 56"/>
                  <a:gd name="T54" fmla="*/ 52 w 164"/>
                  <a:gd name="T55" fmla="*/ 0 h 56"/>
                  <a:gd name="T56" fmla="*/ 38 w 164"/>
                  <a:gd name="T57" fmla="*/ 2 h 56"/>
                  <a:gd name="T58" fmla="*/ 26 w 164"/>
                  <a:gd name="T59" fmla="*/ 6 h 56"/>
                  <a:gd name="T60" fmla="*/ 16 w 164"/>
                  <a:gd name="T61" fmla="*/ 14 h 56"/>
                  <a:gd name="T62" fmla="*/ 8 w 164"/>
                  <a:gd name="T63" fmla="*/ 24 h 56"/>
                  <a:gd name="T64" fmla="*/ 2 w 164"/>
                  <a:gd name="T65" fmla="*/ 38 h 56"/>
                  <a:gd name="T66" fmla="*/ 0 w 164"/>
                  <a:gd name="T67" fmla="*/ 56 h 56"/>
                  <a:gd name="T68" fmla="*/ 20 w 164"/>
                  <a:gd name="T6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64" h="56">
                    <a:moveTo>
                      <a:pt x="20" y="56"/>
                    </a:moveTo>
                    <a:lnTo>
                      <a:pt x="20" y="56"/>
                    </a:lnTo>
                    <a:lnTo>
                      <a:pt x="22" y="46"/>
                    </a:lnTo>
                    <a:lnTo>
                      <a:pt x="26" y="36"/>
                    </a:lnTo>
                    <a:lnTo>
                      <a:pt x="30" y="30"/>
                    </a:lnTo>
                    <a:lnTo>
                      <a:pt x="36" y="26"/>
                    </a:lnTo>
                    <a:lnTo>
                      <a:pt x="42" y="22"/>
                    </a:lnTo>
                    <a:lnTo>
                      <a:pt x="54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112" y="20"/>
                    </a:lnTo>
                    <a:lnTo>
                      <a:pt x="122" y="22"/>
                    </a:lnTo>
                    <a:lnTo>
                      <a:pt x="130" y="26"/>
                    </a:lnTo>
                    <a:lnTo>
                      <a:pt x="136" y="30"/>
                    </a:lnTo>
                    <a:lnTo>
                      <a:pt x="140" y="36"/>
                    </a:lnTo>
                    <a:lnTo>
                      <a:pt x="142" y="46"/>
                    </a:lnTo>
                    <a:lnTo>
                      <a:pt x="14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2" y="38"/>
                    </a:lnTo>
                    <a:lnTo>
                      <a:pt x="156" y="24"/>
                    </a:lnTo>
                    <a:lnTo>
                      <a:pt x="148" y="14"/>
                    </a:lnTo>
                    <a:lnTo>
                      <a:pt x="138" y="6"/>
                    </a:lnTo>
                    <a:lnTo>
                      <a:pt x="126" y="2"/>
                    </a:lnTo>
                    <a:lnTo>
                      <a:pt x="11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52" y="0"/>
                    </a:lnTo>
                    <a:lnTo>
                      <a:pt x="38" y="2"/>
                    </a:lnTo>
                    <a:lnTo>
                      <a:pt x="26" y="6"/>
                    </a:lnTo>
                    <a:lnTo>
                      <a:pt x="16" y="14"/>
                    </a:lnTo>
                    <a:lnTo>
                      <a:pt x="8" y="24"/>
                    </a:lnTo>
                    <a:lnTo>
                      <a:pt x="2" y="38"/>
                    </a:lnTo>
                    <a:lnTo>
                      <a:pt x="0" y="56"/>
                    </a:lnTo>
                    <a:lnTo>
                      <a:pt x="20" y="5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11" name="TextBox 10"/>
            <p:cNvSpPr txBox="1"/>
            <p:nvPr userDrawn="1"/>
          </p:nvSpPr>
          <p:spPr>
            <a:xfrm rot="16200000">
              <a:off x="8191735" y="232702"/>
              <a:ext cx="563729" cy="1708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510" dirty="0" smtClean="0">
                  <a:solidFill>
                    <a:srgbClr val="ABB7D1"/>
                  </a:solidFill>
                </a:rPr>
                <a:t>strictly</a:t>
              </a:r>
              <a:endParaRPr lang="en-GB" sz="510" dirty="0">
                <a:solidFill>
                  <a:srgbClr val="ABB7D1"/>
                </a:solidFill>
              </a:endParaRPr>
            </a:p>
          </p:txBody>
        </p:sp>
        <p:sp>
          <p:nvSpPr>
            <p:cNvPr id="12" name="TextBox 11"/>
            <p:cNvSpPr txBox="1"/>
            <p:nvPr userDrawn="1"/>
          </p:nvSpPr>
          <p:spPr>
            <a:xfrm>
              <a:off x="8410803" y="506408"/>
              <a:ext cx="851853" cy="1815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580" dirty="0" smtClean="0">
                  <a:solidFill>
                    <a:srgbClr val="ABB7D1"/>
                  </a:solidFill>
                </a:rPr>
                <a:t>CONFIDENTIAL</a:t>
              </a:r>
              <a:endParaRPr lang="en-GB" sz="580" dirty="0">
                <a:solidFill>
                  <a:srgbClr val="ABB7D1"/>
                </a:solidFill>
              </a:endParaRPr>
            </a:p>
          </p:txBody>
        </p:sp>
      </p:grpSp>
      <p:sp>
        <p:nvSpPr>
          <p:cNvPr id="15" name="Text Box 11"/>
          <p:cNvSpPr txBox="1">
            <a:spLocks noChangeArrowheads="1"/>
          </p:cNvSpPr>
          <p:nvPr userDrawn="1"/>
        </p:nvSpPr>
        <p:spPr bwMode="auto">
          <a:xfrm rot="16200000">
            <a:off x="6347717" y="3020626"/>
            <a:ext cx="528796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defRPr/>
            </a:pPr>
            <a:r>
              <a:rPr lang="en-GB" sz="700" b="0" dirty="0" smtClean="0">
                <a:solidFill>
                  <a:srgbClr val="D7D2CB"/>
                </a:solidFill>
                <a:latin typeface="Verdana"/>
              </a:rPr>
              <a:t>© 2013 Amadeus IT Group SA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7051675" y="6305550"/>
            <a:ext cx="1762125" cy="43088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1A61A9"/>
              </a:buClr>
              <a:buSzPct val="80000"/>
              <a:buFont typeface="Wingdings 2" pitchFamily="18" charset="2"/>
              <a:buNone/>
              <a:defRPr/>
            </a:pPr>
            <a:endParaRPr lang="en-GB" sz="1000" b="1" dirty="0" smtClean="0">
              <a:solidFill>
                <a:srgbClr val="FFFFFF"/>
              </a:solidFill>
            </a:endParaRPr>
          </a:p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1A61A9"/>
              </a:buClr>
              <a:buSzPct val="80000"/>
              <a:buFont typeface="Wingdings 2" pitchFamily="18" charset="2"/>
              <a:buNone/>
              <a:defRPr/>
            </a:pPr>
            <a:r>
              <a:rPr lang="en-GB" sz="1000" b="1" dirty="0" smtClean="0">
                <a:solidFill>
                  <a:srgbClr val="FFFFFF"/>
                </a:solidFill>
              </a:rPr>
              <a:t>CST/BST</a:t>
            </a:r>
          </a:p>
        </p:txBody>
      </p:sp>
    </p:spTree>
    <p:extLst>
      <p:ext uri="{BB962C8B-B14F-4D97-AF65-F5344CB8AC3E}">
        <p14:creationId xmlns:p14="http://schemas.microsoft.com/office/powerpoint/2010/main" val="8188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ST - 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0"/>
          <p:cNvSpPr txBox="1">
            <a:spLocks noChangeArrowheads="1"/>
          </p:cNvSpPr>
          <p:nvPr userDrawn="1"/>
        </p:nvSpPr>
        <p:spPr>
          <a:xfrm>
            <a:off x="414971" y="6488689"/>
            <a:ext cx="1771650" cy="211203"/>
          </a:xfrm>
          <a:prstGeom prst="rect">
            <a:avLst/>
          </a:prstGeom>
          <a:ln/>
        </p:spPr>
        <p:txBody>
          <a:bodyPr vert="horz" lIns="0" tIns="36000" rIns="0" bIns="3600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accent6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dirty="0" smtClean="0">
                <a:solidFill>
                  <a:srgbClr val="4D4D4D"/>
                </a:solidFill>
              </a:rPr>
              <a:t>Page </a:t>
            </a:r>
            <a:fld id="{4A1B87DD-86B5-48CA-9454-66C05345144F}" type="slidenum">
              <a:rPr lang="en-US" smtClean="0">
                <a:solidFill>
                  <a:srgbClr val="4D4D4D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86379" y="1309683"/>
            <a:ext cx="8482017" cy="4570732"/>
          </a:xfrm>
          <a:prstGeom prst="rect">
            <a:avLst/>
          </a:prstGeom>
        </p:spPr>
        <p:txBody>
          <a:bodyPr lIns="72000" rIns="72000">
            <a:noAutofit/>
          </a:bodyPr>
          <a:lstStyle>
            <a:lvl1pPr marL="363538" indent="-365125">
              <a:spcBef>
                <a:spcPts val="0"/>
              </a:spcBef>
              <a:buClr>
                <a:schemeClr val="accent3"/>
              </a:buClr>
              <a:buSzPct val="120000"/>
              <a:buFont typeface="Verdana" pitchFamily="34" charset="0"/>
              <a:buChar char="_"/>
              <a:defRPr sz="1600">
                <a:solidFill>
                  <a:schemeClr val="tx1"/>
                </a:solidFill>
                <a:latin typeface="+mj-lt"/>
              </a:defRPr>
            </a:lvl1pPr>
            <a:lvl2pPr marL="628650" indent="-184150">
              <a:spcBef>
                <a:spcPts val="0"/>
              </a:spcBef>
              <a:buClr>
                <a:schemeClr val="accent3"/>
              </a:buClr>
              <a:buSzPct val="12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2pPr>
            <a:lvl3pPr marL="542925" indent="-161925">
              <a:spcBef>
                <a:spcPts val="0"/>
              </a:spcBef>
              <a:buClr>
                <a:schemeClr val="accent3"/>
              </a:buClr>
              <a:buSzPct val="12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3pPr>
            <a:lvl4pPr marL="895350" indent="-174625">
              <a:spcBef>
                <a:spcPts val="0"/>
              </a:spcBef>
              <a:buClr>
                <a:schemeClr val="accent3"/>
              </a:buClr>
              <a:buSzPct val="80000"/>
              <a:buFont typeface="Courier New" panose="02070309020205020404" pitchFamily="49" charset="0"/>
              <a:buChar char="o"/>
              <a:defRPr sz="1600">
                <a:solidFill>
                  <a:schemeClr val="tx1"/>
                </a:solidFill>
                <a:latin typeface="+mj-lt"/>
              </a:defRPr>
            </a:lvl4pPr>
            <a:lvl5pPr marL="1162050" indent="-171450">
              <a:spcBef>
                <a:spcPts val="0"/>
              </a:spcBef>
              <a:buClr>
                <a:schemeClr val="accent3"/>
              </a:buClr>
              <a:buSzPct val="120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86379" y="796356"/>
            <a:ext cx="7920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9144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160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lang="en-US" sz="2200" smtClean="0">
                <a:solidFill>
                  <a:srgbClr val="1A61A9"/>
                </a:solidFill>
                <a:latin typeface="Arial" charset="0"/>
              </a:defRPr>
            </a:lvl2pPr>
            <a:lvl3pPr marL="914400" indent="0">
              <a:buNone/>
              <a:defRPr lang="en-US" sz="2200" smtClean="0">
                <a:solidFill>
                  <a:srgbClr val="1A61A9"/>
                </a:solidFill>
                <a:latin typeface="Arial" charset="0"/>
              </a:defRPr>
            </a:lvl3pPr>
            <a:lvl4pPr marL="1371600" indent="0">
              <a:buNone/>
              <a:defRPr lang="en-US" sz="2200" smtClean="0">
                <a:solidFill>
                  <a:srgbClr val="1A61A9"/>
                </a:solidFill>
                <a:latin typeface="Arial" charset="0"/>
              </a:defRPr>
            </a:lvl4pPr>
            <a:lvl5pPr marL="1828800" indent="0">
              <a:buNone/>
              <a:defRPr lang="en-US" sz="2200">
                <a:solidFill>
                  <a:srgbClr val="1A61A9"/>
                </a:solidFill>
                <a:latin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subtitle style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286379" y="348775"/>
            <a:ext cx="7920000" cy="674489"/>
          </a:xfrm>
          <a:prstGeom prst="rect">
            <a:avLst/>
          </a:prstGeom>
        </p:spPr>
        <p:txBody>
          <a:bodyPr lIns="72000" anchor="t" anchorCtr="0"/>
          <a:lstStyle>
            <a:lvl1pPr>
              <a:lnSpc>
                <a:spcPct val="90000"/>
              </a:lnSpc>
              <a:defRPr sz="2000" baseline="0">
                <a:solidFill>
                  <a:schemeClr val="accent1"/>
                </a:solidFill>
                <a:latin typeface="Verdana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475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ST - 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0"/>
          <p:cNvSpPr txBox="1">
            <a:spLocks noChangeArrowheads="1"/>
          </p:cNvSpPr>
          <p:nvPr userDrawn="1"/>
        </p:nvSpPr>
        <p:spPr>
          <a:xfrm>
            <a:off x="414971" y="6488689"/>
            <a:ext cx="1771650" cy="211203"/>
          </a:xfrm>
          <a:prstGeom prst="rect">
            <a:avLst/>
          </a:prstGeom>
          <a:ln/>
        </p:spPr>
        <p:txBody>
          <a:bodyPr vert="horz" lIns="0" tIns="36000" rIns="0" bIns="3600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accent6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dirty="0" smtClean="0">
                <a:solidFill>
                  <a:srgbClr val="4D4D4D"/>
                </a:solidFill>
              </a:rPr>
              <a:t>Page </a:t>
            </a:r>
            <a:fld id="{4A1B87DD-86B5-48CA-9454-66C05345144F}" type="slidenum">
              <a:rPr lang="en-US" smtClean="0">
                <a:solidFill>
                  <a:srgbClr val="4D4D4D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86379" y="1309683"/>
            <a:ext cx="8482017" cy="4570732"/>
          </a:xfrm>
          <a:prstGeom prst="rect">
            <a:avLst/>
          </a:prstGeom>
        </p:spPr>
        <p:txBody>
          <a:bodyPr lIns="72000" rIns="72000">
            <a:noAutofit/>
          </a:bodyPr>
          <a:lstStyle>
            <a:lvl1pPr marL="363538" indent="-365125">
              <a:spcBef>
                <a:spcPts val="0"/>
              </a:spcBef>
              <a:buClr>
                <a:schemeClr val="accent3"/>
              </a:buClr>
              <a:buSzPct val="120000"/>
              <a:buFont typeface="Verdana" pitchFamily="34" charset="0"/>
              <a:buChar char="_"/>
              <a:defRPr sz="1600">
                <a:solidFill>
                  <a:schemeClr val="tx1"/>
                </a:solidFill>
                <a:latin typeface="+mj-lt"/>
              </a:defRPr>
            </a:lvl1pPr>
            <a:lvl2pPr marL="628650" indent="-184150">
              <a:spcBef>
                <a:spcPts val="0"/>
              </a:spcBef>
              <a:buClr>
                <a:schemeClr val="accent3"/>
              </a:buClr>
              <a:buSzPct val="12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2pPr>
            <a:lvl3pPr marL="542925" indent="-161925">
              <a:spcBef>
                <a:spcPts val="0"/>
              </a:spcBef>
              <a:buClr>
                <a:schemeClr val="accent3"/>
              </a:buClr>
              <a:buSzPct val="12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3pPr>
            <a:lvl4pPr marL="895350" indent="-174625">
              <a:spcBef>
                <a:spcPts val="0"/>
              </a:spcBef>
              <a:buClr>
                <a:schemeClr val="accent3"/>
              </a:buClr>
              <a:buSzPct val="80000"/>
              <a:buFont typeface="Courier New" panose="02070309020205020404" pitchFamily="49" charset="0"/>
              <a:buChar char="o"/>
              <a:defRPr sz="1600">
                <a:solidFill>
                  <a:schemeClr val="tx1"/>
                </a:solidFill>
                <a:latin typeface="+mj-lt"/>
              </a:defRPr>
            </a:lvl4pPr>
            <a:lvl5pPr marL="1162050" indent="-171450">
              <a:spcBef>
                <a:spcPts val="0"/>
              </a:spcBef>
              <a:buClr>
                <a:schemeClr val="accent3"/>
              </a:buClr>
              <a:buSzPct val="120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86379" y="1039556"/>
            <a:ext cx="7920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9144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160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lang="en-US" sz="2200" smtClean="0">
                <a:solidFill>
                  <a:srgbClr val="1A61A9"/>
                </a:solidFill>
                <a:latin typeface="Arial" charset="0"/>
              </a:defRPr>
            </a:lvl2pPr>
            <a:lvl3pPr marL="914400" indent="0">
              <a:buNone/>
              <a:defRPr lang="en-US" sz="2200" smtClean="0">
                <a:solidFill>
                  <a:srgbClr val="1A61A9"/>
                </a:solidFill>
                <a:latin typeface="Arial" charset="0"/>
              </a:defRPr>
            </a:lvl3pPr>
            <a:lvl4pPr marL="1371600" indent="0">
              <a:buNone/>
              <a:defRPr lang="en-US" sz="2200" smtClean="0">
                <a:solidFill>
                  <a:srgbClr val="1A61A9"/>
                </a:solidFill>
                <a:latin typeface="Arial" charset="0"/>
              </a:defRPr>
            </a:lvl4pPr>
            <a:lvl5pPr marL="1828800" indent="0">
              <a:buNone/>
              <a:defRPr lang="en-US" sz="2200">
                <a:solidFill>
                  <a:srgbClr val="1A61A9"/>
                </a:solidFill>
                <a:latin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subtitle style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286379" y="348775"/>
            <a:ext cx="7920000" cy="674489"/>
          </a:xfrm>
          <a:prstGeom prst="rect">
            <a:avLst/>
          </a:prstGeom>
        </p:spPr>
        <p:txBody>
          <a:bodyPr lIns="72000" anchor="t" anchorCtr="0"/>
          <a:lstStyle>
            <a:lvl1pPr>
              <a:lnSpc>
                <a:spcPct val="90000"/>
              </a:lnSpc>
              <a:defRPr sz="2000" baseline="0">
                <a:solidFill>
                  <a:schemeClr val="accent1"/>
                </a:solidFill>
                <a:latin typeface="Verdana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15" hasCustomPrompt="1"/>
          </p:nvPr>
        </p:nvSpPr>
        <p:spPr>
          <a:xfrm>
            <a:off x="1052623" y="6319953"/>
            <a:ext cx="6039293" cy="179370"/>
          </a:xfrm>
          <a:prstGeom prst="rect">
            <a:avLst/>
          </a:prstGeom>
        </p:spPr>
        <p:txBody>
          <a:bodyPr lIns="72000" rIns="72000">
            <a:noAutofit/>
          </a:bodyPr>
          <a:lstStyle>
            <a:lvl1pPr marL="0" indent="0">
              <a:spcBef>
                <a:spcPts val="0"/>
              </a:spcBef>
              <a:buClr>
                <a:schemeClr val="accent3"/>
              </a:buClr>
              <a:buSzPct val="120000"/>
              <a:buFont typeface="Verdana" pitchFamily="34" charset="0"/>
              <a:buNone/>
              <a:defRPr sz="900">
                <a:solidFill>
                  <a:schemeClr val="tx1"/>
                </a:solidFill>
                <a:latin typeface="+mj-lt"/>
              </a:defRPr>
            </a:lvl1pPr>
            <a:lvl2pPr marL="628650" indent="-184150">
              <a:spcBef>
                <a:spcPts val="0"/>
              </a:spcBef>
              <a:buClr>
                <a:schemeClr val="accent3"/>
              </a:buClr>
              <a:buSzPct val="12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2pPr>
            <a:lvl3pPr marL="542925" indent="-161925">
              <a:spcBef>
                <a:spcPts val="0"/>
              </a:spcBef>
              <a:buClr>
                <a:schemeClr val="accent3"/>
              </a:buClr>
              <a:buSzPct val="12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3pPr>
            <a:lvl4pPr marL="895350" indent="-174625">
              <a:spcBef>
                <a:spcPts val="0"/>
              </a:spcBef>
              <a:buClr>
                <a:schemeClr val="accent3"/>
              </a:buClr>
              <a:buSzPct val="80000"/>
              <a:buFont typeface="Courier New" panose="02070309020205020404" pitchFamily="49" charset="0"/>
              <a:buChar char="o"/>
              <a:defRPr sz="1600">
                <a:solidFill>
                  <a:schemeClr val="tx1"/>
                </a:solidFill>
                <a:latin typeface="+mj-lt"/>
              </a:defRPr>
            </a:lvl4pPr>
            <a:lvl5pPr marL="1162050" indent="-171450">
              <a:spcBef>
                <a:spcPts val="0"/>
              </a:spcBef>
              <a:buClr>
                <a:schemeClr val="accent3"/>
              </a:buClr>
              <a:buSzPct val="120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4021631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ST - Appendix divider">
    <p:bg>
      <p:bgPr>
        <a:solidFill>
          <a:srgbClr val="D7D2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Box 11"/>
          <p:cNvSpPr txBox="1">
            <a:spLocks noChangeArrowheads="1"/>
          </p:cNvSpPr>
          <p:nvPr userDrawn="1"/>
        </p:nvSpPr>
        <p:spPr bwMode="auto">
          <a:xfrm rot="-5400000">
            <a:off x="6347717" y="3020626"/>
            <a:ext cx="528796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defRPr/>
            </a:pPr>
            <a:r>
              <a:rPr lang="en-GB" sz="700" b="0" dirty="0" smtClean="0">
                <a:solidFill>
                  <a:srgbClr val="FFFFFF">
                    <a:lumMod val="65000"/>
                  </a:srgbClr>
                </a:solidFill>
                <a:latin typeface="Verdana"/>
              </a:rPr>
              <a:t>© 2013 Amadeus IT Group SA</a:t>
            </a:r>
          </a:p>
        </p:txBody>
      </p:sp>
      <p:grpSp>
        <p:nvGrpSpPr>
          <p:cNvPr id="19" name="Group 4"/>
          <p:cNvGrpSpPr>
            <a:grpSpLocks noChangeAspect="1"/>
          </p:cNvGrpSpPr>
          <p:nvPr userDrawn="1"/>
        </p:nvGrpSpPr>
        <p:grpSpPr bwMode="auto">
          <a:xfrm>
            <a:off x="7380288" y="6491184"/>
            <a:ext cx="1289050" cy="169863"/>
            <a:chOff x="4649" y="3974"/>
            <a:chExt cx="812" cy="107"/>
          </a:xfrm>
        </p:grpSpPr>
        <p:sp>
          <p:nvSpPr>
            <p:cNvPr id="20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4649" y="3974"/>
              <a:ext cx="812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  <p:sp>
          <p:nvSpPr>
            <p:cNvPr id="34" name="Freeform 33"/>
            <p:cNvSpPr>
              <a:spLocks noEditPoints="1"/>
            </p:cNvSpPr>
            <p:nvPr userDrawn="1"/>
          </p:nvSpPr>
          <p:spPr bwMode="auto">
            <a:xfrm>
              <a:off x="4649" y="3974"/>
              <a:ext cx="812" cy="107"/>
            </a:xfrm>
            <a:custGeom>
              <a:avLst/>
              <a:gdLst>
                <a:gd name="T0" fmla="*/ 2293 w 3248"/>
                <a:gd name="T1" fmla="*/ 424 h 428"/>
                <a:gd name="T2" fmla="*/ 2209 w 3248"/>
                <a:gd name="T3" fmla="*/ 355 h 428"/>
                <a:gd name="T4" fmla="*/ 2159 w 3248"/>
                <a:gd name="T5" fmla="*/ 76 h 428"/>
                <a:gd name="T6" fmla="*/ 2306 w 3248"/>
                <a:gd name="T7" fmla="*/ 5 h 428"/>
                <a:gd name="T8" fmla="*/ 2042 w 3248"/>
                <a:gd name="T9" fmla="*/ 407 h 428"/>
                <a:gd name="T10" fmla="*/ 611 w 3248"/>
                <a:gd name="T11" fmla="*/ 11 h 428"/>
                <a:gd name="T12" fmla="*/ 672 w 3248"/>
                <a:gd name="T13" fmla="*/ 353 h 428"/>
                <a:gd name="T14" fmla="*/ 737 w 3248"/>
                <a:gd name="T15" fmla="*/ 376 h 428"/>
                <a:gd name="T16" fmla="*/ 909 w 3248"/>
                <a:gd name="T17" fmla="*/ 1 h 428"/>
                <a:gd name="T18" fmla="*/ 261 w 3248"/>
                <a:gd name="T19" fmla="*/ 332 h 428"/>
                <a:gd name="T20" fmla="*/ 114 w 3248"/>
                <a:gd name="T21" fmla="*/ 347 h 428"/>
                <a:gd name="T22" fmla="*/ 94 w 3248"/>
                <a:gd name="T23" fmla="*/ 277 h 428"/>
                <a:gd name="T24" fmla="*/ 261 w 3248"/>
                <a:gd name="T25" fmla="*/ 332 h 428"/>
                <a:gd name="T26" fmla="*/ 52 w 3248"/>
                <a:gd name="T27" fmla="*/ 102 h 428"/>
                <a:gd name="T28" fmla="*/ 234 w 3248"/>
                <a:gd name="T29" fmla="*/ 90 h 428"/>
                <a:gd name="T30" fmla="*/ 179 w 3248"/>
                <a:gd name="T31" fmla="*/ 176 h 428"/>
                <a:gd name="T32" fmla="*/ 9 w 3248"/>
                <a:gd name="T33" fmla="*/ 257 h 428"/>
                <a:gd name="T34" fmla="*/ 35 w 3248"/>
                <a:gd name="T35" fmla="*/ 394 h 428"/>
                <a:gd name="T36" fmla="*/ 164 w 3248"/>
                <a:gd name="T37" fmla="*/ 426 h 428"/>
                <a:gd name="T38" fmla="*/ 284 w 3248"/>
                <a:gd name="T39" fmla="*/ 404 h 428"/>
                <a:gd name="T40" fmla="*/ 331 w 3248"/>
                <a:gd name="T41" fmla="*/ 45 h 428"/>
                <a:gd name="T42" fmla="*/ 1319 w 3248"/>
                <a:gd name="T43" fmla="*/ 332 h 428"/>
                <a:gd name="T44" fmla="*/ 1168 w 3248"/>
                <a:gd name="T45" fmla="*/ 344 h 428"/>
                <a:gd name="T46" fmla="*/ 1155 w 3248"/>
                <a:gd name="T47" fmla="*/ 272 h 428"/>
                <a:gd name="T48" fmla="*/ 1264 w 3248"/>
                <a:gd name="T49" fmla="*/ 0 h 428"/>
                <a:gd name="T50" fmla="*/ 1122 w 3248"/>
                <a:gd name="T51" fmla="*/ 98 h 428"/>
                <a:gd name="T52" fmla="*/ 1298 w 3248"/>
                <a:gd name="T53" fmla="*/ 94 h 428"/>
                <a:gd name="T54" fmla="*/ 1212 w 3248"/>
                <a:gd name="T55" fmla="*/ 177 h 428"/>
                <a:gd name="T56" fmla="*/ 1064 w 3248"/>
                <a:gd name="T57" fmla="*/ 270 h 428"/>
                <a:gd name="T58" fmla="*/ 1102 w 3248"/>
                <a:gd name="T59" fmla="*/ 401 h 428"/>
                <a:gd name="T60" fmla="*/ 1246 w 3248"/>
                <a:gd name="T61" fmla="*/ 423 h 428"/>
                <a:gd name="T62" fmla="*/ 1354 w 3248"/>
                <a:gd name="T63" fmla="*/ 407 h 428"/>
                <a:gd name="T64" fmla="*/ 1381 w 3248"/>
                <a:gd name="T65" fmla="*/ 36 h 428"/>
                <a:gd name="T66" fmla="*/ 2714 w 3248"/>
                <a:gd name="T67" fmla="*/ 326 h 428"/>
                <a:gd name="T68" fmla="*/ 2576 w 3248"/>
                <a:gd name="T69" fmla="*/ 337 h 428"/>
                <a:gd name="T70" fmla="*/ 2533 w 3248"/>
                <a:gd name="T71" fmla="*/ 4 h 428"/>
                <a:gd name="T72" fmla="*/ 2468 w 3248"/>
                <a:gd name="T73" fmla="*/ 364 h 428"/>
                <a:gd name="T74" fmla="*/ 2611 w 3248"/>
                <a:gd name="T75" fmla="*/ 427 h 428"/>
                <a:gd name="T76" fmla="*/ 2761 w 3248"/>
                <a:gd name="T77" fmla="*/ 403 h 428"/>
                <a:gd name="T78" fmla="*/ 2937 w 3248"/>
                <a:gd name="T79" fmla="*/ 413 h 428"/>
                <a:gd name="T80" fmla="*/ 3135 w 3248"/>
                <a:gd name="T81" fmla="*/ 422 h 428"/>
                <a:gd name="T82" fmla="*/ 3248 w 3248"/>
                <a:gd name="T83" fmla="*/ 300 h 428"/>
                <a:gd name="T84" fmla="*/ 3184 w 3248"/>
                <a:gd name="T85" fmla="*/ 204 h 428"/>
                <a:gd name="T86" fmla="*/ 3038 w 3248"/>
                <a:gd name="T87" fmla="*/ 127 h 428"/>
                <a:gd name="T88" fmla="*/ 3076 w 3248"/>
                <a:gd name="T89" fmla="*/ 76 h 428"/>
                <a:gd name="T90" fmla="*/ 3232 w 3248"/>
                <a:gd name="T91" fmla="*/ 30 h 428"/>
                <a:gd name="T92" fmla="*/ 3039 w 3248"/>
                <a:gd name="T93" fmla="*/ 8 h 428"/>
                <a:gd name="T94" fmla="*/ 2943 w 3248"/>
                <a:gd name="T95" fmla="*/ 122 h 428"/>
                <a:gd name="T96" fmla="*/ 3021 w 3248"/>
                <a:gd name="T97" fmla="*/ 229 h 428"/>
                <a:gd name="T98" fmla="*/ 3154 w 3248"/>
                <a:gd name="T99" fmla="*/ 300 h 428"/>
                <a:gd name="T100" fmla="*/ 3113 w 3248"/>
                <a:gd name="T101" fmla="*/ 350 h 428"/>
                <a:gd name="T102" fmla="*/ 1639 w 3248"/>
                <a:gd name="T103" fmla="*/ 80 h 428"/>
                <a:gd name="T104" fmla="*/ 1790 w 3248"/>
                <a:gd name="T105" fmla="*/ 97 h 428"/>
                <a:gd name="T106" fmla="*/ 1832 w 3248"/>
                <a:gd name="T107" fmla="*/ 245 h 428"/>
                <a:gd name="T108" fmla="*/ 1739 w 3248"/>
                <a:gd name="T109" fmla="*/ 353 h 428"/>
                <a:gd name="T110" fmla="*/ 1652 w 3248"/>
                <a:gd name="T111" fmla="*/ 4 h 428"/>
                <a:gd name="T112" fmla="*/ 1701 w 3248"/>
                <a:gd name="T113" fmla="*/ 428 h 428"/>
                <a:gd name="T114" fmla="*/ 1885 w 3248"/>
                <a:gd name="T115" fmla="*/ 369 h 428"/>
                <a:gd name="T116" fmla="*/ 1930 w 3248"/>
                <a:gd name="T117" fmla="*/ 187 h 428"/>
                <a:gd name="T118" fmla="*/ 1786 w 3248"/>
                <a:gd name="T119" fmla="*/ 8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48" h="428">
                  <a:moveTo>
                    <a:pt x="2042" y="407"/>
                  </a:moveTo>
                  <a:lnTo>
                    <a:pt x="2042" y="407"/>
                  </a:lnTo>
                  <a:lnTo>
                    <a:pt x="2055" y="411"/>
                  </a:lnTo>
                  <a:lnTo>
                    <a:pt x="2089" y="418"/>
                  </a:lnTo>
                  <a:lnTo>
                    <a:pt x="2113" y="421"/>
                  </a:lnTo>
                  <a:lnTo>
                    <a:pt x="2140" y="425"/>
                  </a:lnTo>
                  <a:lnTo>
                    <a:pt x="2171" y="427"/>
                  </a:lnTo>
                  <a:lnTo>
                    <a:pt x="2205" y="428"/>
                  </a:lnTo>
                  <a:lnTo>
                    <a:pt x="2205" y="428"/>
                  </a:lnTo>
                  <a:lnTo>
                    <a:pt x="2239" y="427"/>
                  </a:lnTo>
                  <a:lnTo>
                    <a:pt x="2268" y="426"/>
                  </a:lnTo>
                  <a:lnTo>
                    <a:pt x="2293" y="424"/>
                  </a:lnTo>
                  <a:lnTo>
                    <a:pt x="2312" y="422"/>
                  </a:lnTo>
                  <a:lnTo>
                    <a:pt x="2339" y="419"/>
                  </a:lnTo>
                  <a:lnTo>
                    <a:pt x="2347" y="417"/>
                  </a:lnTo>
                  <a:lnTo>
                    <a:pt x="2347" y="346"/>
                  </a:lnTo>
                  <a:lnTo>
                    <a:pt x="2347" y="346"/>
                  </a:lnTo>
                  <a:lnTo>
                    <a:pt x="2339" y="347"/>
                  </a:lnTo>
                  <a:lnTo>
                    <a:pt x="2314" y="351"/>
                  </a:lnTo>
                  <a:lnTo>
                    <a:pt x="2277" y="354"/>
                  </a:lnTo>
                  <a:lnTo>
                    <a:pt x="2255" y="355"/>
                  </a:lnTo>
                  <a:lnTo>
                    <a:pt x="2230" y="355"/>
                  </a:lnTo>
                  <a:lnTo>
                    <a:pt x="2230" y="355"/>
                  </a:lnTo>
                  <a:lnTo>
                    <a:pt x="2209" y="355"/>
                  </a:lnTo>
                  <a:lnTo>
                    <a:pt x="2191" y="354"/>
                  </a:lnTo>
                  <a:lnTo>
                    <a:pt x="2160" y="351"/>
                  </a:lnTo>
                  <a:lnTo>
                    <a:pt x="2141" y="349"/>
                  </a:lnTo>
                  <a:lnTo>
                    <a:pt x="2134" y="348"/>
                  </a:lnTo>
                  <a:lnTo>
                    <a:pt x="2134" y="247"/>
                  </a:lnTo>
                  <a:lnTo>
                    <a:pt x="2318" y="247"/>
                  </a:lnTo>
                  <a:lnTo>
                    <a:pt x="2318" y="175"/>
                  </a:lnTo>
                  <a:lnTo>
                    <a:pt x="2134" y="175"/>
                  </a:lnTo>
                  <a:lnTo>
                    <a:pt x="2134" y="79"/>
                  </a:lnTo>
                  <a:lnTo>
                    <a:pt x="2134" y="79"/>
                  </a:lnTo>
                  <a:lnTo>
                    <a:pt x="2141" y="78"/>
                  </a:lnTo>
                  <a:lnTo>
                    <a:pt x="2159" y="76"/>
                  </a:lnTo>
                  <a:lnTo>
                    <a:pt x="2187" y="74"/>
                  </a:lnTo>
                  <a:lnTo>
                    <a:pt x="2224" y="73"/>
                  </a:lnTo>
                  <a:lnTo>
                    <a:pt x="2224" y="73"/>
                  </a:lnTo>
                  <a:lnTo>
                    <a:pt x="2247" y="73"/>
                  </a:lnTo>
                  <a:lnTo>
                    <a:pt x="2268" y="74"/>
                  </a:lnTo>
                  <a:lnTo>
                    <a:pt x="2305" y="77"/>
                  </a:lnTo>
                  <a:lnTo>
                    <a:pt x="2331" y="80"/>
                  </a:lnTo>
                  <a:lnTo>
                    <a:pt x="2340" y="82"/>
                  </a:lnTo>
                  <a:lnTo>
                    <a:pt x="2340" y="10"/>
                  </a:lnTo>
                  <a:lnTo>
                    <a:pt x="2340" y="10"/>
                  </a:lnTo>
                  <a:lnTo>
                    <a:pt x="2331" y="9"/>
                  </a:lnTo>
                  <a:lnTo>
                    <a:pt x="2306" y="5"/>
                  </a:lnTo>
                  <a:lnTo>
                    <a:pt x="2266" y="2"/>
                  </a:lnTo>
                  <a:lnTo>
                    <a:pt x="2242" y="1"/>
                  </a:lnTo>
                  <a:lnTo>
                    <a:pt x="2214" y="0"/>
                  </a:lnTo>
                  <a:lnTo>
                    <a:pt x="2214" y="0"/>
                  </a:lnTo>
                  <a:lnTo>
                    <a:pt x="2176" y="1"/>
                  </a:lnTo>
                  <a:lnTo>
                    <a:pt x="2144" y="3"/>
                  </a:lnTo>
                  <a:lnTo>
                    <a:pt x="2114" y="6"/>
                  </a:lnTo>
                  <a:lnTo>
                    <a:pt x="2089" y="9"/>
                  </a:lnTo>
                  <a:lnTo>
                    <a:pt x="2069" y="13"/>
                  </a:lnTo>
                  <a:lnTo>
                    <a:pt x="2055" y="15"/>
                  </a:lnTo>
                  <a:lnTo>
                    <a:pt x="2042" y="19"/>
                  </a:lnTo>
                  <a:lnTo>
                    <a:pt x="2042" y="407"/>
                  </a:lnTo>
                  <a:close/>
                  <a:moveTo>
                    <a:pt x="726" y="246"/>
                  </a:moveTo>
                  <a:lnTo>
                    <a:pt x="726" y="246"/>
                  </a:lnTo>
                  <a:lnTo>
                    <a:pt x="722" y="257"/>
                  </a:lnTo>
                  <a:lnTo>
                    <a:pt x="719" y="270"/>
                  </a:lnTo>
                  <a:lnTo>
                    <a:pt x="719" y="270"/>
                  </a:lnTo>
                  <a:lnTo>
                    <a:pt x="715" y="257"/>
                  </a:lnTo>
                  <a:lnTo>
                    <a:pt x="712" y="246"/>
                  </a:lnTo>
                  <a:lnTo>
                    <a:pt x="630" y="39"/>
                  </a:lnTo>
                  <a:lnTo>
                    <a:pt x="630" y="39"/>
                  </a:lnTo>
                  <a:lnTo>
                    <a:pt x="624" y="28"/>
                  </a:lnTo>
                  <a:lnTo>
                    <a:pt x="618" y="19"/>
                  </a:lnTo>
                  <a:lnTo>
                    <a:pt x="611" y="11"/>
                  </a:lnTo>
                  <a:lnTo>
                    <a:pt x="603" y="7"/>
                  </a:lnTo>
                  <a:lnTo>
                    <a:pt x="593" y="3"/>
                  </a:lnTo>
                  <a:lnTo>
                    <a:pt x="581" y="1"/>
                  </a:lnTo>
                  <a:lnTo>
                    <a:pt x="569" y="1"/>
                  </a:lnTo>
                  <a:lnTo>
                    <a:pt x="555" y="0"/>
                  </a:lnTo>
                  <a:lnTo>
                    <a:pt x="555" y="0"/>
                  </a:lnTo>
                  <a:lnTo>
                    <a:pt x="529" y="1"/>
                  </a:lnTo>
                  <a:lnTo>
                    <a:pt x="513" y="2"/>
                  </a:lnTo>
                  <a:lnTo>
                    <a:pt x="471" y="422"/>
                  </a:lnTo>
                  <a:lnTo>
                    <a:pt x="564" y="422"/>
                  </a:lnTo>
                  <a:lnTo>
                    <a:pt x="584" y="140"/>
                  </a:lnTo>
                  <a:lnTo>
                    <a:pt x="672" y="353"/>
                  </a:lnTo>
                  <a:lnTo>
                    <a:pt x="672" y="353"/>
                  </a:lnTo>
                  <a:lnTo>
                    <a:pt x="675" y="359"/>
                  </a:lnTo>
                  <a:lnTo>
                    <a:pt x="679" y="364"/>
                  </a:lnTo>
                  <a:lnTo>
                    <a:pt x="684" y="368"/>
                  </a:lnTo>
                  <a:lnTo>
                    <a:pt x="689" y="371"/>
                  </a:lnTo>
                  <a:lnTo>
                    <a:pt x="695" y="373"/>
                  </a:lnTo>
                  <a:lnTo>
                    <a:pt x="702" y="376"/>
                  </a:lnTo>
                  <a:lnTo>
                    <a:pt x="710" y="377"/>
                  </a:lnTo>
                  <a:lnTo>
                    <a:pt x="719" y="377"/>
                  </a:lnTo>
                  <a:lnTo>
                    <a:pt x="719" y="377"/>
                  </a:lnTo>
                  <a:lnTo>
                    <a:pt x="728" y="377"/>
                  </a:lnTo>
                  <a:lnTo>
                    <a:pt x="737" y="376"/>
                  </a:lnTo>
                  <a:lnTo>
                    <a:pt x="744" y="373"/>
                  </a:lnTo>
                  <a:lnTo>
                    <a:pt x="750" y="371"/>
                  </a:lnTo>
                  <a:lnTo>
                    <a:pt x="755" y="368"/>
                  </a:lnTo>
                  <a:lnTo>
                    <a:pt x="759" y="364"/>
                  </a:lnTo>
                  <a:lnTo>
                    <a:pt x="762" y="359"/>
                  </a:lnTo>
                  <a:lnTo>
                    <a:pt x="765" y="353"/>
                  </a:lnTo>
                  <a:lnTo>
                    <a:pt x="853" y="140"/>
                  </a:lnTo>
                  <a:lnTo>
                    <a:pt x="874" y="422"/>
                  </a:lnTo>
                  <a:lnTo>
                    <a:pt x="967" y="422"/>
                  </a:lnTo>
                  <a:lnTo>
                    <a:pt x="925" y="2"/>
                  </a:lnTo>
                  <a:lnTo>
                    <a:pt x="925" y="2"/>
                  </a:lnTo>
                  <a:lnTo>
                    <a:pt x="909" y="1"/>
                  </a:lnTo>
                  <a:lnTo>
                    <a:pt x="883" y="0"/>
                  </a:lnTo>
                  <a:lnTo>
                    <a:pt x="883" y="0"/>
                  </a:lnTo>
                  <a:lnTo>
                    <a:pt x="868" y="1"/>
                  </a:lnTo>
                  <a:lnTo>
                    <a:pt x="856" y="1"/>
                  </a:lnTo>
                  <a:lnTo>
                    <a:pt x="845" y="3"/>
                  </a:lnTo>
                  <a:lnTo>
                    <a:pt x="836" y="7"/>
                  </a:lnTo>
                  <a:lnTo>
                    <a:pt x="827" y="11"/>
                  </a:lnTo>
                  <a:lnTo>
                    <a:pt x="819" y="19"/>
                  </a:lnTo>
                  <a:lnTo>
                    <a:pt x="813" y="28"/>
                  </a:lnTo>
                  <a:lnTo>
                    <a:pt x="808" y="39"/>
                  </a:lnTo>
                  <a:lnTo>
                    <a:pt x="726" y="246"/>
                  </a:lnTo>
                  <a:close/>
                  <a:moveTo>
                    <a:pt x="261" y="332"/>
                  </a:moveTo>
                  <a:lnTo>
                    <a:pt x="261" y="332"/>
                  </a:lnTo>
                  <a:lnTo>
                    <a:pt x="241" y="338"/>
                  </a:lnTo>
                  <a:lnTo>
                    <a:pt x="215" y="347"/>
                  </a:lnTo>
                  <a:lnTo>
                    <a:pt x="200" y="350"/>
                  </a:lnTo>
                  <a:lnTo>
                    <a:pt x="186" y="353"/>
                  </a:lnTo>
                  <a:lnTo>
                    <a:pt x="172" y="355"/>
                  </a:lnTo>
                  <a:lnTo>
                    <a:pt x="157" y="355"/>
                  </a:lnTo>
                  <a:lnTo>
                    <a:pt x="157" y="355"/>
                  </a:lnTo>
                  <a:lnTo>
                    <a:pt x="144" y="355"/>
                  </a:lnTo>
                  <a:lnTo>
                    <a:pt x="131" y="353"/>
                  </a:lnTo>
                  <a:lnTo>
                    <a:pt x="120" y="349"/>
                  </a:lnTo>
                  <a:lnTo>
                    <a:pt x="114" y="347"/>
                  </a:lnTo>
                  <a:lnTo>
                    <a:pt x="109" y="344"/>
                  </a:lnTo>
                  <a:lnTo>
                    <a:pt x="105" y="340"/>
                  </a:lnTo>
                  <a:lnTo>
                    <a:pt x="101" y="336"/>
                  </a:lnTo>
                  <a:lnTo>
                    <a:pt x="98" y="331"/>
                  </a:lnTo>
                  <a:lnTo>
                    <a:pt x="95" y="326"/>
                  </a:lnTo>
                  <a:lnTo>
                    <a:pt x="93" y="321"/>
                  </a:lnTo>
                  <a:lnTo>
                    <a:pt x="92" y="315"/>
                  </a:lnTo>
                  <a:lnTo>
                    <a:pt x="91" y="308"/>
                  </a:lnTo>
                  <a:lnTo>
                    <a:pt x="90" y="300"/>
                  </a:lnTo>
                  <a:lnTo>
                    <a:pt x="90" y="300"/>
                  </a:lnTo>
                  <a:lnTo>
                    <a:pt x="91" y="288"/>
                  </a:lnTo>
                  <a:lnTo>
                    <a:pt x="94" y="277"/>
                  </a:lnTo>
                  <a:lnTo>
                    <a:pt x="96" y="272"/>
                  </a:lnTo>
                  <a:lnTo>
                    <a:pt x="99" y="266"/>
                  </a:lnTo>
                  <a:lnTo>
                    <a:pt x="103" y="262"/>
                  </a:lnTo>
                  <a:lnTo>
                    <a:pt x="106" y="258"/>
                  </a:lnTo>
                  <a:lnTo>
                    <a:pt x="111" y="255"/>
                  </a:lnTo>
                  <a:lnTo>
                    <a:pt x="116" y="252"/>
                  </a:lnTo>
                  <a:lnTo>
                    <a:pt x="123" y="249"/>
                  </a:lnTo>
                  <a:lnTo>
                    <a:pt x="129" y="247"/>
                  </a:lnTo>
                  <a:lnTo>
                    <a:pt x="145" y="244"/>
                  </a:lnTo>
                  <a:lnTo>
                    <a:pt x="162" y="242"/>
                  </a:lnTo>
                  <a:lnTo>
                    <a:pt x="261" y="239"/>
                  </a:lnTo>
                  <a:lnTo>
                    <a:pt x="261" y="332"/>
                  </a:lnTo>
                  <a:close/>
                  <a:moveTo>
                    <a:pt x="205" y="0"/>
                  </a:moveTo>
                  <a:lnTo>
                    <a:pt x="205" y="0"/>
                  </a:lnTo>
                  <a:lnTo>
                    <a:pt x="176" y="1"/>
                  </a:lnTo>
                  <a:lnTo>
                    <a:pt x="147" y="4"/>
                  </a:lnTo>
                  <a:lnTo>
                    <a:pt x="121" y="7"/>
                  </a:lnTo>
                  <a:lnTo>
                    <a:pt x="97" y="12"/>
                  </a:lnTo>
                  <a:lnTo>
                    <a:pt x="77" y="17"/>
                  </a:lnTo>
                  <a:lnTo>
                    <a:pt x="58" y="23"/>
                  </a:lnTo>
                  <a:lnTo>
                    <a:pt x="44" y="28"/>
                  </a:lnTo>
                  <a:lnTo>
                    <a:pt x="33" y="33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63" y="98"/>
                  </a:lnTo>
                  <a:lnTo>
                    <a:pt x="92" y="91"/>
                  </a:lnTo>
                  <a:lnTo>
                    <a:pt x="111" y="86"/>
                  </a:lnTo>
                  <a:lnTo>
                    <a:pt x="133" y="82"/>
                  </a:lnTo>
                  <a:lnTo>
                    <a:pt x="155" y="80"/>
                  </a:lnTo>
                  <a:lnTo>
                    <a:pt x="179" y="79"/>
                  </a:lnTo>
                  <a:lnTo>
                    <a:pt x="179" y="79"/>
                  </a:lnTo>
                  <a:lnTo>
                    <a:pt x="197" y="80"/>
                  </a:lnTo>
                  <a:lnTo>
                    <a:pt x="214" y="82"/>
                  </a:lnTo>
                  <a:lnTo>
                    <a:pt x="221" y="84"/>
                  </a:lnTo>
                  <a:lnTo>
                    <a:pt x="228" y="86"/>
                  </a:lnTo>
                  <a:lnTo>
                    <a:pt x="234" y="90"/>
                  </a:lnTo>
                  <a:lnTo>
                    <a:pt x="239" y="94"/>
                  </a:lnTo>
                  <a:lnTo>
                    <a:pt x="244" y="98"/>
                  </a:lnTo>
                  <a:lnTo>
                    <a:pt x="248" y="102"/>
                  </a:lnTo>
                  <a:lnTo>
                    <a:pt x="251" y="108"/>
                  </a:lnTo>
                  <a:lnTo>
                    <a:pt x="254" y="114"/>
                  </a:lnTo>
                  <a:lnTo>
                    <a:pt x="256" y="120"/>
                  </a:lnTo>
                  <a:lnTo>
                    <a:pt x="258" y="129"/>
                  </a:lnTo>
                  <a:lnTo>
                    <a:pt x="260" y="137"/>
                  </a:lnTo>
                  <a:lnTo>
                    <a:pt x="260" y="146"/>
                  </a:lnTo>
                  <a:lnTo>
                    <a:pt x="260" y="176"/>
                  </a:lnTo>
                  <a:lnTo>
                    <a:pt x="179" y="176"/>
                  </a:lnTo>
                  <a:lnTo>
                    <a:pt x="179" y="176"/>
                  </a:lnTo>
                  <a:lnTo>
                    <a:pt x="154" y="177"/>
                  </a:lnTo>
                  <a:lnTo>
                    <a:pt x="132" y="179"/>
                  </a:lnTo>
                  <a:lnTo>
                    <a:pt x="111" y="182"/>
                  </a:lnTo>
                  <a:lnTo>
                    <a:pt x="93" y="187"/>
                  </a:lnTo>
                  <a:lnTo>
                    <a:pt x="77" y="192"/>
                  </a:lnTo>
                  <a:lnTo>
                    <a:pt x="61" y="200"/>
                  </a:lnTo>
                  <a:lnTo>
                    <a:pt x="49" y="207"/>
                  </a:lnTo>
                  <a:lnTo>
                    <a:pt x="38" y="216"/>
                  </a:lnTo>
                  <a:lnTo>
                    <a:pt x="29" y="225"/>
                  </a:lnTo>
                  <a:lnTo>
                    <a:pt x="20" y="236"/>
                  </a:lnTo>
                  <a:lnTo>
                    <a:pt x="14" y="246"/>
                  </a:lnTo>
                  <a:lnTo>
                    <a:pt x="9" y="257"/>
                  </a:lnTo>
                  <a:lnTo>
                    <a:pt x="5" y="270"/>
                  </a:lnTo>
                  <a:lnTo>
                    <a:pt x="2" y="282"/>
                  </a:lnTo>
                  <a:lnTo>
                    <a:pt x="1" y="294"/>
                  </a:lnTo>
                  <a:lnTo>
                    <a:pt x="0" y="307"/>
                  </a:lnTo>
                  <a:lnTo>
                    <a:pt x="0" y="307"/>
                  </a:lnTo>
                  <a:lnTo>
                    <a:pt x="1" y="323"/>
                  </a:lnTo>
                  <a:lnTo>
                    <a:pt x="3" y="338"/>
                  </a:lnTo>
                  <a:lnTo>
                    <a:pt x="7" y="352"/>
                  </a:lnTo>
                  <a:lnTo>
                    <a:pt x="12" y="364"/>
                  </a:lnTo>
                  <a:lnTo>
                    <a:pt x="19" y="376"/>
                  </a:lnTo>
                  <a:lnTo>
                    <a:pt x="27" y="386"/>
                  </a:lnTo>
                  <a:lnTo>
                    <a:pt x="35" y="394"/>
                  </a:lnTo>
                  <a:lnTo>
                    <a:pt x="45" y="401"/>
                  </a:lnTo>
                  <a:lnTo>
                    <a:pt x="54" y="408"/>
                  </a:lnTo>
                  <a:lnTo>
                    <a:pt x="65" y="414"/>
                  </a:lnTo>
                  <a:lnTo>
                    <a:pt x="77" y="418"/>
                  </a:lnTo>
                  <a:lnTo>
                    <a:pt x="89" y="422"/>
                  </a:lnTo>
                  <a:lnTo>
                    <a:pt x="101" y="424"/>
                  </a:lnTo>
                  <a:lnTo>
                    <a:pt x="113" y="426"/>
                  </a:lnTo>
                  <a:lnTo>
                    <a:pt x="126" y="427"/>
                  </a:lnTo>
                  <a:lnTo>
                    <a:pt x="138" y="428"/>
                  </a:lnTo>
                  <a:lnTo>
                    <a:pt x="138" y="428"/>
                  </a:lnTo>
                  <a:lnTo>
                    <a:pt x="151" y="427"/>
                  </a:lnTo>
                  <a:lnTo>
                    <a:pt x="164" y="426"/>
                  </a:lnTo>
                  <a:lnTo>
                    <a:pt x="189" y="423"/>
                  </a:lnTo>
                  <a:lnTo>
                    <a:pt x="209" y="418"/>
                  </a:lnTo>
                  <a:lnTo>
                    <a:pt x="227" y="412"/>
                  </a:lnTo>
                  <a:lnTo>
                    <a:pt x="241" y="406"/>
                  </a:lnTo>
                  <a:lnTo>
                    <a:pt x="252" y="401"/>
                  </a:lnTo>
                  <a:lnTo>
                    <a:pt x="260" y="397"/>
                  </a:lnTo>
                  <a:lnTo>
                    <a:pt x="264" y="396"/>
                  </a:lnTo>
                  <a:lnTo>
                    <a:pt x="264" y="396"/>
                  </a:lnTo>
                  <a:lnTo>
                    <a:pt x="266" y="397"/>
                  </a:lnTo>
                  <a:lnTo>
                    <a:pt x="270" y="398"/>
                  </a:lnTo>
                  <a:lnTo>
                    <a:pt x="276" y="401"/>
                  </a:lnTo>
                  <a:lnTo>
                    <a:pt x="284" y="404"/>
                  </a:lnTo>
                  <a:lnTo>
                    <a:pt x="295" y="407"/>
                  </a:lnTo>
                  <a:lnTo>
                    <a:pt x="311" y="411"/>
                  </a:lnTo>
                  <a:lnTo>
                    <a:pt x="329" y="412"/>
                  </a:lnTo>
                  <a:lnTo>
                    <a:pt x="352" y="413"/>
                  </a:lnTo>
                  <a:lnTo>
                    <a:pt x="352" y="122"/>
                  </a:lnTo>
                  <a:lnTo>
                    <a:pt x="352" y="122"/>
                  </a:lnTo>
                  <a:lnTo>
                    <a:pt x="352" y="106"/>
                  </a:lnTo>
                  <a:lnTo>
                    <a:pt x="350" y="92"/>
                  </a:lnTo>
                  <a:lnTo>
                    <a:pt x="347" y="78"/>
                  </a:lnTo>
                  <a:lnTo>
                    <a:pt x="343" y="66"/>
                  </a:lnTo>
                  <a:lnTo>
                    <a:pt x="337" y="56"/>
                  </a:lnTo>
                  <a:lnTo>
                    <a:pt x="331" y="45"/>
                  </a:lnTo>
                  <a:lnTo>
                    <a:pt x="323" y="36"/>
                  </a:lnTo>
                  <a:lnTo>
                    <a:pt x="314" y="29"/>
                  </a:lnTo>
                  <a:lnTo>
                    <a:pt x="304" y="22"/>
                  </a:lnTo>
                  <a:lnTo>
                    <a:pt x="293" y="15"/>
                  </a:lnTo>
                  <a:lnTo>
                    <a:pt x="281" y="11"/>
                  </a:lnTo>
                  <a:lnTo>
                    <a:pt x="268" y="7"/>
                  </a:lnTo>
                  <a:lnTo>
                    <a:pt x="253" y="4"/>
                  </a:lnTo>
                  <a:lnTo>
                    <a:pt x="238" y="2"/>
                  </a:lnTo>
                  <a:lnTo>
                    <a:pt x="223" y="1"/>
                  </a:lnTo>
                  <a:lnTo>
                    <a:pt x="205" y="0"/>
                  </a:lnTo>
                  <a:close/>
                  <a:moveTo>
                    <a:pt x="1319" y="332"/>
                  </a:moveTo>
                  <a:lnTo>
                    <a:pt x="1319" y="332"/>
                  </a:lnTo>
                  <a:lnTo>
                    <a:pt x="1300" y="338"/>
                  </a:lnTo>
                  <a:lnTo>
                    <a:pt x="1273" y="347"/>
                  </a:lnTo>
                  <a:lnTo>
                    <a:pt x="1259" y="350"/>
                  </a:lnTo>
                  <a:lnTo>
                    <a:pt x="1243" y="353"/>
                  </a:lnTo>
                  <a:lnTo>
                    <a:pt x="1229" y="355"/>
                  </a:lnTo>
                  <a:lnTo>
                    <a:pt x="1216" y="355"/>
                  </a:lnTo>
                  <a:lnTo>
                    <a:pt x="1216" y="355"/>
                  </a:lnTo>
                  <a:lnTo>
                    <a:pt x="1202" y="355"/>
                  </a:lnTo>
                  <a:lnTo>
                    <a:pt x="1189" y="353"/>
                  </a:lnTo>
                  <a:lnTo>
                    <a:pt x="1177" y="349"/>
                  </a:lnTo>
                  <a:lnTo>
                    <a:pt x="1172" y="347"/>
                  </a:lnTo>
                  <a:lnTo>
                    <a:pt x="1168" y="344"/>
                  </a:lnTo>
                  <a:lnTo>
                    <a:pt x="1164" y="340"/>
                  </a:lnTo>
                  <a:lnTo>
                    <a:pt x="1160" y="336"/>
                  </a:lnTo>
                  <a:lnTo>
                    <a:pt x="1157" y="331"/>
                  </a:lnTo>
                  <a:lnTo>
                    <a:pt x="1154" y="326"/>
                  </a:lnTo>
                  <a:lnTo>
                    <a:pt x="1151" y="321"/>
                  </a:lnTo>
                  <a:lnTo>
                    <a:pt x="1149" y="315"/>
                  </a:lnTo>
                  <a:lnTo>
                    <a:pt x="1148" y="308"/>
                  </a:lnTo>
                  <a:lnTo>
                    <a:pt x="1148" y="300"/>
                  </a:lnTo>
                  <a:lnTo>
                    <a:pt x="1148" y="300"/>
                  </a:lnTo>
                  <a:lnTo>
                    <a:pt x="1149" y="288"/>
                  </a:lnTo>
                  <a:lnTo>
                    <a:pt x="1152" y="277"/>
                  </a:lnTo>
                  <a:lnTo>
                    <a:pt x="1155" y="272"/>
                  </a:lnTo>
                  <a:lnTo>
                    <a:pt x="1158" y="266"/>
                  </a:lnTo>
                  <a:lnTo>
                    <a:pt x="1161" y="262"/>
                  </a:lnTo>
                  <a:lnTo>
                    <a:pt x="1165" y="258"/>
                  </a:lnTo>
                  <a:lnTo>
                    <a:pt x="1170" y="255"/>
                  </a:lnTo>
                  <a:lnTo>
                    <a:pt x="1175" y="252"/>
                  </a:lnTo>
                  <a:lnTo>
                    <a:pt x="1181" y="249"/>
                  </a:lnTo>
                  <a:lnTo>
                    <a:pt x="1187" y="247"/>
                  </a:lnTo>
                  <a:lnTo>
                    <a:pt x="1203" y="244"/>
                  </a:lnTo>
                  <a:lnTo>
                    <a:pt x="1221" y="242"/>
                  </a:lnTo>
                  <a:lnTo>
                    <a:pt x="1319" y="239"/>
                  </a:lnTo>
                  <a:lnTo>
                    <a:pt x="1319" y="332"/>
                  </a:lnTo>
                  <a:close/>
                  <a:moveTo>
                    <a:pt x="1264" y="0"/>
                  </a:moveTo>
                  <a:lnTo>
                    <a:pt x="1264" y="0"/>
                  </a:lnTo>
                  <a:lnTo>
                    <a:pt x="1233" y="1"/>
                  </a:lnTo>
                  <a:lnTo>
                    <a:pt x="1206" y="4"/>
                  </a:lnTo>
                  <a:lnTo>
                    <a:pt x="1179" y="7"/>
                  </a:lnTo>
                  <a:lnTo>
                    <a:pt x="1156" y="12"/>
                  </a:lnTo>
                  <a:lnTo>
                    <a:pt x="1135" y="17"/>
                  </a:lnTo>
                  <a:lnTo>
                    <a:pt x="1117" y="23"/>
                  </a:lnTo>
                  <a:lnTo>
                    <a:pt x="1102" y="28"/>
                  </a:lnTo>
                  <a:lnTo>
                    <a:pt x="1091" y="33"/>
                  </a:lnTo>
                  <a:lnTo>
                    <a:pt x="1111" y="102"/>
                  </a:lnTo>
                  <a:lnTo>
                    <a:pt x="1111" y="102"/>
                  </a:lnTo>
                  <a:lnTo>
                    <a:pt x="1122" y="98"/>
                  </a:lnTo>
                  <a:lnTo>
                    <a:pt x="1150" y="91"/>
                  </a:lnTo>
                  <a:lnTo>
                    <a:pt x="1169" y="86"/>
                  </a:lnTo>
                  <a:lnTo>
                    <a:pt x="1190" y="82"/>
                  </a:lnTo>
                  <a:lnTo>
                    <a:pt x="1213" y="80"/>
                  </a:lnTo>
                  <a:lnTo>
                    <a:pt x="1236" y="79"/>
                  </a:lnTo>
                  <a:lnTo>
                    <a:pt x="1236" y="79"/>
                  </a:lnTo>
                  <a:lnTo>
                    <a:pt x="1256" y="80"/>
                  </a:lnTo>
                  <a:lnTo>
                    <a:pt x="1272" y="82"/>
                  </a:lnTo>
                  <a:lnTo>
                    <a:pt x="1279" y="84"/>
                  </a:lnTo>
                  <a:lnTo>
                    <a:pt x="1285" y="86"/>
                  </a:lnTo>
                  <a:lnTo>
                    <a:pt x="1291" y="90"/>
                  </a:lnTo>
                  <a:lnTo>
                    <a:pt x="1298" y="94"/>
                  </a:lnTo>
                  <a:lnTo>
                    <a:pt x="1302" y="98"/>
                  </a:lnTo>
                  <a:lnTo>
                    <a:pt x="1306" y="102"/>
                  </a:lnTo>
                  <a:lnTo>
                    <a:pt x="1310" y="108"/>
                  </a:lnTo>
                  <a:lnTo>
                    <a:pt x="1313" y="114"/>
                  </a:lnTo>
                  <a:lnTo>
                    <a:pt x="1315" y="120"/>
                  </a:lnTo>
                  <a:lnTo>
                    <a:pt x="1316" y="129"/>
                  </a:lnTo>
                  <a:lnTo>
                    <a:pt x="1317" y="137"/>
                  </a:lnTo>
                  <a:lnTo>
                    <a:pt x="1318" y="146"/>
                  </a:lnTo>
                  <a:lnTo>
                    <a:pt x="1318" y="176"/>
                  </a:lnTo>
                  <a:lnTo>
                    <a:pt x="1236" y="176"/>
                  </a:lnTo>
                  <a:lnTo>
                    <a:pt x="1236" y="176"/>
                  </a:lnTo>
                  <a:lnTo>
                    <a:pt x="1212" y="177"/>
                  </a:lnTo>
                  <a:lnTo>
                    <a:pt x="1189" y="179"/>
                  </a:lnTo>
                  <a:lnTo>
                    <a:pt x="1169" y="182"/>
                  </a:lnTo>
                  <a:lnTo>
                    <a:pt x="1150" y="187"/>
                  </a:lnTo>
                  <a:lnTo>
                    <a:pt x="1134" y="192"/>
                  </a:lnTo>
                  <a:lnTo>
                    <a:pt x="1120" y="200"/>
                  </a:lnTo>
                  <a:lnTo>
                    <a:pt x="1108" y="207"/>
                  </a:lnTo>
                  <a:lnTo>
                    <a:pt x="1096" y="216"/>
                  </a:lnTo>
                  <a:lnTo>
                    <a:pt x="1086" y="225"/>
                  </a:lnTo>
                  <a:lnTo>
                    <a:pt x="1079" y="236"/>
                  </a:lnTo>
                  <a:lnTo>
                    <a:pt x="1072" y="246"/>
                  </a:lnTo>
                  <a:lnTo>
                    <a:pt x="1067" y="257"/>
                  </a:lnTo>
                  <a:lnTo>
                    <a:pt x="1064" y="270"/>
                  </a:lnTo>
                  <a:lnTo>
                    <a:pt x="1061" y="282"/>
                  </a:lnTo>
                  <a:lnTo>
                    <a:pt x="1058" y="294"/>
                  </a:lnTo>
                  <a:lnTo>
                    <a:pt x="1058" y="307"/>
                  </a:lnTo>
                  <a:lnTo>
                    <a:pt x="1058" y="307"/>
                  </a:lnTo>
                  <a:lnTo>
                    <a:pt x="1060" y="323"/>
                  </a:lnTo>
                  <a:lnTo>
                    <a:pt x="1062" y="338"/>
                  </a:lnTo>
                  <a:lnTo>
                    <a:pt x="1066" y="352"/>
                  </a:lnTo>
                  <a:lnTo>
                    <a:pt x="1071" y="364"/>
                  </a:lnTo>
                  <a:lnTo>
                    <a:pt x="1077" y="376"/>
                  </a:lnTo>
                  <a:lnTo>
                    <a:pt x="1085" y="386"/>
                  </a:lnTo>
                  <a:lnTo>
                    <a:pt x="1093" y="394"/>
                  </a:lnTo>
                  <a:lnTo>
                    <a:pt x="1102" y="401"/>
                  </a:lnTo>
                  <a:lnTo>
                    <a:pt x="1113" y="408"/>
                  </a:lnTo>
                  <a:lnTo>
                    <a:pt x="1124" y="414"/>
                  </a:lnTo>
                  <a:lnTo>
                    <a:pt x="1135" y="418"/>
                  </a:lnTo>
                  <a:lnTo>
                    <a:pt x="1146" y="422"/>
                  </a:lnTo>
                  <a:lnTo>
                    <a:pt x="1159" y="424"/>
                  </a:lnTo>
                  <a:lnTo>
                    <a:pt x="1171" y="426"/>
                  </a:lnTo>
                  <a:lnTo>
                    <a:pt x="1183" y="427"/>
                  </a:lnTo>
                  <a:lnTo>
                    <a:pt x="1195" y="428"/>
                  </a:lnTo>
                  <a:lnTo>
                    <a:pt x="1195" y="428"/>
                  </a:lnTo>
                  <a:lnTo>
                    <a:pt x="1210" y="427"/>
                  </a:lnTo>
                  <a:lnTo>
                    <a:pt x="1223" y="426"/>
                  </a:lnTo>
                  <a:lnTo>
                    <a:pt x="1246" y="423"/>
                  </a:lnTo>
                  <a:lnTo>
                    <a:pt x="1268" y="418"/>
                  </a:lnTo>
                  <a:lnTo>
                    <a:pt x="1285" y="412"/>
                  </a:lnTo>
                  <a:lnTo>
                    <a:pt x="1300" y="406"/>
                  </a:lnTo>
                  <a:lnTo>
                    <a:pt x="1311" y="401"/>
                  </a:lnTo>
                  <a:lnTo>
                    <a:pt x="1318" y="397"/>
                  </a:lnTo>
                  <a:lnTo>
                    <a:pt x="1322" y="396"/>
                  </a:lnTo>
                  <a:lnTo>
                    <a:pt x="1322" y="396"/>
                  </a:lnTo>
                  <a:lnTo>
                    <a:pt x="1324" y="397"/>
                  </a:lnTo>
                  <a:lnTo>
                    <a:pt x="1327" y="398"/>
                  </a:lnTo>
                  <a:lnTo>
                    <a:pt x="1333" y="401"/>
                  </a:lnTo>
                  <a:lnTo>
                    <a:pt x="1341" y="404"/>
                  </a:lnTo>
                  <a:lnTo>
                    <a:pt x="1354" y="407"/>
                  </a:lnTo>
                  <a:lnTo>
                    <a:pt x="1368" y="411"/>
                  </a:lnTo>
                  <a:lnTo>
                    <a:pt x="1387" y="412"/>
                  </a:lnTo>
                  <a:lnTo>
                    <a:pt x="1411" y="413"/>
                  </a:lnTo>
                  <a:lnTo>
                    <a:pt x="1411" y="122"/>
                  </a:lnTo>
                  <a:lnTo>
                    <a:pt x="1411" y="122"/>
                  </a:lnTo>
                  <a:lnTo>
                    <a:pt x="1411" y="106"/>
                  </a:lnTo>
                  <a:lnTo>
                    <a:pt x="1409" y="92"/>
                  </a:lnTo>
                  <a:lnTo>
                    <a:pt x="1406" y="78"/>
                  </a:lnTo>
                  <a:lnTo>
                    <a:pt x="1401" y="66"/>
                  </a:lnTo>
                  <a:lnTo>
                    <a:pt x="1396" y="56"/>
                  </a:lnTo>
                  <a:lnTo>
                    <a:pt x="1388" y="45"/>
                  </a:lnTo>
                  <a:lnTo>
                    <a:pt x="1381" y="36"/>
                  </a:lnTo>
                  <a:lnTo>
                    <a:pt x="1372" y="29"/>
                  </a:lnTo>
                  <a:lnTo>
                    <a:pt x="1362" y="22"/>
                  </a:lnTo>
                  <a:lnTo>
                    <a:pt x="1351" y="15"/>
                  </a:lnTo>
                  <a:lnTo>
                    <a:pt x="1339" y="11"/>
                  </a:lnTo>
                  <a:lnTo>
                    <a:pt x="1326" y="7"/>
                  </a:lnTo>
                  <a:lnTo>
                    <a:pt x="1312" y="4"/>
                  </a:lnTo>
                  <a:lnTo>
                    <a:pt x="1297" y="2"/>
                  </a:lnTo>
                  <a:lnTo>
                    <a:pt x="1280" y="1"/>
                  </a:lnTo>
                  <a:lnTo>
                    <a:pt x="1264" y="0"/>
                  </a:lnTo>
                  <a:close/>
                  <a:moveTo>
                    <a:pt x="2735" y="317"/>
                  </a:moveTo>
                  <a:lnTo>
                    <a:pt x="2735" y="317"/>
                  </a:lnTo>
                  <a:lnTo>
                    <a:pt x="2714" y="326"/>
                  </a:lnTo>
                  <a:lnTo>
                    <a:pt x="2700" y="331"/>
                  </a:lnTo>
                  <a:lnTo>
                    <a:pt x="2686" y="335"/>
                  </a:lnTo>
                  <a:lnTo>
                    <a:pt x="2671" y="340"/>
                  </a:lnTo>
                  <a:lnTo>
                    <a:pt x="2654" y="343"/>
                  </a:lnTo>
                  <a:lnTo>
                    <a:pt x="2638" y="345"/>
                  </a:lnTo>
                  <a:lnTo>
                    <a:pt x="2621" y="346"/>
                  </a:lnTo>
                  <a:lnTo>
                    <a:pt x="2621" y="346"/>
                  </a:lnTo>
                  <a:lnTo>
                    <a:pt x="2609" y="346"/>
                  </a:lnTo>
                  <a:lnTo>
                    <a:pt x="2599" y="345"/>
                  </a:lnTo>
                  <a:lnTo>
                    <a:pt x="2590" y="343"/>
                  </a:lnTo>
                  <a:lnTo>
                    <a:pt x="2583" y="341"/>
                  </a:lnTo>
                  <a:lnTo>
                    <a:pt x="2576" y="337"/>
                  </a:lnTo>
                  <a:lnTo>
                    <a:pt x="2570" y="333"/>
                  </a:lnTo>
                  <a:lnTo>
                    <a:pt x="2564" y="328"/>
                  </a:lnTo>
                  <a:lnTo>
                    <a:pt x="2560" y="323"/>
                  </a:lnTo>
                  <a:lnTo>
                    <a:pt x="2556" y="317"/>
                  </a:lnTo>
                  <a:lnTo>
                    <a:pt x="2553" y="311"/>
                  </a:lnTo>
                  <a:lnTo>
                    <a:pt x="2551" y="302"/>
                  </a:lnTo>
                  <a:lnTo>
                    <a:pt x="2549" y="294"/>
                  </a:lnTo>
                  <a:lnTo>
                    <a:pt x="2547" y="275"/>
                  </a:lnTo>
                  <a:lnTo>
                    <a:pt x="2547" y="252"/>
                  </a:lnTo>
                  <a:lnTo>
                    <a:pt x="2547" y="4"/>
                  </a:lnTo>
                  <a:lnTo>
                    <a:pt x="2533" y="4"/>
                  </a:lnTo>
                  <a:lnTo>
                    <a:pt x="2533" y="4"/>
                  </a:lnTo>
                  <a:lnTo>
                    <a:pt x="2513" y="4"/>
                  </a:lnTo>
                  <a:lnTo>
                    <a:pt x="2490" y="6"/>
                  </a:lnTo>
                  <a:lnTo>
                    <a:pt x="2467" y="8"/>
                  </a:lnTo>
                  <a:lnTo>
                    <a:pt x="2454" y="10"/>
                  </a:lnTo>
                  <a:lnTo>
                    <a:pt x="2454" y="263"/>
                  </a:lnTo>
                  <a:lnTo>
                    <a:pt x="2454" y="263"/>
                  </a:lnTo>
                  <a:lnTo>
                    <a:pt x="2454" y="284"/>
                  </a:lnTo>
                  <a:lnTo>
                    <a:pt x="2455" y="302"/>
                  </a:lnTo>
                  <a:lnTo>
                    <a:pt x="2457" y="320"/>
                  </a:lnTo>
                  <a:lnTo>
                    <a:pt x="2459" y="336"/>
                  </a:lnTo>
                  <a:lnTo>
                    <a:pt x="2463" y="351"/>
                  </a:lnTo>
                  <a:lnTo>
                    <a:pt x="2468" y="364"/>
                  </a:lnTo>
                  <a:lnTo>
                    <a:pt x="2475" y="377"/>
                  </a:lnTo>
                  <a:lnTo>
                    <a:pt x="2482" y="387"/>
                  </a:lnTo>
                  <a:lnTo>
                    <a:pt x="2490" y="397"/>
                  </a:lnTo>
                  <a:lnTo>
                    <a:pt x="2500" y="405"/>
                  </a:lnTo>
                  <a:lnTo>
                    <a:pt x="2512" y="412"/>
                  </a:lnTo>
                  <a:lnTo>
                    <a:pt x="2525" y="418"/>
                  </a:lnTo>
                  <a:lnTo>
                    <a:pt x="2540" y="422"/>
                  </a:lnTo>
                  <a:lnTo>
                    <a:pt x="2556" y="425"/>
                  </a:lnTo>
                  <a:lnTo>
                    <a:pt x="2575" y="427"/>
                  </a:lnTo>
                  <a:lnTo>
                    <a:pt x="2595" y="428"/>
                  </a:lnTo>
                  <a:lnTo>
                    <a:pt x="2595" y="428"/>
                  </a:lnTo>
                  <a:lnTo>
                    <a:pt x="2611" y="427"/>
                  </a:lnTo>
                  <a:lnTo>
                    <a:pt x="2626" y="426"/>
                  </a:lnTo>
                  <a:lnTo>
                    <a:pt x="2640" y="425"/>
                  </a:lnTo>
                  <a:lnTo>
                    <a:pt x="2653" y="422"/>
                  </a:lnTo>
                  <a:lnTo>
                    <a:pt x="2677" y="417"/>
                  </a:lnTo>
                  <a:lnTo>
                    <a:pt x="2697" y="411"/>
                  </a:lnTo>
                  <a:lnTo>
                    <a:pt x="2714" y="404"/>
                  </a:lnTo>
                  <a:lnTo>
                    <a:pt x="2725" y="399"/>
                  </a:lnTo>
                  <a:lnTo>
                    <a:pt x="2737" y="394"/>
                  </a:lnTo>
                  <a:lnTo>
                    <a:pt x="2737" y="394"/>
                  </a:lnTo>
                  <a:lnTo>
                    <a:pt x="2743" y="397"/>
                  </a:lnTo>
                  <a:lnTo>
                    <a:pt x="2750" y="400"/>
                  </a:lnTo>
                  <a:lnTo>
                    <a:pt x="2761" y="403"/>
                  </a:lnTo>
                  <a:lnTo>
                    <a:pt x="2773" y="406"/>
                  </a:lnTo>
                  <a:lnTo>
                    <a:pt x="2788" y="409"/>
                  </a:lnTo>
                  <a:lnTo>
                    <a:pt x="2807" y="412"/>
                  </a:lnTo>
                  <a:lnTo>
                    <a:pt x="2828" y="413"/>
                  </a:lnTo>
                  <a:lnTo>
                    <a:pt x="2828" y="10"/>
                  </a:lnTo>
                  <a:lnTo>
                    <a:pt x="2828" y="10"/>
                  </a:lnTo>
                  <a:lnTo>
                    <a:pt x="2796" y="6"/>
                  </a:lnTo>
                  <a:lnTo>
                    <a:pt x="2774" y="5"/>
                  </a:lnTo>
                  <a:lnTo>
                    <a:pt x="2753" y="4"/>
                  </a:lnTo>
                  <a:lnTo>
                    <a:pt x="2735" y="4"/>
                  </a:lnTo>
                  <a:lnTo>
                    <a:pt x="2735" y="317"/>
                  </a:lnTo>
                  <a:close/>
                  <a:moveTo>
                    <a:pt x="2937" y="413"/>
                  </a:moveTo>
                  <a:lnTo>
                    <a:pt x="2937" y="413"/>
                  </a:lnTo>
                  <a:lnTo>
                    <a:pt x="2948" y="415"/>
                  </a:lnTo>
                  <a:lnTo>
                    <a:pt x="2976" y="420"/>
                  </a:lnTo>
                  <a:lnTo>
                    <a:pt x="2997" y="423"/>
                  </a:lnTo>
                  <a:lnTo>
                    <a:pt x="3020" y="425"/>
                  </a:lnTo>
                  <a:lnTo>
                    <a:pt x="3047" y="427"/>
                  </a:lnTo>
                  <a:lnTo>
                    <a:pt x="3075" y="428"/>
                  </a:lnTo>
                  <a:lnTo>
                    <a:pt x="3075" y="428"/>
                  </a:lnTo>
                  <a:lnTo>
                    <a:pt x="3091" y="427"/>
                  </a:lnTo>
                  <a:lnTo>
                    <a:pt x="3105" y="426"/>
                  </a:lnTo>
                  <a:lnTo>
                    <a:pt x="3120" y="425"/>
                  </a:lnTo>
                  <a:lnTo>
                    <a:pt x="3135" y="422"/>
                  </a:lnTo>
                  <a:lnTo>
                    <a:pt x="3150" y="419"/>
                  </a:lnTo>
                  <a:lnTo>
                    <a:pt x="3164" y="414"/>
                  </a:lnTo>
                  <a:lnTo>
                    <a:pt x="3178" y="408"/>
                  </a:lnTo>
                  <a:lnTo>
                    <a:pt x="3191" y="402"/>
                  </a:lnTo>
                  <a:lnTo>
                    <a:pt x="3202" y="394"/>
                  </a:lnTo>
                  <a:lnTo>
                    <a:pt x="3213" y="385"/>
                  </a:lnTo>
                  <a:lnTo>
                    <a:pt x="3223" y="375"/>
                  </a:lnTo>
                  <a:lnTo>
                    <a:pt x="3232" y="363"/>
                  </a:lnTo>
                  <a:lnTo>
                    <a:pt x="3239" y="350"/>
                  </a:lnTo>
                  <a:lnTo>
                    <a:pt x="3244" y="334"/>
                  </a:lnTo>
                  <a:lnTo>
                    <a:pt x="3247" y="318"/>
                  </a:lnTo>
                  <a:lnTo>
                    <a:pt x="3248" y="300"/>
                  </a:lnTo>
                  <a:lnTo>
                    <a:pt x="3248" y="300"/>
                  </a:lnTo>
                  <a:lnTo>
                    <a:pt x="3247" y="288"/>
                  </a:lnTo>
                  <a:lnTo>
                    <a:pt x="3246" y="277"/>
                  </a:lnTo>
                  <a:lnTo>
                    <a:pt x="3243" y="266"/>
                  </a:lnTo>
                  <a:lnTo>
                    <a:pt x="3239" y="256"/>
                  </a:lnTo>
                  <a:lnTo>
                    <a:pt x="3234" y="248"/>
                  </a:lnTo>
                  <a:lnTo>
                    <a:pt x="3228" y="239"/>
                  </a:lnTo>
                  <a:lnTo>
                    <a:pt x="3220" y="231"/>
                  </a:lnTo>
                  <a:lnTo>
                    <a:pt x="3213" y="224"/>
                  </a:lnTo>
                  <a:lnTo>
                    <a:pt x="3204" y="217"/>
                  </a:lnTo>
                  <a:lnTo>
                    <a:pt x="3194" y="211"/>
                  </a:lnTo>
                  <a:lnTo>
                    <a:pt x="3184" y="204"/>
                  </a:lnTo>
                  <a:lnTo>
                    <a:pt x="3171" y="199"/>
                  </a:lnTo>
                  <a:lnTo>
                    <a:pt x="3146" y="187"/>
                  </a:lnTo>
                  <a:lnTo>
                    <a:pt x="3117" y="176"/>
                  </a:lnTo>
                  <a:lnTo>
                    <a:pt x="3117" y="176"/>
                  </a:lnTo>
                  <a:lnTo>
                    <a:pt x="3086" y="164"/>
                  </a:lnTo>
                  <a:lnTo>
                    <a:pt x="3072" y="157"/>
                  </a:lnTo>
                  <a:lnTo>
                    <a:pt x="3060" y="151"/>
                  </a:lnTo>
                  <a:lnTo>
                    <a:pt x="3050" y="144"/>
                  </a:lnTo>
                  <a:lnTo>
                    <a:pt x="3046" y="140"/>
                  </a:lnTo>
                  <a:lnTo>
                    <a:pt x="3043" y="136"/>
                  </a:lnTo>
                  <a:lnTo>
                    <a:pt x="3040" y="132"/>
                  </a:lnTo>
                  <a:lnTo>
                    <a:pt x="3038" y="127"/>
                  </a:lnTo>
                  <a:lnTo>
                    <a:pt x="3037" y="121"/>
                  </a:lnTo>
                  <a:lnTo>
                    <a:pt x="3037" y="116"/>
                  </a:lnTo>
                  <a:lnTo>
                    <a:pt x="3037" y="116"/>
                  </a:lnTo>
                  <a:lnTo>
                    <a:pt x="3037" y="110"/>
                  </a:lnTo>
                  <a:lnTo>
                    <a:pt x="3039" y="104"/>
                  </a:lnTo>
                  <a:lnTo>
                    <a:pt x="3043" y="97"/>
                  </a:lnTo>
                  <a:lnTo>
                    <a:pt x="3049" y="90"/>
                  </a:lnTo>
                  <a:lnTo>
                    <a:pt x="3053" y="86"/>
                  </a:lnTo>
                  <a:lnTo>
                    <a:pt x="3057" y="83"/>
                  </a:lnTo>
                  <a:lnTo>
                    <a:pt x="3063" y="81"/>
                  </a:lnTo>
                  <a:lnTo>
                    <a:pt x="3069" y="78"/>
                  </a:lnTo>
                  <a:lnTo>
                    <a:pt x="3076" y="76"/>
                  </a:lnTo>
                  <a:lnTo>
                    <a:pt x="3084" y="75"/>
                  </a:lnTo>
                  <a:lnTo>
                    <a:pt x="3093" y="74"/>
                  </a:lnTo>
                  <a:lnTo>
                    <a:pt x="3103" y="74"/>
                  </a:lnTo>
                  <a:lnTo>
                    <a:pt x="3103" y="74"/>
                  </a:lnTo>
                  <a:lnTo>
                    <a:pt x="3122" y="75"/>
                  </a:lnTo>
                  <a:lnTo>
                    <a:pt x="3142" y="77"/>
                  </a:lnTo>
                  <a:lnTo>
                    <a:pt x="3159" y="81"/>
                  </a:lnTo>
                  <a:lnTo>
                    <a:pt x="3175" y="85"/>
                  </a:lnTo>
                  <a:lnTo>
                    <a:pt x="3199" y="94"/>
                  </a:lnTo>
                  <a:lnTo>
                    <a:pt x="3208" y="98"/>
                  </a:lnTo>
                  <a:lnTo>
                    <a:pt x="3232" y="30"/>
                  </a:lnTo>
                  <a:lnTo>
                    <a:pt x="3232" y="30"/>
                  </a:lnTo>
                  <a:lnTo>
                    <a:pt x="3213" y="22"/>
                  </a:lnTo>
                  <a:lnTo>
                    <a:pt x="3200" y="16"/>
                  </a:lnTo>
                  <a:lnTo>
                    <a:pt x="3184" y="12"/>
                  </a:lnTo>
                  <a:lnTo>
                    <a:pt x="3165" y="7"/>
                  </a:lnTo>
                  <a:lnTo>
                    <a:pt x="3144" y="4"/>
                  </a:lnTo>
                  <a:lnTo>
                    <a:pt x="3120" y="1"/>
                  </a:lnTo>
                  <a:lnTo>
                    <a:pt x="3095" y="0"/>
                  </a:lnTo>
                  <a:lnTo>
                    <a:pt x="3095" y="0"/>
                  </a:lnTo>
                  <a:lnTo>
                    <a:pt x="3080" y="1"/>
                  </a:lnTo>
                  <a:lnTo>
                    <a:pt x="3066" y="2"/>
                  </a:lnTo>
                  <a:lnTo>
                    <a:pt x="3052" y="4"/>
                  </a:lnTo>
                  <a:lnTo>
                    <a:pt x="3039" y="8"/>
                  </a:lnTo>
                  <a:lnTo>
                    <a:pt x="3025" y="12"/>
                  </a:lnTo>
                  <a:lnTo>
                    <a:pt x="3013" y="17"/>
                  </a:lnTo>
                  <a:lnTo>
                    <a:pt x="3001" y="24"/>
                  </a:lnTo>
                  <a:lnTo>
                    <a:pt x="2990" y="31"/>
                  </a:lnTo>
                  <a:lnTo>
                    <a:pt x="2979" y="39"/>
                  </a:lnTo>
                  <a:lnTo>
                    <a:pt x="2970" y="47"/>
                  </a:lnTo>
                  <a:lnTo>
                    <a:pt x="2962" y="58"/>
                  </a:lnTo>
                  <a:lnTo>
                    <a:pt x="2956" y="69"/>
                  </a:lnTo>
                  <a:lnTo>
                    <a:pt x="2950" y="80"/>
                  </a:lnTo>
                  <a:lnTo>
                    <a:pt x="2946" y="94"/>
                  </a:lnTo>
                  <a:lnTo>
                    <a:pt x="2944" y="107"/>
                  </a:lnTo>
                  <a:lnTo>
                    <a:pt x="2943" y="122"/>
                  </a:lnTo>
                  <a:lnTo>
                    <a:pt x="2943" y="122"/>
                  </a:lnTo>
                  <a:lnTo>
                    <a:pt x="2944" y="137"/>
                  </a:lnTo>
                  <a:lnTo>
                    <a:pt x="2946" y="150"/>
                  </a:lnTo>
                  <a:lnTo>
                    <a:pt x="2950" y="164"/>
                  </a:lnTo>
                  <a:lnTo>
                    <a:pt x="2956" y="175"/>
                  </a:lnTo>
                  <a:lnTo>
                    <a:pt x="2962" y="185"/>
                  </a:lnTo>
                  <a:lnTo>
                    <a:pt x="2970" y="194"/>
                  </a:lnTo>
                  <a:lnTo>
                    <a:pt x="2979" y="203"/>
                  </a:lnTo>
                  <a:lnTo>
                    <a:pt x="2988" y="210"/>
                  </a:lnTo>
                  <a:lnTo>
                    <a:pt x="2999" y="217"/>
                  </a:lnTo>
                  <a:lnTo>
                    <a:pt x="3010" y="223"/>
                  </a:lnTo>
                  <a:lnTo>
                    <a:pt x="3021" y="229"/>
                  </a:lnTo>
                  <a:lnTo>
                    <a:pt x="3032" y="235"/>
                  </a:lnTo>
                  <a:lnTo>
                    <a:pt x="3056" y="243"/>
                  </a:lnTo>
                  <a:lnTo>
                    <a:pt x="3079" y="251"/>
                  </a:lnTo>
                  <a:lnTo>
                    <a:pt x="3079" y="251"/>
                  </a:lnTo>
                  <a:lnTo>
                    <a:pt x="3108" y="261"/>
                  </a:lnTo>
                  <a:lnTo>
                    <a:pt x="3121" y="266"/>
                  </a:lnTo>
                  <a:lnTo>
                    <a:pt x="3133" y="273"/>
                  </a:lnTo>
                  <a:lnTo>
                    <a:pt x="3142" y="280"/>
                  </a:lnTo>
                  <a:lnTo>
                    <a:pt x="3148" y="287"/>
                  </a:lnTo>
                  <a:lnTo>
                    <a:pt x="3151" y="291"/>
                  </a:lnTo>
                  <a:lnTo>
                    <a:pt x="3153" y="296"/>
                  </a:lnTo>
                  <a:lnTo>
                    <a:pt x="3154" y="300"/>
                  </a:lnTo>
                  <a:lnTo>
                    <a:pt x="3154" y="306"/>
                  </a:lnTo>
                  <a:lnTo>
                    <a:pt x="3154" y="306"/>
                  </a:lnTo>
                  <a:lnTo>
                    <a:pt x="3154" y="315"/>
                  </a:lnTo>
                  <a:lnTo>
                    <a:pt x="3151" y="324"/>
                  </a:lnTo>
                  <a:lnTo>
                    <a:pt x="3149" y="328"/>
                  </a:lnTo>
                  <a:lnTo>
                    <a:pt x="3146" y="332"/>
                  </a:lnTo>
                  <a:lnTo>
                    <a:pt x="3143" y="335"/>
                  </a:lnTo>
                  <a:lnTo>
                    <a:pt x="3139" y="340"/>
                  </a:lnTo>
                  <a:lnTo>
                    <a:pt x="3134" y="343"/>
                  </a:lnTo>
                  <a:lnTo>
                    <a:pt x="3127" y="346"/>
                  </a:lnTo>
                  <a:lnTo>
                    <a:pt x="3121" y="348"/>
                  </a:lnTo>
                  <a:lnTo>
                    <a:pt x="3113" y="350"/>
                  </a:lnTo>
                  <a:lnTo>
                    <a:pt x="3104" y="352"/>
                  </a:lnTo>
                  <a:lnTo>
                    <a:pt x="3095" y="353"/>
                  </a:lnTo>
                  <a:lnTo>
                    <a:pt x="3071" y="354"/>
                  </a:lnTo>
                  <a:lnTo>
                    <a:pt x="3071" y="354"/>
                  </a:lnTo>
                  <a:lnTo>
                    <a:pt x="3050" y="354"/>
                  </a:lnTo>
                  <a:lnTo>
                    <a:pt x="3029" y="352"/>
                  </a:lnTo>
                  <a:lnTo>
                    <a:pt x="2992" y="348"/>
                  </a:lnTo>
                  <a:lnTo>
                    <a:pt x="2965" y="344"/>
                  </a:lnTo>
                  <a:lnTo>
                    <a:pt x="2955" y="342"/>
                  </a:lnTo>
                  <a:lnTo>
                    <a:pt x="2937" y="413"/>
                  </a:lnTo>
                  <a:close/>
                  <a:moveTo>
                    <a:pt x="1639" y="80"/>
                  </a:moveTo>
                  <a:lnTo>
                    <a:pt x="1639" y="80"/>
                  </a:lnTo>
                  <a:lnTo>
                    <a:pt x="1653" y="77"/>
                  </a:lnTo>
                  <a:lnTo>
                    <a:pt x="1670" y="75"/>
                  </a:lnTo>
                  <a:lnTo>
                    <a:pt x="1691" y="73"/>
                  </a:lnTo>
                  <a:lnTo>
                    <a:pt x="1712" y="73"/>
                  </a:lnTo>
                  <a:lnTo>
                    <a:pt x="1712" y="73"/>
                  </a:lnTo>
                  <a:lnTo>
                    <a:pt x="1726" y="73"/>
                  </a:lnTo>
                  <a:lnTo>
                    <a:pt x="1737" y="74"/>
                  </a:lnTo>
                  <a:lnTo>
                    <a:pt x="1749" y="77"/>
                  </a:lnTo>
                  <a:lnTo>
                    <a:pt x="1760" y="80"/>
                  </a:lnTo>
                  <a:lnTo>
                    <a:pt x="1771" y="84"/>
                  </a:lnTo>
                  <a:lnTo>
                    <a:pt x="1780" y="90"/>
                  </a:lnTo>
                  <a:lnTo>
                    <a:pt x="1790" y="97"/>
                  </a:lnTo>
                  <a:lnTo>
                    <a:pt x="1798" y="104"/>
                  </a:lnTo>
                  <a:lnTo>
                    <a:pt x="1805" y="113"/>
                  </a:lnTo>
                  <a:lnTo>
                    <a:pt x="1813" y="122"/>
                  </a:lnTo>
                  <a:lnTo>
                    <a:pt x="1819" y="134"/>
                  </a:lnTo>
                  <a:lnTo>
                    <a:pt x="1824" y="147"/>
                  </a:lnTo>
                  <a:lnTo>
                    <a:pt x="1828" y="161"/>
                  </a:lnTo>
                  <a:lnTo>
                    <a:pt x="1831" y="176"/>
                  </a:lnTo>
                  <a:lnTo>
                    <a:pt x="1832" y="192"/>
                  </a:lnTo>
                  <a:lnTo>
                    <a:pt x="1833" y="211"/>
                  </a:lnTo>
                  <a:lnTo>
                    <a:pt x="1833" y="211"/>
                  </a:lnTo>
                  <a:lnTo>
                    <a:pt x="1833" y="228"/>
                  </a:lnTo>
                  <a:lnTo>
                    <a:pt x="1832" y="245"/>
                  </a:lnTo>
                  <a:lnTo>
                    <a:pt x="1830" y="260"/>
                  </a:lnTo>
                  <a:lnTo>
                    <a:pt x="1827" y="275"/>
                  </a:lnTo>
                  <a:lnTo>
                    <a:pt x="1824" y="288"/>
                  </a:lnTo>
                  <a:lnTo>
                    <a:pt x="1820" y="299"/>
                  </a:lnTo>
                  <a:lnTo>
                    <a:pt x="1814" y="311"/>
                  </a:lnTo>
                  <a:lnTo>
                    <a:pt x="1807" y="320"/>
                  </a:lnTo>
                  <a:lnTo>
                    <a:pt x="1799" y="328"/>
                  </a:lnTo>
                  <a:lnTo>
                    <a:pt x="1790" y="335"/>
                  </a:lnTo>
                  <a:lnTo>
                    <a:pt x="1780" y="342"/>
                  </a:lnTo>
                  <a:lnTo>
                    <a:pt x="1768" y="347"/>
                  </a:lnTo>
                  <a:lnTo>
                    <a:pt x="1754" y="350"/>
                  </a:lnTo>
                  <a:lnTo>
                    <a:pt x="1739" y="353"/>
                  </a:lnTo>
                  <a:lnTo>
                    <a:pt x="1723" y="355"/>
                  </a:lnTo>
                  <a:lnTo>
                    <a:pt x="1704" y="355"/>
                  </a:lnTo>
                  <a:lnTo>
                    <a:pt x="1704" y="355"/>
                  </a:lnTo>
                  <a:lnTo>
                    <a:pt x="1681" y="354"/>
                  </a:lnTo>
                  <a:lnTo>
                    <a:pt x="1659" y="353"/>
                  </a:lnTo>
                  <a:lnTo>
                    <a:pt x="1639" y="351"/>
                  </a:lnTo>
                  <a:lnTo>
                    <a:pt x="1639" y="80"/>
                  </a:lnTo>
                  <a:close/>
                  <a:moveTo>
                    <a:pt x="1717" y="0"/>
                  </a:moveTo>
                  <a:lnTo>
                    <a:pt x="1717" y="0"/>
                  </a:lnTo>
                  <a:lnTo>
                    <a:pt x="1696" y="1"/>
                  </a:lnTo>
                  <a:lnTo>
                    <a:pt x="1675" y="2"/>
                  </a:lnTo>
                  <a:lnTo>
                    <a:pt x="1652" y="4"/>
                  </a:lnTo>
                  <a:lnTo>
                    <a:pt x="1629" y="7"/>
                  </a:lnTo>
                  <a:lnTo>
                    <a:pt x="1606" y="10"/>
                  </a:lnTo>
                  <a:lnTo>
                    <a:pt x="1585" y="14"/>
                  </a:lnTo>
                  <a:lnTo>
                    <a:pt x="1564" y="20"/>
                  </a:lnTo>
                  <a:lnTo>
                    <a:pt x="1546" y="26"/>
                  </a:lnTo>
                  <a:lnTo>
                    <a:pt x="1546" y="415"/>
                  </a:lnTo>
                  <a:lnTo>
                    <a:pt x="1546" y="415"/>
                  </a:lnTo>
                  <a:lnTo>
                    <a:pt x="1561" y="418"/>
                  </a:lnTo>
                  <a:lnTo>
                    <a:pt x="1580" y="420"/>
                  </a:lnTo>
                  <a:lnTo>
                    <a:pt x="1619" y="424"/>
                  </a:lnTo>
                  <a:lnTo>
                    <a:pt x="1662" y="427"/>
                  </a:lnTo>
                  <a:lnTo>
                    <a:pt x="1701" y="428"/>
                  </a:lnTo>
                  <a:lnTo>
                    <a:pt x="1701" y="428"/>
                  </a:lnTo>
                  <a:lnTo>
                    <a:pt x="1732" y="427"/>
                  </a:lnTo>
                  <a:lnTo>
                    <a:pt x="1758" y="425"/>
                  </a:lnTo>
                  <a:lnTo>
                    <a:pt x="1784" y="421"/>
                  </a:lnTo>
                  <a:lnTo>
                    <a:pt x="1807" y="415"/>
                  </a:lnTo>
                  <a:lnTo>
                    <a:pt x="1828" y="408"/>
                  </a:lnTo>
                  <a:lnTo>
                    <a:pt x="1847" y="399"/>
                  </a:lnTo>
                  <a:lnTo>
                    <a:pt x="1855" y="394"/>
                  </a:lnTo>
                  <a:lnTo>
                    <a:pt x="1864" y="389"/>
                  </a:lnTo>
                  <a:lnTo>
                    <a:pt x="1872" y="383"/>
                  </a:lnTo>
                  <a:lnTo>
                    <a:pt x="1879" y="377"/>
                  </a:lnTo>
                  <a:lnTo>
                    <a:pt x="1885" y="369"/>
                  </a:lnTo>
                  <a:lnTo>
                    <a:pt x="1891" y="362"/>
                  </a:lnTo>
                  <a:lnTo>
                    <a:pt x="1897" y="355"/>
                  </a:lnTo>
                  <a:lnTo>
                    <a:pt x="1902" y="347"/>
                  </a:lnTo>
                  <a:lnTo>
                    <a:pt x="1907" y="337"/>
                  </a:lnTo>
                  <a:lnTo>
                    <a:pt x="1912" y="329"/>
                  </a:lnTo>
                  <a:lnTo>
                    <a:pt x="1919" y="309"/>
                  </a:lnTo>
                  <a:lnTo>
                    <a:pt x="1924" y="287"/>
                  </a:lnTo>
                  <a:lnTo>
                    <a:pt x="1928" y="264"/>
                  </a:lnTo>
                  <a:lnTo>
                    <a:pt x="1930" y="239"/>
                  </a:lnTo>
                  <a:lnTo>
                    <a:pt x="1931" y="211"/>
                  </a:lnTo>
                  <a:lnTo>
                    <a:pt x="1931" y="211"/>
                  </a:lnTo>
                  <a:lnTo>
                    <a:pt x="1930" y="187"/>
                  </a:lnTo>
                  <a:lnTo>
                    <a:pt x="1927" y="164"/>
                  </a:lnTo>
                  <a:lnTo>
                    <a:pt x="1923" y="143"/>
                  </a:lnTo>
                  <a:lnTo>
                    <a:pt x="1917" y="122"/>
                  </a:lnTo>
                  <a:lnTo>
                    <a:pt x="1909" y="104"/>
                  </a:lnTo>
                  <a:lnTo>
                    <a:pt x="1898" y="86"/>
                  </a:lnTo>
                  <a:lnTo>
                    <a:pt x="1887" y="71"/>
                  </a:lnTo>
                  <a:lnTo>
                    <a:pt x="1874" y="57"/>
                  </a:lnTo>
                  <a:lnTo>
                    <a:pt x="1860" y="43"/>
                  </a:lnTo>
                  <a:lnTo>
                    <a:pt x="1843" y="32"/>
                  </a:lnTo>
                  <a:lnTo>
                    <a:pt x="1826" y="23"/>
                  </a:lnTo>
                  <a:lnTo>
                    <a:pt x="1806" y="14"/>
                  </a:lnTo>
                  <a:lnTo>
                    <a:pt x="1786" y="8"/>
                  </a:lnTo>
                  <a:lnTo>
                    <a:pt x="1764" y="4"/>
                  </a:lnTo>
                  <a:lnTo>
                    <a:pt x="1741" y="1"/>
                  </a:lnTo>
                  <a:lnTo>
                    <a:pt x="1717" y="0"/>
                  </a:lnTo>
                  <a:close/>
                </a:path>
              </a:pathLst>
            </a:custGeom>
            <a:solidFill>
              <a:srgbClr val="005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5160" y="3974"/>
              <a:ext cx="76" cy="107"/>
            </a:xfrm>
            <a:custGeom>
              <a:avLst/>
              <a:gdLst>
                <a:gd name="T0" fmla="*/ 0 w 305"/>
                <a:gd name="T1" fmla="*/ 407 h 428"/>
                <a:gd name="T2" fmla="*/ 0 w 305"/>
                <a:gd name="T3" fmla="*/ 407 h 428"/>
                <a:gd name="T4" fmla="*/ 13 w 305"/>
                <a:gd name="T5" fmla="*/ 411 h 428"/>
                <a:gd name="T6" fmla="*/ 47 w 305"/>
                <a:gd name="T7" fmla="*/ 418 h 428"/>
                <a:gd name="T8" fmla="*/ 71 w 305"/>
                <a:gd name="T9" fmla="*/ 421 h 428"/>
                <a:gd name="T10" fmla="*/ 98 w 305"/>
                <a:gd name="T11" fmla="*/ 425 h 428"/>
                <a:gd name="T12" fmla="*/ 129 w 305"/>
                <a:gd name="T13" fmla="*/ 427 h 428"/>
                <a:gd name="T14" fmla="*/ 163 w 305"/>
                <a:gd name="T15" fmla="*/ 428 h 428"/>
                <a:gd name="T16" fmla="*/ 163 w 305"/>
                <a:gd name="T17" fmla="*/ 428 h 428"/>
                <a:gd name="T18" fmla="*/ 197 w 305"/>
                <a:gd name="T19" fmla="*/ 427 h 428"/>
                <a:gd name="T20" fmla="*/ 226 w 305"/>
                <a:gd name="T21" fmla="*/ 426 h 428"/>
                <a:gd name="T22" fmla="*/ 251 w 305"/>
                <a:gd name="T23" fmla="*/ 424 h 428"/>
                <a:gd name="T24" fmla="*/ 270 w 305"/>
                <a:gd name="T25" fmla="*/ 422 h 428"/>
                <a:gd name="T26" fmla="*/ 297 w 305"/>
                <a:gd name="T27" fmla="*/ 419 h 428"/>
                <a:gd name="T28" fmla="*/ 305 w 305"/>
                <a:gd name="T29" fmla="*/ 417 h 428"/>
                <a:gd name="T30" fmla="*/ 305 w 305"/>
                <a:gd name="T31" fmla="*/ 346 h 428"/>
                <a:gd name="T32" fmla="*/ 305 w 305"/>
                <a:gd name="T33" fmla="*/ 346 h 428"/>
                <a:gd name="T34" fmla="*/ 297 w 305"/>
                <a:gd name="T35" fmla="*/ 347 h 428"/>
                <a:gd name="T36" fmla="*/ 272 w 305"/>
                <a:gd name="T37" fmla="*/ 351 h 428"/>
                <a:gd name="T38" fmla="*/ 235 w 305"/>
                <a:gd name="T39" fmla="*/ 354 h 428"/>
                <a:gd name="T40" fmla="*/ 213 w 305"/>
                <a:gd name="T41" fmla="*/ 355 h 428"/>
                <a:gd name="T42" fmla="*/ 188 w 305"/>
                <a:gd name="T43" fmla="*/ 355 h 428"/>
                <a:gd name="T44" fmla="*/ 188 w 305"/>
                <a:gd name="T45" fmla="*/ 355 h 428"/>
                <a:gd name="T46" fmla="*/ 167 w 305"/>
                <a:gd name="T47" fmla="*/ 355 h 428"/>
                <a:gd name="T48" fmla="*/ 149 w 305"/>
                <a:gd name="T49" fmla="*/ 354 h 428"/>
                <a:gd name="T50" fmla="*/ 118 w 305"/>
                <a:gd name="T51" fmla="*/ 351 h 428"/>
                <a:gd name="T52" fmla="*/ 99 w 305"/>
                <a:gd name="T53" fmla="*/ 349 h 428"/>
                <a:gd name="T54" fmla="*/ 92 w 305"/>
                <a:gd name="T55" fmla="*/ 348 h 428"/>
                <a:gd name="T56" fmla="*/ 92 w 305"/>
                <a:gd name="T57" fmla="*/ 247 h 428"/>
                <a:gd name="T58" fmla="*/ 276 w 305"/>
                <a:gd name="T59" fmla="*/ 247 h 428"/>
                <a:gd name="T60" fmla="*/ 276 w 305"/>
                <a:gd name="T61" fmla="*/ 175 h 428"/>
                <a:gd name="T62" fmla="*/ 92 w 305"/>
                <a:gd name="T63" fmla="*/ 175 h 428"/>
                <a:gd name="T64" fmla="*/ 92 w 305"/>
                <a:gd name="T65" fmla="*/ 79 h 428"/>
                <a:gd name="T66" fmla="*/ 92 w 305"/>
                <a:gd name="T67" fmla="*/ 79 h 428"/>
                <a:gd name="T68" fmla="*/ 99 w 305"/>
                <a:gd name="T69" fmla="*/ 78 h 428"/>
                <a:gd name="T70" fmla="*/ 117 w 305"/>
                <a:gd name="T71" fmla="*/ 76 h 428"/>
                <a:gd name="T72" fmla="*/ 145 w 305"/>
                <a:gd name="T73" fmla="*/ 74 h 428"/>
                <a:gd name="T74" fmla="*/ 182 w 305"/>
                <a:gd name="T75" fmla="*/ 73 h 428"/>
                <a:gd name="T76" fmla="*/ 182 w 305"/>
                <a:gd name="T77" fmla="*/ 73 h 428"/>
                <a:gd name="T78" fmla="*/ 205 w 305"/>
                <a:gd name="T79" fmla="*/ 73 h 428"/>
                <a:gd name="T80" fmla="*/ 226 w 305"/>
                <a:gd name="T81" fmla="*/ 74 h 428"/>
                <a:gd name="T82" fmla="*/ 263 w 305"/>
                <a:gd name="T83" fmla="*/ 77 h 428"/>
                <a:gd name="T84" fmla="*/ 289 w 305"/>
                <a:gd name="T85" fmla="*/ 80 h 428"/>
                <a:gd name="T86" fmla="*/ 298 w 305"/>
                <a:gd name="T87" fmla="*/ 82 h 428"/>
                <a:gd name="T88" fmla="*/ 298 w 305"/>
                <a:gd name="T89" fmla="*/ 10 h 428"/>
                <a:gd name="T90" fmla="*/ 298 w 305"/>
                <a:gd name="T91" fmla="*/ 10 h 428"/>
                <a:gd name="T92" fmla="*/ 289 w 305"/>
                <a:gd name="T93" fmla="*/ 9 h 428"/>
                <a:gd name="T94" fmla="*/ 264 w 305"/>
                <a:gd name="T95" fmla="*/ 5 h 428"/>
                <a:gd name="T96" fmla="*/ 224 w 305"/>
                <a:gd name="T97" fmla="*/ 2 h 428"/>
                <a:gd name="T98" fmla="*/ 200 w 305"/>
                <a:gd name="T99" fmla="*/ 1 h 428"/>
                <a:gd name="T100" fmla="*/ 172 w 305"/>
                <a:gd name="T101" fmla="*/ 0 h 428"/>
                <a:gd name="T102" fmla="*/ 172 w 305"/>
                <a:gd name="T103" fmla="*/ 0 h 428"/>
                <a:gd name="T104" fmla="*/ 134 w 305"/>
                <a:gd name="T105" fmla="*/ 1 h 428"/>
                <a:gd name="T106" fmla="*/ 102 w 305"/>
                <a:gd name="T107" fmla="*/ 3 h 428"/>
                <a:gd name="T108" fmla="*/ 72 w 305"/>
                <a:gd name="T109" fmla="*/ 6 h 428"/>
                <a:gd name="T110" fmla="*/ 47 w 305"/>
                <a:gd name="T111" fmla="*/ 9 h 428"/>
                <a:gd name="T112" fmla="*/ 27 w 305"/>
                <a:gd name="T113" fmla="*/ 13 h 428"/>
                <a:gd name="T114" fmla="*/ 13 w 305"/>
                <a:gd name="T115" fmla="*/ 15 h 428"/>
                <a:gd name="T116" fmla="*/ 0 w 305"/>
                <a:gd name="T117" fmla="*/ 19 h 428"/>
                <a:gd name="T118" fmla="*/ 0 w 305"/>
                <a:gd name="T119" fmla="*/ 407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05" h="428">
                  <a:moveTo>
                    <a:pt x="0" y="407"/>
                  </a:moveTo>
                  <a:lnTo>
                    <a:pt x="0" y="407"/>
                  </a:lnTo>
                  <a:lnTo>
                    <a:pt x="13" y="411"/>
                  </a:lnTo>
                  <a:lnTo>
                    <a:pt x="47" y="418"/>
                  </a:lnTo>
                  <a:lnTo>
                    <a:pt x="71" y="421"/>
                  </a:lnTo>
                  <a:lnTo>
                    <a:pt x="98" y="425"/>
                  </a:lnTo>
                  <a:lnTo>
                    <a:pt x="129" y="427"/>
                  </a:lnTo>
                  <a:lnTo>
                    <a:pt x="163" y="428"/>
                  </a:lnTo>
                  <a:lnTo>
                    <a:pt x="163" y="428"/>
                  </a:lnTo>
                  <a:lnTo>
                    <a:pt x="197" y="427"/>
                  </a:lnTo>
                  <a:lnTo>
                    <a:pt x="226" y="426"/>
                  </a:lnTo>
                  <a:lnTo>
                    <a:pt x="251" y="424"/>
                  </a:lnTo>
                  <a:lnTo>
                    <a:pt x="270" y="422"/>
                  </a:lnTo>
                  <a:lnTo>
                    <a:pt x="297" y="419"/>
                  </a:lnTo>
                  <a:lnTo>
                    <a:pt x="305" y="417"/>
                  </a:lnTo>
                  <a:lnTo>
                    <a:pt x="305" y="346"/>
                  </a:lnTo>
                  <a:lnTo>
                    <a:pt x="305" y="346"/>
                  </a:lnTo>
                  <a:lnTo>
                    <a:pt x="297" y="347"/>
                  </a:lnTo>
                  <a:lnTo>
                    <a:pt x="272" y="351"/>
                  </a:lnTo>
                  <a:lnTo>
                    <a:pt x="235" y="354"/>
                  </a:lnTo>
                  <a:lnTo>
                    <a:pt x="213" y="355"/>
                  </a:lnTo>
                  <a:lnTo>
                    <a:pt x="188" y="355"/>
                  </a:lnTo>
                  <a:lnTo>
                    <a:pt x="188" y="355"/>
                  </a:lnTo>
                  <a:lnTo>
                    <a:pt x="167" y="355"/>
                  </a:lnTo>
                  <a:lnTo>
                    <a:pt x="149" y="354"/>
                  </a:lnTo>
                  <a:lnTo>
                    <a:pt x="118" y="351"/>
                  </a:lnTo>
                  <a:lnTo>
                    <a:pt x="99" y="349"/>
                  </a:lnTo>
                  <a:lnTo>
                    <a:pt x="92" y="348"/>
                  </a:lnTo>
                  <a:lnTo>
                    <a:pt x="92" y="247"/>
                  </a:lnTo>
                  <a:lnTo>
                    <a:pt x="276" y="247"/>
                  </a:lnTo>
                  <a:lnTo>
                    <a:pt x="276" y="175"/>
                  </a:lnTo>
                  <a:lnTo>
                    <a:pt x="92" y="175"/>
                  </a:lnTo>
                  <a:lnTo>
                    <a:pt x="92" y="79"/>
                  </a:lnTo>
                  <a:lnTo>
                    <a:pt x="92" y="79"/>
                  </a:lnTo>
                  <a:lnTo>
                    <a:pt x="99" y="78"/>
                  </a:lnTo>
                  <a:lnTo>
                    <a:pt x="117" y="76"/>
                  </a:lnTo>
                  <a:lnTo>
                    <a:pt x="145" y="74"/>
                  </a:lnTo>
                  <a:lnTo>
                    <a:pt x="182" y="73"/>
                  </a:lnTo>
                  <a:lnTo>
                    <a:pt x="182" y="73"/>
                  </a:lnTo>
                  <a:lnTo>
                    <a:pt x="205" y="73"/>
                  </a:lnTo>
                  <a:lnTo>
                    <a:pt x="226" y="74"/>
                  </a:lnTo>
                  <a:lnTo>
                    <a:pt x="263" y="77"/>
                  </a:lnTo>
                  <a:lnTo>
                    <a:pt x="289" y="80"/>
                  </a:lnTo>
                  <a:lnTo>
                    <a:pt x="298" y="82"/>
                  </a:lnTo>
                  <a:lnTo>
                    <a:pt x="298" y="10"/>
                  </a:lnTo>
                  <a:lnTo>
                    <a:pt x="298" y="10"/>
                  </a:lnTo>
                  <a:lnTo>
                    <a:pt x="289" y="9"/>
                  </a:lnTo>
                  <a:lnTo>
                    <a:pt x="264" y="5"/>
                  </a:lnTo>
                  <a:lnTo>
                    <a:pt x="224" y="2"/>
                  </a:lnTo>
                  <a:lnTo>
                    <a:pt x="200" y="1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34" y="1"/>
                  </a:lnTo>
                  <a:lnTo>
                    <a:pt x="102" y="3"/>
                  </a:lnTo>
                  <a:lnTo>
                    <a:pt x="72" y="6"/>
                  </a:lnTo>
                  <a:lnTo>
                    <a:pt x="47" y="9"/>
                  </a:lnTo>
                  <a:lnTo>
                    <a:pt x="27" y="13"/>
                  </a:lnTo>
                  <a:lnTo>
                    <a:pt x="13" y="15"/>
                  </a:lnTo>
                  <a:lnTo>
                    <a:pt x="0" y="19"/>
                  </a:lnTo>
                  <a:lnTo>
                    <a:pt x="0" y="40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4767" y="3974"/>
              <a:ext cx="124" cy="105"/>
            </a:xfrm>
            <a:custGeom>
              <a:avLst/>
              <a:gdLst>
                <a:gd name="T0" fmla="*/ 255 w 496"/>
                <a:gd name="T1" fmla="*/ 246 h 422"/>
                <a:gd name="T2" fmla="*/ 255 w 496"/>
                <a:gd name="T3" fmla="*/ 246 h 422"/>
                <a:gd name="T4" fmla="*/ 251 w 496"/>
                <a:gd name="T5" fmla="*/ 257 h 422"/>
                <a:gd name="T6" fmla="*/ 248 w 496"/>
                <a:gd name="T7" fmla="*/ 270 h 422"/>
                <a:gd name="T8" fmla="*/ 248 w 496"/>
                <a:gd name="T9" fmla="*/ 270 h 422"/>
                <a:gd name="T10" fmla="*/ 244 w 496"/>
                <a:gd name="T11" fmla="*/ 257 h 422"/>
                <a:gd name="T12" fmla="*/ 241 w 496"/>
                <a:gd name="T13" fmla="*/ 246 h 422"/>
                <a:gd name="T14" fmla="*/ 159 w 496"/>
                <a:gd name="T15" fmla="*/ 39 h 422"/>
                <a:gd name="T16" fmla="*/ 159 w 496"/>
                <a:gd name="T17" fmla="*/ 39 h 422"/>
                <a:gd name="T18" fmla="*/ 153 w 496"/>
                <a:gd name="T19" fmla="*/ 28 h 422"/>
                <a:gd name="T20" fmla="*/ 147 w 496"/>
                <a:gd name="T21" fmla="*/ 19 h 422"/>
                <a:gd name="T22" fmla="*/ 140 w 496"/>
                <a:gd name="T23" fmla="*/ 11 h 422"/>
                <a:gd name="T24" fmla="*/ 132 w 496"/>
                <a:gd name="T25" fmla="*/ 7 h 422"/>
                <a:gd name="T26" fmla="*/ 122 w 496"/>
                <a:gd name="T27" fmla="*/ 3 h 422"/>
                <a:gd name="T28" fmla="*/ 110 w 496"/>
                <a:gd name="T29" fmla="*/ 1 h 422"/>
                <a:gd name="T30" fmla="*/ 98 w 496"/>
                <a:gd name="T31" fmla="*/ 1 h 422"/>
                <a:gd name="T32" fmla="*/ 84 w 496"/>
                <a:gd name="T33" fmla="*/ 0 h 422"/>
                <a:gd name="T34" fmla="*/ 84 w 496"/>
                <a:gd name="T35" fmla="*/ 0 h 422"/>
                <a:gd name="T36" fmla="*/ 58 w 496"/>
                <a:gd name="T37" fmla="*/ 1 h 422"/>
                <a:gd name="T38" fmla="*/ 42 w 496"/>
                <a:gd name="T39" fmla="*/ 2 h 422"/>
                <a:gd name="T40" fmla="*/ 0 w 496"/>
                <a:gd name="T41" fmla="*/ 422 h 422"/>
                <a:gd name="T42" fmla="*/ 93 w 496"/>
                <a:gd name="T43" fmla="*/ 422 h 422"/>
                <a:gd name="T44" fmla="*/ 113 w 496"/>
                <a:gd name="T45" fmla="*/ 140 h 422"/>
                <a:gd name="T46" fmla="*/ 201 w 496"/>
                <a:gd name="T47" fmla="*/ 353 h 422"/>
                <a:gd name="T48" fmla="*/ 201 w 496"/>
                <a:gd name="T49" fmla="*/ 353 h 422"/>
                <a:gd name="T50" fmla="*/ 204 w 496"/>
                <a:gd name="T51" fmla="*/ 359 h 422"/>
                <a:gd name="T52" fmla="*/ 208 w 496"/>
                <a:gd name="T53" fmla="*/ 364 h 422"/>
                <a:gd name="T54" fmla="*/ 213 w 496"/>
                <a:gd name="T55" fmla="*/ 368 h 422"/>
                <a:gd name="T56" fmla="*/ 218 w 496"/>
                <a:gd name="T57" fmla="*/ 371 h 422"/>
                <a:gd name="T58" fmla="*/ 224 w 496"/>
                <a:gd name="T59" fmla="*/ 373 h 422"/>
                <a:gd name="T60" fmla="*/ 231 w 496"/>
                <a:gd name="T61" fmla="*/ 376 h 422"/>
                <a:gd name="T62" fmla="*/ 239 w 496"/>
                <a:gd name="T63" fmla="*/ 377 h 422"/>
                <a:gd name="T64" fmla="*/ 248 w 496"/>
                <a:gd name="T65" fmla="*/ 377 h 422"/>
                <a:gd name="T66" fmla="*/ 248 w 496"/>
                <a:gd name="T67" fmla="*/ 377 h 422"/>
                <a:gd name="T68" fmla="*/ 257 w 496"/>
                <a:gd name="T69" fmla="*/ 377 h 422"/>
                <a:gd name="T70" fmla="*/ 266 w 496"/>
                <a:gd name="T71" fmla="*/ 376 h 422"/>
                <a:gd name="T72" fmla="*/ 273 w 496"/>
                <a:gd name="T73" fmla="*/ 373 h 422"/>
                <a:gd name="T74" fmla="*/ 279 w 496"/>
                <a:gd name="T75" fmla="*/ 371 h 422"/>
                <a:gd name="T76" fmla="*/ 284 w 496"/>
                <a:gd name="T77" fmla="*/ 368 h 422"/>
                <a:gd name="T78" fmla="*/ 288 w 496"/>
                <a:gd name="T79" fmla="*/ 364 h 422"/>
                <a:gd name="T80" fmla="*/ 291 w 496"/>
                <a:gd name="T81" fmla="*/ 359 h 422"/>
                <a:gd name="T82" fmla="*/ 294 w 496"/>
                <a:gd name="T83" fmla="*/ 353 h 422"/>
                <a:gd name="T84" fmla="*/ 382 w 496"/>
                <a:gd name="T85" fmla="*/ 140 h 422"/>
                <a:gd name="T86" fmla="*/ 403 w 496"/>
                <a:gd name="T87" fmla="*/ 422 h 422"/>
                <a:gd name="T88" fmla="*/ 496 w 496"/>
                <a:gd name="T89" fmla="*/ 422 h 422"/>
                <a:gd name="T90" fmla="*/ 454 w 496"/>
                <a:gd name="T91" fmla="*/ 2 h 422"/>
                <a:gd name="T92" fmla="*/ 454 w 496"/>
                <a:gd name="T93" fmla="*/ 2 h 422"/>
                <a:gd name="T94" fmla="*/ 438 w 496"/>
                <a:gd name="T95" fmla="*/ 1 h 422"/>
                <a:gd name="T96" fmla="*/ 412 w 496"/>
                <a:gd name="T97" fmla="*/ 0 h 422"/>
                <a:gd name="T98" fmla="*/ 412 w 496"/>
                <a:gd name="T99" fmla="*/ 0 h 422"/>
                <a:gd name="T100" fmla="*/ 397 w 496"/>
                <a:gd name="T101" fmla="*/ 1 h 422"/>
                <a:gd name="T102" fmla="*/ 385 w 496"/>
                <a:gd name="T103" fmla="*/ 1 h 422"/>
                <a:gd name="T104" fmla="*/ 374 w 496"/>
                <a:gd name="T105" fmla="*/ 3 h 422"/>
                <a:gd name="T106" fmla="*/ 365 w 496"/>
                <a:gd name="T107" fmla="*/ 7 h 422"/>
                <a:gd name="T108" fmla="*/ 356 w 496"/>
                <a:gd name="T109" fmla="*/ 11 h 422"/>
                <a:gd name="T110" fmla="*/ 348 w 496"/>
                <a:gd name="T111" fmla="*/ 19 h 422"/>
                <a:gd name="T112" fmla="*/ 342 w 496"/>
                <a:gd name="T113" fmla="*/ 28 h 422"/>
                <a:gd name="T114" fmla="*/ 337 w 496"/>
                <a:gd name="T115" fmla="*/ 39 h 422"/>
                <a:gd name="T116" fmla="*/ 255 w 496"/>
                <a:gd name="T117" fmla="*/ 246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" h="422">
                  <a:moveTo>
                    <a:pt x="255" y="246"/>
                  </a:moveTo>
                  <a:lnTo>
                    <a:pt x="255" y="246"/>
                  </a:lnTo>
                  <a:lnTo>
                    <a:pt x="251" y="257"/>
                  </a:lnTo>
                  <a:lnTo>
                    <a:pt x="248" y="270"/>
                  </a:lnTo>
                  <a:lnTo>
                    <a:pt x="248" y="270"/>
                  </a:lnTo>
                  <a:lnTo>
                    <a:pt x="244" y="257"/>
                  </a:lnTo>
                  <a:lnTo>
                    <a:pt x="241" y="246"/>
                  </a:lnTo>
                  <a:lnTo>
                    <a:pt x="159" y="39"/>
                  </a:lnTo>
                  <a:lnTo>
                    <a:pt x="159" y="39"/>
                  </a:lnTo>
                  <a:lnTo>
                    <a:pt x="153" y="28"/>
                  </a:lnTo>
                  <a:lnTo>
                    <a:pt x="147" y="19"/>
                  </a:lnTo>
                  <a:lnTo>
                    <a:pt x="140" y="11"/>
                  </a:lnTo>
                  <a:lnTo>
                    <a:pt x="132" y="7"/>
                  </a:lnTo>
                  <a:lnTo>
                    <a:pt x="122" y="3"/>
                  </a:lnTo>
                  <a:lnTo>
                    <a:pt x="110" y="1"/>
                  </a:lnTo>
                  <a:lnTo>
                    <a:pt x="98" y="1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58" y="1"/>
                  </a:lnTo>
                  <a:lnTo>
                    <a:pt x="42" y="2"/>
                  </a:lnTo>
                  <a:lnTo>
                    <a:pt x="0" y="422"/>
                  </a:lnTo>
                  <a:lnTo>
                    <a:pt x="93" y="422"/>
                  </a:lnTo>
                  <a:lnTo>
                    <a:pt x="113" y="140"/>
                  </a:lnTo>
                  <a:lnTo>
                    <a:pt x="201" y="353"/>
                  </a:lnTo>
                  <a:lnTo>
                    <a:pt x="201" y="353"/>
                  </a:lnTo>
                  <a:lnTo>
                    <a:pt x="204" y="359"/>
                  </a:lnTo>
                  <a:lnTo>
                    <a:pt x="208" y="364"/>
                  </a:lnTo>
                  <a:lnTo>
                    <a:pt x="213" y="368"/>
                  </a:lnTo>
                  <a:lnTo>
                    <a:pt x="218" y="371"/>
                  </a:lnTo>
                  <a:lnTo>
                    <a:pt x="224" y="373"/>
                  </a:lnTo>
                  <a:lnTo>
                    <a:pt x="231" y="376"/>
                  </a:lnTo>
                  <a:lnTo>
                    <a:pt x="239" y="377"/>
                  </a:lnTo>
                  <a:lnTo>
                    <a:pt x="248" y="377"/>
                  </a:lnTo>
                  <a:lnTo>
                    <a:pt x="248" y="377"/>
                  </a:lnTo>
                  <a:lnTo>
                    <a:pt x="257" y="377"/>
                  </a:lnTo>
                  <a:lnTo>
                    <a:pt x="266" y="376"/>
                  </a:lnTo>
                  <a:lnTo>
                    <a:pt x="273" y="373"/>
                  </a:lnTo>
                  <a:lnTo>
                    <a:pt x="279" y="371"/>
                  </a:lnTo>
                  <a:lnTo>
                    <a:pt x="284" y="368"/>
                  </a:lnTo>
                  <a:lnTo>
                    <a:pt x="288" y="364"/>
                  </a:lnTo>
                  <a:lnTo>
                    <a:pt x="291" y="359"/>
                  </a:lnTo>
                  <a:lnTo>
                    <a:pt x="294" y="353"/>
                  </a:lnTo>
                  <a:lnTo>
                    <a:pt x="382" y="140"/>
                  </a:lnTo>
                  <a:lnTo>
                    <a:pt x="403" y="422"/>
                  </a:lnTo>
                  <a:lnTo>
                    <a:pt x="496" y="422"/>
                  </a:lnTo>
                  <a:lnTo>
                    <a:pt x="454" y="2"/>
                  </a:lnTo>
                  <a:lnTo>
                    <a:pt x="454" y="2"/>
                  </a:lnTo>
                  <a:lnTo>
                    <a:pt x="438" y="1"/>
                  </a:lnTo>
                  <a:lnTo>
                    <a:pt x="412" y="0"/>
                  </a:lnTo>
                  <a:lnTo>
                    <a:pt x="412" y="0"/>
                  </a:lnTo>
                  <a:lnTo>
                    <a:pt x="397" y="1"/>
                  </a:lnTo>
                  <a:lnTo>
                    <a:pt x="385" y="1"/>
                  </a:lnTo>
                  <a:lnTo>
                    <a:pt x="374" y="3"/>
                  </a:lnTo>
                  <a:lnTo>
                    <a:pt x="365" y="7"/>
                  </a:lnTo>
                  <a:lnTo>
                    <a:pt x="356" y="11"/>
                  </a:lnTo>
                  <a:lnTo>
                    <a:pt x="348" y="19"/>
                  </a:lnTo>
                  <a:lnTo>
                    <a:pt x="342" y="28"/>
                  </a:lnTo>
                  <a:lnTo>
                    <a:pt x="337" y="39"/>
                  </a:lnTo>
                  <a:lnTo>
                    <a:pt x="255" y="24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4671" y="4034"/>
              <a:ext cx="43" cy="29"/>
            </a:xfrm>
            <a:custGeom>
              <a:avLst/>
              <a:gdLst>
                <a:gd name="T0" fmla="*/ 171 w 171"/>
                <a:gd name="T1" fmla="*/ 93 h 116"/>
                <a:gd name="T2" fmla="*/ 171 w 171"/>
                <a:gd name="T3" fmla="*/ 93 h 116"/>
                <a:gd name="T4" fmla="*/ 151 w 171"/>
                <a:gd name="T5" fmla="*/ 99 h 116"/>
                <a:gd name="T6" fmla="*/ 125 w 171"/>
                <a:gd name="T7" fmla="*/ 108 h 116"/>
                <a:gd name="T8" fmla="*/ 110 w 171"/>
                <a:gd name="T9" fmla="*/ 111 h 116"/>
                <a:gd name="T10" fmla="*/ 96 w 171"/>
                <a:gd name="T11" fmla="*/ 114 h 116"/>
                <a:gd name="T12" fmla="*/ 82 w 171"/>
                <a:gd name="T13" fmla="*/ 116 h 116"/>
                <a:gd name="T14" fmla="*/ 67 w 171"/>
                <a:gd name="T15" fmla="*/ 116 h 116"/>
                <a:gd name="T16" fmla="*/ 67 w 171"/>
                <a:gd name="T17" fmla="*/ 116 h 116"/>
                <a:gd name="T18" fmla="*/ 54 w 171"/>
                <a:gd name="T19" fmla="*/ 116 h 116"/>
                <a:gd name="T20" fmla="*/ 41 w 171"/>
                <a:gd name="T21" fmla="*/ 114 h 116"/>
                <a:gd name="T22" fmla="*/ 30 w 171"/>
                <a:gd name="T23" fmla="*/ 110 h 116"/>
                <a:gd name="T24" fmla="*/ 24 w 171"/>
                <a:gd name="T25" fmla="*/ 108 h 116"/>
                <a:gd name="T26" fmla="*/ 19 w 171"/>
                <a:gd name="T27" fmla="*/ 105 h 116"/>
                <a:gd name="T28" fmla="*/ 15 w 171"/>
                <a:gd name="T29" fmla="*/ 101 h 116"/>
                <a:gd name="T30" fmla="*/ 11 w 171"/>
                <a:gd name="T31" fmla="*/ 97 h 116"/>
                <a:gd name="T32" fmla="*/ 8 w 171"/>
                <a:gd name="T33" fmla="*/ 92 h 116"/>
                <a:gd name="T34" fmla="*/ 5 w 171"/>
                <a:gd name="T35" fmla="*/ 87 h 116"/>
                <a:gd name="T36" fmla="*/ 3 w 171"/>
                <a:gd name="T37" fmla="*/ 82 h 116"/>
                <a:gd name="T38" fmla="*/ 2 w 171"/>
                <a:gd name="T39" fmla="*/ 76 h 116"/>
                <a:gd name="T40" fmla="*/ 1 w 171"/>
                <a:gd name="T41" fmla="*/ 69 h 116"/>
                <a:gd name="T42" fmla="*/ 0 w 171"/>
                <a:gd name="T43" fmla="*/ 61 h 116"/>
                <a:gd name="T44" fmla="*/ 0 w 171"/>
                <a:gd name="T45" fmla="*/ 61 h 116"/>
                <a:gd name="T46" fmla="*/ 1 w 171"/>
                <a:gd name="T47" fmla="*/ 49 h 116"/>
                <a:gd name="T48" fmla="*/ 4 w 171"/>
                <a:gd name="T49" fmla="*/ 38 h 116"/>
                <a:gd name="T50" fmla="*/ 6 w 171"/>
                <a:gd name="T51" fmla="*/ 33 h 116"/>
                <a:gd name="T52" fmla="*/ 9 w 171"/>
                <a:gd name="T53" fmla="*/ 27 h 116"/>
                <a:gd name="T54" fmla="*/ 13 w 171"/>
                <a:gd name="T55" fmla="*/ 23 h 116"/>
                <a:gd name="T56" fmla="*/ 16 w 171"/>
                <a:gd name="T57" fmla="*/ 19 h 116"/>
                <a:gd name="T58" fmla="*/ 21 w 171"/>
                <a:gd name="T59" fmla="*/ 16 h 116"/>
                <a:gd name="T60" fmla="*/ 26 w 171"/>
                <a:gd name="T61" fmla="*/ 13 h 116"/>
                <a:gd name="T62" fmla="*/ 33 w 171"/>
                <a:gd name="T63" fmla="*/ 10 h 116"/>
                <a:gd name="T64" fmla="*/ 39 w 171"/>
                <a:gd name="T65" fmla="*/ 8 h 116"/>
                <a:gd name="T66" fmla="*/ 55 w 171"/>
                <a:gd name="T67" fmla="*/ 5 h 116"/>
                <a:gd name="T68" fmla="*/ 72 w 171"/>
                <a:gd name="T69" fmla="*/ 3 h 116"/>
                <a:gd name="T70" fmla="*/ 171 w 171"/>
                <a:gd name="T71" fmla="*/ 0 h 116"/>
                <a:gd name="T72" fmla="*/ 171 w 171"/>
                <a:gd name="T73" fmla="*/ 93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1" h="116">
                  <a:moveTo>
                    <a:pt x="171" y="93"/>
                  </a:moveTo>
                  <a:lnTo>
                    <a:pt x="171" y="93"/>
                  </a:lnTo>
                  <a:lnTo>
                    <a:pt x="151" y="99"/>
                  </a:lnTo>
                  <a:lnTo>
                    <a:pt x="125" y="108"/>
                  </a:lnTo>
                  <a:lnTo>
                    <a:pt x="110" y="111"/>
                  </a:lnTo>
                  <a:lnTo>
                    <a:pt x="96" y="114"/>
                  </a:lnTo>
                  <a:lnTo>
                    <a:pt x="82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54" y="116"/>
                  </a:lnTo>
                  <a:lnTo>
                    <a:pt x="41" y="114"/>
                  </a:lnTo>
                  <a:lnTo>
                    <a:pt x="30" y="110"/>
                  </a:lnTo>
                  <a:lnTo>
                    <a:pt x="24" y="108"/>
                  </a:lnTo>
                  <a:lnTo>
                    <a:pt x="19" y="105"/>
                  </a:lnTo>
                  <a:lnTo>
                    <a:pt x="15" y="101"/>
                  </a:lnTo>
                  <a:lnTo>
                    <a:pt x="11" y="97"/>
                  </a:lnTo>
                  <a:lnTo>
                    <a:pt x="8" y="92"/>
                  </a:lnTo>
                  <a:lnTo>
                    <a:pt x="5" y="87"/>
                  </a:lnTo>
                  <a:lnTo>
                    <a:pt x="3" y="82"/>
                  </a:lnTo>
                  <a:lnTo>
                    <a:pt x="2" y="76"/>
                  </a:lnTo>
                  <a:lnTo>
                    <a:pt x="1" y="69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1" y="49"/>
                  </a:lnTo>
                  <a:lnTo>
                    <a:pt x="4" y="38"/>
                  </a:lnTo>
                  <a:lnTo>
                    <a:pt x="6" y="33"/>
                  </a:lnTo>
                  <a:lnTo>
                    <a:pt x="9" y="27"/>
                  </a:lnTo>
                  <a:lnTo>
                    <a:pt x="13" y="23"/>
                  </a:lnTo>
                  <a:lnTo>
                    <a:pt x="16" y="19"/>
                  </a:lnTo>
                  <a:lnTo>
                    <a:pt x="21" y="16"/>
                  </a:lnTo>
                  <a:lnTo>
                    <a:pt x="26" y="13"/>
                  </a:lnTo>
                  <a:lnTo>
                    <a:pt x="33" y="10"/>
                  </a:lnTo>
                  <a:lnTo>
                    <a:pt x="39" y="8"/>
                  </a:lnTo>
                  <a:lnTo>
                    <a:pt x="55" y="5"/>
                  </a:lnTo>
                  <a:lnTo>
                    <a:pt x="72" y="3"/>
                  </a:lnTo>
                  <a:lnTo>
                    <a:pt x="171" y="0"/>
                  </a:lnTo>
                  <a:lnTo>
                    <a:pt x="171" y="9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4649" y="3974"/>
              <a:ext cx="88" cy="107"/>
            </a:xfrm>
            <a:custGeom>
              <a:avLst/>
              <a:gdLst>
                <a:gd name="T0" fmla="*/ 205 w 352"/>
                <a:gd name="T1" fmla="*/ 0 h 428"/>
                <a:gd name="T2" fmla="*/ 147 w 352"/>
                <a:gd name="T3" fmla="*/ 4 h 428"/>
                <a:gd name="T4" fmla="*/ 97 w 352"/>
                <a:gd name="T5" fmla="*/ 12 h 428"/>
                <a:gd name="T6" fmla="*/ 58 w 352"/>
                <a:gd name="T7" fmla="*/ 23 h 428"/>
                <a:gd name="T8" fmla="*/ 33 w 352"/>
                <a:gd name="T9" fmla="*/ 33 h 428"/>
                <a:gd name="T10" fmla="*/ 52 w 352"/>
                <a:gd name="T11" fmla="*/ 102 h 428"/>
                <a:gd name="T12" fmla="*/ 92 w 352"/>
                <a:gd name="T13" fmla="*/ 91 h 428"/>
                <a:gd name="T14" fmla="*/ 133 w 352"/>
                <a:gd name="T15" fmla="*/ 82 h 428"/>
                <a:gd name="T16" fmla="*/ 179 w 352"/>
                <a:gd name="T17" fmla="*/ 79 h 428"/>
                <a:gd name="T18" fmla="*/ 197 w 352"/>
                <a:gd name="T19" fmla="*/ 80 h 428"/>
                <a:gd name="T20" fmla="*/ 221 w 352"/>
                <a:gd name="T21" fmla="*/ 84 h 428"/>
                <a:gd name="T22" fmla="*/ 234 w 352"/>
                <a:gd name="T23" fmla="*/ 90 h 428"/>
                <a:gd name="T24" fmla="*/ 244 w 352"/>
                <a:gd name="T25" fmla="*/ 98 h 428"/>
                <a:gd name="T26" fmla="*/ 251 w 352"/>
                <a:gd name="T27" fmla="*/ 108 h 428"/>
                <a:gd name="T28" fmla="*/ 256 w 352"/>
                <a:gd name="T29" fmla="*/ 120 h 428"/>
                <a:gd name="T30" fmla="*/ 260 w 352"/>
                <a:gd name="T31" fmla="*/ 137 h 428"/>
                <a:gd name="T32" fmla="*/ 260 w 352"/>
                <a:gd name="T33" fmla="*/ 176 h 428"/>
                <a:gd name="T34" fmla="*/ 179 w 352"/>
                <a:gd name="T35" fmla="*/ 176 h 428"/>
                <a:gd name="T36" fmla="*/ 132 w 352"/>
                <a:gd name="T37" fmla="*/ 179 h 428"/>
                <a:gd name="T38" fmla="*/ 93 w 352"/>
                <a:gd name="T39" fmla="*/ 187 h 428"/>
                <a:gd name="T40" fmla="*/ 61 w 352"/>
                <a:gd name="T41" fmla="*/ 200 h 428"/>
                <a:gd name="T42" fmla="*/ 38 w 352"/>
                <a:gd name="T43" fmla="*/ 216 h 428"/>
                <a:gd name="T44" fmla="*/ 20 w 352"/>
                <a:gd name="T45" fmla="*/ 236 h 428"/>
                <a:gd name="T46" fmla="*/ 9 w 352"/>
                <a:gd name="T47" fmla="*/ 257 h 428"/>
                <a:gd name="T48" fmla="*/ 2 w 352"/>
                <a:gd name="T49" fmla="*/ 282 h 428"/>
                <a:gd name="T50" fmla="*/ 0 w 352"/>
                <a:gd name="T51" fmla="*/ 307 h 428"/>
                <a:gd name="T52" fmla="*/ 1 w 352"/>
                <a:gd name="T53" fmla="*/ 323 h 428"/>
                <a:gd name="T54" fmla="*/ 7 w 352"/>
                <a:gd name="T55" fmla="*/ 352 h 428"/>
                <a:gd name="T56" fmla="*/ 19 w 352"/>
                <a:gd name="T57" fmla="*/ 376 h 428"/>
                <a:gd name="T58" fmla="*/ 35 w 352"/>
                <a:gd name="T59" fmla="*/ 394 h 428"/>
                <a:gd name="T60" fmla="*/ 54 w 352"/>
                <a:gd name="T61" fmla="*/ 408 h 428"/>
                <a:gd name="T62" fmla="*/ 77 w 352"/>
                <a:gd name="T63" fmla="*/ 418 h 428"/>
                <a:gd name="T64" fmla="*/ 101 w 352"/>
                <a:gd name="T65" fmla="*/ 424 h 428"/>
                <a:gd name="T66" fmla="*/ 126 w 352"/>
                <a:gd name="T67" fmla="*/ 427 h 428"/>
                <a:gd name="T68" fmla="*/ 138 w 352"/>
                <a:gd name="T69" fmla="*/ 428 h 428"/>
                <a:gd name="T70" fmla="*/ 164 w 352"/>
                <a:gd name="T71" fmla="*/ 426 h 428"/>
                <a:gd name="T72" fmla="*/ 209 w 352"/>
                <a:gd name="T73" fmla="*/ 418 h 428"/>
                <a:gd name="T74" fmla="*/ 241 w 352"/>
                <a:gd name="T75" fmla="*/ 406 h 428"/>
                <a:gd name="T76" fmla="*/ 260 w 352"/>
                <a:gd name="T77" fmla="*/ 397 h 428"/>
                <a:gd name="T78" fmla="*/ 264 w 352"/>
                <a:gd name="T79" fmla="*/ 396 h 428"/>
                <a:gd name="T80" fmla="*/ 270 w 352"/>
                <a:gd name="T81" fmla="*/ 398 h 428"/>
                <a:gd name="T82" fmla="*/ 284 w 352"/>
                <a:gd name="T83" fmla="*/ 404 h 428"/>
                <a:gd name="T84" fmla="*/ 311 w 352"/>
                <a:gd name="T85" fmla="*/ 411 h 428"/>
                <a:gd name="T86" fmla="*/ 352 w 352"/>
                <a:gd name="T87" fmla="*/ 413 h 428"/>
                <a:gd name="T88" fmla="*/ 352 w 352"/>
                <a:gd name="T89" fmla="*/ 122 h 428"/>
                <a:gd name="T90" fmla="*/ 350 w 352"/>
                <a:gd name="T91" fmla="*/ 92 h 428"/>
                <a:gd name="T92" fmla="*/ 343 w 352"/>
                <a:gd name="T93" fmla="*/ 66 h 428"/>
                <a:gd name="T94" fmla="*/ 331 w 352"/>
                <a:gd name="T95" fmla="*/ 45 h 428"/>
                <a:gd name="T96" fmla="*/ 314 w 352"/>
                <a:gd name="T97" fmla="*/ 29 h 428"/>
                <a:gd name="T98" fmla="*/ 293 w 352"/>
                <a:gd name="T99" fmla="*/ 15 h 428"/>
                <a:gd name="T100" fmla="*/ 268 w 352"/>
                <a:gd name="T101" fmla="*/ 7 h 428"/>
                <a:gd name="T102" fmla="*/ 238 w 352"/>
                <a:gd name="T103" fmla="*/ 2 h 428"/>
                <a:gd name="T104" fmla="*/ 205 w 352"/>
                <a:gd name="T105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2" h="428">
                  <a:moveTo>
                    <a:pt x="205" y="0"/>
                  </a:moveTo>
                  <a:lnTo>
                    <a:pt x="205" y="0"/>
                  </a:lnTo>
                  <a:lnTo>
                    <a:pt x="176" y="1"/>
                  </a:lnTo>
                  <a:lnTo>
                    <a:pt x="147" y="4"/>
                  </a:lnTo>
                  <a:lnTo>
                    <a:pt x="121" y="7"/>
                  </a:lnTo>
                  <a:lnTo>
                    <a:pt x="97" y="12"/>
                  </a:lnTo>
                  <a:lnTo>
                    <a:pt x="77" y="17"/>
                  </a:lnTo>
                  <a:lnTo>
                    <a:pt x="58" y="23"/>
                  </a:lnTo>
                  <a:lnTo>
                    <a:pt x="44" y="28"/>
                  </a:lnTo>
                  <a:lnTo>
                    <a:pt x="33" y="33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63" y="98"/>
                  </a:lnTo>
                  <a:lnTo>
                    <a:pt x="92" y="91"/>
                  </a:lnTo>
                  <a:lnTo>
                    <a:pt x="111" y="86"/>
                  </a:lnTo>
                  <a:lnTo>
                    <a:pt x="133" y="82"/>
                  </a:lnTo>
                  <a:lnTo>
                    <a:pt x="155" y="80"/>
                  </a:lnTo>
                  <a:lnTo>
                    <a:pt x="179" y="79"/>
                  </a:lnTo>
                  <a:lnTo>
                    <a:pt x="179" y="79"/>
                  </a:lnTo>
                  <a:lnTo>
                    <a:pt x="197" y="80"/>
                  </a:lnTo>
                  <a:lnTo>
                    <a:pt x="214" y="82"/>
                  </a:lnTo>
                  <a:lnTo>
                    <a:pt x="221" y="84"/>
                  </a:lnTo>
                  <a:lnTo>
                    <a:pt x="228" y="86"/>
                  </a:lnTo>
                  <a:lnTo>
                    <a:pt x="234" y="90"/>
                  </a:lnTo>
                  <a:lnTo>
                    <a:pt x="239" y="94"/>
                  </a:lnTo>
                  <a:lnTo>
                    <a:pt x="244" y="98"/>
                  </a:lnTo>
                  <a:lnTo>
                    <a:pt x="248" y="102"/>
                  </a:lnTo>
                  <a:lnTo>
                    <a:pt x="251" y="108"/>
                  </a:lnTo>
                  <a:lnTo>
                    <a:pt x="254" y="114"/>
                  </a:lnTo>
                  <a:lnTo>
                    <a:pt x="256" y="120"/>
                  </a:lnTo>
                  <a:lnTo>
                    <a:pt x="258" y="129"/>
                  </a:lnTo>
                  <a:lnTo>
                    <a:pt x="260" y="137"/>
                  </a:lnTo>
                  <a:lnTo>
                    <a:pt x="260" y="146"/>
                  </a:lnTo>
                  <a:lnTo>
                    <a:pt x="260" y="176"/>
                  </a:lnTo>
                  <a:lnTo>
                    <a:pt x="179" y="176"/>
                  </a:lnTo>
                  <a:lnTo>
                    <a:pt x="179" y="176"/>
                  </a:lnTo>
                  <a:lnTo>
                    <a:pt x="154" y="177"/>
                  </a:lnTo>
                  <a:lnTo>
                    <a:pt x="132" y="179"/>
                  </a:lnTo>
                  <a:lnTo>
                    <a:pt x="111" y="182"/>
                  </a:lnTo>
                  <a:lnTo>
                    <a:pt x="93" y="187"/>
                  </a:lnTo>
                  <a:lnTo>
                    <a:pt x="77" y="192"/>
                  </a:lnTo>
                  <a:lnTo>
                    <a:pt x="61" y="200"/>
                  </a:lnTo>
                  <a:lnTo>
                    <a:pt x="49" y="207"/>
                  </a:lnTo>
                  <a:lnTo>
                    <a:pt x="38" y="216"/>
                  </a:lnTo>
                  <a:lnTo>
                    <a:pt x="29" y="225"/>
                  </a:lnTo>
                  <a:lnTo>
                    <a:pt x="20" y="236"/>
                  </a:lnTo>
                  <a:lnTo>
                    <a:pt x="14" y="246"/>
                  </a:lnTo>
                  <a:lnTo>
                    <a:pt x="9" y="257"/>
                  </a:lnTo>
                  <a:lnTo>
                    <a:pt x="5" y="270"/>
                  </a:lnTo>
                  <a:lnTo>
                    <a:pt x="2" y="282"/>
                  </a:lnTo>
                  <a:lnTo>
                    <a:pt x="1" y="294"/>
                  </a:lnTo>
                  <a:lnTo>
                    <a:pt x="0" y="307"/>
                  </a:lnTo>
                  <a:lnTo>
                    <a:pt x="0" y="307"/>
                  </a:lnTo>
                  <a:lnTo>
                    <a:pt x="1" y="323"/>
                  </a:lnTo>
                  <a:lnTo>
                    <a:pt x="3" y="338"/>
                  </a:lnTo>
                  <a:lnTo>
                    <a:pt x="7" y="352"/>
                  </a:lnTo>
                  <a:lnTo>
                    <a:pt x="12" y="364"/>
                  </a:lnTo>
                  <a:lnTo>
                    <a:pt x="19" y="376"/>
                  </a:lnTo>
                  <a:lnTo>
                    <a:pt x="27" y="386"/>
                  </a:lnTo>
                  <a:lnTo>
                    <a:pt x="35" y="394"/>
                  </a:lnTo>
                  <a:lnTo>
                    <a:pt x="45" y="401"/>
                  </a:lnTo>
                  <a:lnTo>
                    <a:pt x="54" y="408"/>
                  </a:lnTo>
                  <a:lnTo>
                    <a:pt x="65" y="414"/>
                  </a:lnTo>
                  <a:lnTo>
                    <a:pt x="77" y="418"/>
                  </a:lnTo>
                  <a:lnTo>
                    <a:pt x="89" y="422"/>
                  </a:lnTo>
                  <a:lnTo>
                    <a:pt x="101" y="424"/>
                  </a:lnTo>
                  <a:lnTo>
                    <a:pt x="113" y="426"/>
                  </a:lnTo>
                  <a:lnTo>
                    <a:pt x="126" y="427"/>
                  </a:lnTo>
                  <a:lnTo>
                    <a:pt x="138" y="428"/>
                  </a:lnTo>
                  <a:lnTo>
                    <a:pt x="138" y="428"/>
                  </a:lnTo>
                  <a:lnTo>
                    <a:pt x="151" y="427"/>
                  </a:lnTo>
                  <a:lnTo>
                    <a:pt x="164" y="426"/>
                  </a:lnTo>
                  <a:lnTo>
                    <a:pt x="189" y="423"/>
                  </a:lnTo>
                  <a:lnTo>
                    <a:pt x="209" y="418"/>
                  </a:lnTo>
                  <a:lnTo>
                    <a:pt x="227" y="412"/>
                  </a:lnTo>
                  <a:lnTo>
                    <a:pt x="241" y="406"/>
                  </a:lnTo>
                  <a:lnTo>
                    <a:pt x="252" y="401"/>
                  </a:lnTo>
                  <a:lnTo>
                    <a:pt x="260" y="397"/>
                  </a:lnTo>
                  <a:lnTo>
                    <a:pt x="264" y="396"/>
                  </a:lnTo>
                  <a:lnTo>
                    <a:pt x="264" y="396"/>
                  </a:lnTo>
                  <a:lnTo>
                    <a:pt x="266" y="397"/>
                  </a:lnTo>
                  <a:lnTo>
                    <a:pt x="270" y="398"/>
                  </a:lnTo>
                  <a:lnTo>
                    <a:pt x="276" y="401"/>
                  </a:lnTo>
                  <a:lnTo>
                    <a:pt x="284" y="404"/>
                  </a:lnTo>
                  <a:lnTo>
                    <a:pt x="295" y="407"/>
                  </a:lnTo>
                  <a:lnTo>
                    <a:pt x="311" y="411"/>
                  </a:lnTo>
                  <a:lnTo>
                    <a:pt x="329" y="412"/>
                  </a:lnTo>
                  <a:lnTo>
                    <a:pt x="352" y="413"/>
                  </a:lnTo>
                  <a:lnTo>
                    <a:pt x="352" y="122"/>
                  </a:lnTo>
                  <a:lnTo>
                    <a:pt x="352" y="122"/>
                  </a:lnTo>
                  <a:lnTo>
                    <a:pt x="352" y="106"/>
                  </a:lnTo>
                  <a:lnTo>
                    <a:pt x="350" y="92"/>
                  </a:lnTo>
                  <a:lnTo>
                    <a:pt x="347" y="78"/>
                  </a:lnTo>
                  <a:lnTo>
                    <a:pt x="343" y="66"/>
                  </a:lnTo>
                  <a:lnTo>
                    <a:pt x="337" y="56"/>
                  </a:lnTo>
                  <a:lnTo>
                    <a:pt x="331" y="45"/>
                  </a:lnTo>
                  <a:lnTo>
                    <a:pt x="323" y="36"/>
                  </a:lnTo>
                  <a:lnTo>
                    <a:pt x="314" y="29"/>
                  </a:lnTo>
                  <a:lnTo>
                    <a:pt x="304" y="22"/>
                  </a:lnTo>
                  <a:lnTo>
                    <a:pt x="293" y="15"/>
                  </a:lnTo>
                  <a:lnTo>
                    <a:pt x="281" y="11"/>
                  </a:lnTo>
                  <a:lnTo>
                    <a:pt x="268" y="7"/>
                  </a:lnTo>
                  <a:lnTo>
                    <a:pt x="253" y="4"/>
                  </a:lnTo>
                  <a:lnTo>
                    <a:pt x="238" y="2"/>
                  </a:lnTo>
                  <a:lnTo>
                    <a:pt x="223" y="1"/>
                  </a:lnTo>
                  <a:lnTo>
                    <a:pt x="20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  <p:sp>
          <p:nvSpPr>
            <p:cNvPr id="39" name="Freeform 10"/>
            <p:cNvSpPr>
              <a:spLocks/>
            </p:cNvSpPr>
            <p:nvPr userDrawn="1"/>
          </p:nvSpPr>
          <p:spPr bwMode="auto">
            <a:xfrm>
              <a:off x="4936" y="4034"/>
              <a:ext cx="43" cy="29"/>
            </a:xfrm>
            <a:custGeom>
              <a:avLst/>
              <a:gdLst>
                <a:gd name="T0" fmla="*/ 171 w 171"/>
                <a:gd name="T1" fmla="*/ 93 h 116"/>
                <a:gd name="T2" fmla="*/ 171 w 171"/>
                <a:gd name="T3" fmla="*/ 93 h 116"/>
                <a:gd name="T4" fmla="*/ 152 w 171"/>
                <a:gd name="T5" fmla="*/ 99 h 116"/>
                <a:gd name="T6" fmla="*/ 125 w 171"/>
                <a:gd name="T7" fmla="*/ 108 h 116"/>
                <a:gd name="T8" fmla="*/ 111 w 171"/>
                <a:gd name="T9" fmla="*/ 111 h 116"/>
                <a:gd name="T10" fmla="*/ 95 w 171"/>
                <a:gd name="T11" fmla="*/ 114 h 116"/>
                <a:gd name="T12" fmla="*/ 81 w 171"/>
                <a:gd name="T13" fmla="*/ 116 h 116"/>
                <a:gd name="T14" fmla="*/ 68 w 171"/>
                <a:gd name="T15" fmla="*/ 116 h 116"/>
                <a:gd name="T16" fmla="*/ 68 w 171"/>
                <a:gd name="T17" fmla="*/ 116 h 116"/>
                <a:gd name="T18" fmla="*/ 54 w 171"/>
                <a:gd name="T19" fmla="*/ 116 h 116"/>
                <a:gd name="T20" fmla="*/ 41 w 171"/>
                <a:gd name="T21" fmla="*/ 114 h 116"/>
                <a:gd name="T22" fmla="*/ 29 w 171"/>
                <a:gd name="T23" fmla="*/ 110 h 116"/>
                <a:gd name="T24" fmla="*/ 24 w 171"/>
                <a:gd name="T25" fmla="*/ 108 h 116"/>
                <a:gd name="T26" fmla="*/ 20 w 171"/>
                <a:gd name="T27" fmla="*/ 105 h 116"/>
                <a:gd name="T28" fmla="*/ 16 w 171"/>
                <a:gd name="T29" fmla="*/ 101 h 116"/>
                <a:gd name="T30" fmla="*/ 12 w 171"/>
                <a:gd name="T31" fmla="*/ 97 h 116"/>
                <a:gd name="T32" fmla="*/ 9 w 171"/>
                <a:gd name="T33" fmla="*/ 92 h 116"/>
                <a:gd name="T34" fmla="*/ 6 w 171"/>
                <a:gd name="T35" fmla="*/ 87 h 116"/>
                <a:gd name="T36" fmla="*/ 3 w 171"/>
                <a:gd name="T37" fmla="*/ 82 h 116"/>
                <a:gd name="T38" fmla="*/ 1 w 171"/>
                <a:gd name="T39" fmla="*/ 76 h 116"/>
                <a:gd name="T40" fmla="*/ 0 w 171"/>
                <a:gd name="T41" fmla="*/ 69 h 116"/>
                <a:gd name="T42" fmla="*/ 0 w 171"/>
                <a:gd name="T43" fmla="*/ 61 h 116"/>
                <a:gd name="T44" fmla="*/ 0 w 171"/>
                <a:gd name="T45" fmla="*/ 61 h 116"/>
                <a:gd name="T46" fmla="*/ 1 w 171"/>
                <a:gd name="T47" fmla="*/ 49 h 116"/>
                <a:gd name="T48" fmla="*/ 4 w 171"/>
                <a:gd name="T49" fmla="*/ 38 h 116"/>
                <a:gd name="T50" fmla="*/ 7 w 171"/>
                <a:gd name="T51" fmla="*/ 33 h 116"/>
                <a:gd name="T52" fmla="*/ 10 w 171"/>
                <a:gd name="T53" fmla="*/ 27 h 116"/>
                <a:gd name="T54" fmla="*/ 13 w 171"/>
                <a:gd name="T55" fmla="*/ 23 h 116"/>
                <a:gd name="T56" fmla="*/ 17 w 171"/>
                <a:gd name="T57" fmla="*/ 19 h 116"/>
                <a:gd name="T58" fmla="*/ 22 w 171"/>
                <a:gd name="T59" fmla="*/ 16 h 116"/>
                <a:gd name="T60" fmla="*/ 27 w 171"/>
                <a:gd name="T61" fmla="*/ 13 h 116"/>
                <a:gd name="T62" fmla="*/ 33 w 171"/>
                <a:gd name="T63" fmla="*/ 10 h 116"/>
                <a:gd name="T64" fmla="*/ 39 w 171"/>
                <a:gd name="T65" fmla="*/ 8 h 116"/>
                <a:gd name="T66" fmla="*/ 55 w 171"/>
                <a:gd name="T67" fmla="*/ 5 h 116"/>
                <a:gd name="T68" fmla="*/ 73 w 171"/>
                <a:gd name="T69" fmla="*/ 3 h 116"/>
                <a:gd name="T70" fmla="*/ 171 w 171"/>
                <a:gd name="T71" fmla="*/ 0 h 116"/>
                <a:gd name="T72" fmla="*/ 171 w 171"/>
                <a:gd name="T73" fmla="*/ 93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1" h="116">
                  <a:moveTo>
                    <a:pt x="171" y="93"/>
                  </a:moveTo>
                  <a:lnTo>
                    <a:pt x="171" y="93"/>
                  </a:lnTo>
                  <a:lnTo>
                    <a:pt x="152" y="99"/>
                  </a:lnTo>
                  <a:lnTo>
                    <a:pt x="125" y="108"/>
                  </a:lnTo>
                  <a:lnTo>
                    <a:pt x="111" y="111"/>
                  </a:lnTo>
                  <a:lnTo>
                    <a:pt x="95" y="114"/>
                  </a:lnTo>
                  <a:lnTo>
                    <a:pt x="81" y="116"/>
                  </a:lnTo>
                  <a:lnTo>
                    <a:pt x="68" y="116"/>
                  </a:lnTo>
                  <a:lnTo>
                    <a:pt x="68" y="116"/>
                  </a:lnTo>
                  <a:lnTo>
                    <a:pt x="54" y="116"/>
                  </a:lnTo>
                  <a:lnTo>
                    <a:pt x="41" y="114"/>
                  </a:lnTo>
                  <a:lnTo>
                    <a:pt x="29" y="110"/>
                  </a:lnTo>
                  <a:lnTo>
                    <a:pt x="24" y="108"/>
                  </a:lnTo>
                  <a:lnTo>
                    <a:pt x="20" y="105"/>
                  </a:lnTo>
                  <a:lnTo>
                    <a:pt x="16" y="101"/>
                  </a:lnTo>
                  <a:lnTo>
                    <a:pt x="12" y="97"/>
                  </a:lnTo>
                  <a:lnTo>
                    <a:pt x="9" y="92"/>
                  </a:lnTo>
                  <a:lnTo>
                    <a:pt x="6" y="87"/>
                  </a:lnTo>
                  <a:lnTo>
                    <a:pt x="3" y="82"/>
                  </a:lnTo>
                  <a:lnTo>
                    <a:pt x="1" y="76"/>
                  </a:lnTo>
                  <a:lnTo>
                    <a:pt x="0" y="69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1" y="49"/>
                  </a:lnTo>
                  <a:lnTo>
                    <a:pt x="4" y="38"/>
                  </a:lnTo>
                  <a:lnTo>
                    <a:pt x="7" y="33"/>
                  </a:lnTo>
                  <a:lnTo>
                    <a:pt x="10" y="27"/>
                  </a:lnTo>
                  <a:lnTo>
                    <a:pt x="13" y="23"/>
                  </a:lnTo>
                  <a:lnTo>
                    <a:pt x="17" y="19"/>
                  </a:lnTo>
                  <a:lnTo>
                    <a:pt x="22" y="16"/>
                  </a:lnTo>
                  <a:lnTo>
                    <a:pt x="27" y="13"/>
                  </a:lnTo>
                  <a:lnTo>
                    <a:pt x="33" y="10"/>
                  </a:lnTo>
                  <a:lnTo>
                    <a:pt x="39" y="8"/>
                  </a:lnTo>
                  <a:lnTo>
                    <a:pt x="55" y="5"/>
                  </a:lnTo>
                  <a:lnTo>
                    <a:pt x="73" y="3"/>
                  </a:lnTo>
                  <a:lnTo>
                    <a:pt x="171" y="0"/>
                  </a:lnTo>
                  <a:lnTo>
                    <a:pt x="171" y="9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  <p:sp>
          <p:nvSpPr>
            <p:cNvPr id="40" name="Freeform 11"/>
            <p:cNvSpPr>
              <a:spLocks/>
            </p:cNvSpPr>
            <p:nvPr userDrawn="1"/>
          </p:nvSpPr>
          <p:spPr bwMode="auto">
            <a:xfrm>
              <a:off x="4914" y="3974"/>
              <a:ext cx="88" cy="107"/>
            </a:xfrm>
            <a:custGeom>
              <a:avLst/>
              <a:gdLst>
                <a:gd name="T0" fmla="*/ 206 w 353"/>
                <a:gd name="T1" fmla="*/ 0 h 428"/>
                <a:gd name="T2" fmla="*/ 148 w 353"/>
                <a:gd name="T3" fmla="*/ 4 h 428"/>
                <a:gd name="T4" fmla="*/ 98 w 353"/>
                <a:gd name="T5" fmla="*/ 12 h 428"/>
                <a:gd name="T6" fmla="*/ 59 w 353"/>
                <a:gd name="T7" fmla="*/ 23 h 428"/>
                <a:gd name="T8" fmla="*/ 33 w 353"/>
                <a:gd name="T9" fmla="*/ 33 h 428"/>
                <a:gd name="T10" fmla="*/ 53 w 353"/>
                <a:gd name="T11" fmla="*/ 102 h 428"/>
                <a:gd name="T12" fmla="*/ 92 w 353"/>
                <a:gd name="T13" fmla="*/ 91 h 428"/>
                <a:gd name="T14" fmla="*/ 132 w 353"/>
                <a:gd name="T15" fmla="*/ 82 h 428"/>
                <a:gd name="T16" fmla="*/ 178 w 353"/>
                <a:gd name="T17" fmla="*/ 79 h 428"/>
                <a:gd name="T18" fmla="*/ 198 w 353"/>
                <a:gd name="T19" fmla="*/ 80 h 428"/>
                <a:gd name="T20" fmla="*/ 221 w 353"/>
                <a:gd name="T21" fmla="*/ 84 h 428"/>
                <a:gd name="T22" fmla="*/ 233 w 353"/>
                <a:gd name="T23" fmla="*/ 90 h 428"/>
                <a:gd name="T24" fmla="*/ 244 w 353"/>
                <a:gd name="T25" fmla="*/ 98 h 428"/>
                <a:gd name="T26" fmla="*/ 252 w 353"/>
                <a:gd name="T27" fmla="*/ 108 h 428"/>
                <a:gd name="T28" fmla="*/ 257 w 353"/>
                <a:gd name="T29" fmla="*/ 120 h 428"/>
                <a:gd name="T30" fmla="*/ 259 w 353"/>
                <a:gd name="T31" fmla="*/ 137 h 428"/>
                <a:gd name="T32" fmla="*/ 260 w 353"/>
                <a:gd name="T33" fmla="*/ 176 h 428"/>
                <a:gd name="T34" fmla="*/ 178 w 353"/>
                <a:gd name="T35" fmla="*/ 176 h 428"/>
                <a:gd name="T36" fmla="*/ 131 w 353"/>
                <a:gd name="T37" fmla="*/ 179 h 428"/>
                <a:gd name="T38" fmla="*/ 92 w 353"/>
                <a:gd name="T39" fmla="*/ 187 h 428"/>
                <a:gd name="T40" fmla="*/ 62 w 353"/>
                <a:gd name="T41" fmla="*/ 200 h 428"/>
                <a:gd name="T42" fmla="*/ 38 w 353"/>
                <a:gd name="T43" fmla="*/ 216 h 428"/>
                <a:gd name="T44" fmla="*/ 21 w 353"/>
                <a:gd name="T45" fmla="*/ 236 h 428"/>
                <a:gd name="T46" fmla="*/ 9 w 353"/>
                <a:gd name="T47" fmla="*/ 257 h 428"/>
                <a:gd name="T48" fmla="*/ 3 w 353"/>
                <a:gd name="T49" fmla="*/ 282 h 428"/>
                <a:gd name="T50" fmla="*/ 0 w 353"/>
                <a:gd name="T51" fmla="*/ 307 h 428"/>
                <a:gd name="T52" fmla="*/ 2 w 353"/>
                <a:gd name="T53" fmla="*/ 323 h 428"/>
                <a:gd name="T54" fmla="*/ 8 w 353"/>
                <a:gd name="T55" fmla="*/ 352 h 428"/>
                <a:gd name="T56" fmla="*/ 19 w 353"/>
                <a:gd name="T57" fmla="*/ 376 h 428"/>
                <a:gd name="T58" fmla="*/ 35 w 353"/>
                <a:gd name="T59" fmla="*/ 394 h 428"/>
                <a:gd name="T60" fmla="*/ 55 w 353"/>
                <a:gd name="T61" fmla="*/ 408 h 428"/>
                <a:gd name="T62" fmla="*/ 77 w 353"/>
                <a:gd name="T63" fmla="*/ 418 h 428"/>
                <a:gd name="T64" fmla="*/ 101 w 353"/>
                <a:gd name="T65" fmla="*/ 424 h 428"/>
                <a:gd name="T66" fmla="*/ 125 w 353"/>
                <a:gd name="T67" fmla="*/ 427 h 428"/>
                <a:gd name="T68" fmla="*/ 137 w 353"/>
                <a:gd name="T69" fmla="*/ 428 h 428"/>
                <a:gd name="T70" fmla="*/ 165 w 353"/>
                <a:gd name="T71" fmla="*/ 426 h 428"/>
                <a:gd name="T72" fmla="*/ 210 w 353"/>
                <a:gd name="T73" fmla="*/ 418 h 428"/>
                <a:gd name="T74" fmla="*/ 242 w 353"/>
                <a:gd name="T75" fmla="*/ 406 h 428"/>
                <a:gd name="T76" fmla="*/ 260 w 353"/>
                <a:gd name="T77" fmla="*/ 397 h 428"/>
                <a:gd name="T78" fmla="*/ 264 w 353"/>
                <a:gd name="T79" fmla="*/ 396 h 428"/>
                <a:gd name="T80" fmla="*/ 269 w 353"/>
                <a:gd name="T81" fmla="*/ 398 h 428"/>
                <a:gd name="T82" fmla="*/ 283 w 353"/>
                <a:gd name="T83" fmla="*/ 404 h 428"/>
                <a:gd name="T84" fmla="*/ 310 w 353"/>
                <a:gd name="T85" fmla="*/ 411 h 428"/>
                <a:gd name="T86" fmla="*/ 353 w 353"/>
                <a:gd name="T87" fmla="*/ 413 h 428"/>
                <a:gd name="T88" fmla="*/ 353 w 353"/>
                <a:gd name="T89" fmla="*/ 122 h 428"/>
                <a:gd name="T90" fmla="*/ 351 w 353"/>
                <a:gd name="T91" fmla="*/ 92 h 428"/>
                <a:gd name="T92" fmla="*/ 343 w 353"/>
                <a:gd name="T93" fmla="*/ 66 h 428"/>
                <a:gd name="T94" fmla="*/ 330 w 353"/>
                <a:gd name="T95" fmla="*/ 45 h 428"/>
                <a:gd name="T96" fmla="*/ 314 w 353"/>
                <a:gd name="T97" fmla="*/ 29 h 428"/>
                <a:gd name="T98" fmla="*/ 293 w 353"/>
                <a:gd name="T99" fmla="*/ 15 h 428"/>
                <a:gd name="T100" fmla="*/ 268 w 353"/>
                <a:gd name="T101" fmla="*/ 7 h 428"/>
                <a:gd name="T102" fmla="*/ 239 w 353"/>
                <a:gd name="T103" fmla="*/ 2 h 428"/>
                <a:gd name="T104" fmla="*/ 206 w 353"/>
                <a:gd name="T105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3" h="428">
                  <a:moveTo>
                    <a:pt x="206" y="0"/>
                  </a:moveTo>
                  <a:lnTo>
                    <a:pt x="206" y="0"/>
                  </a:lnTo>
                  <a:lnTo>
                    <a:pt x="175" y="1"/>
                  </a:lnTo>
                  <a:lnTo>
                    <a:pt x="148" y="4"/>
                  </a:lnTo>
                  <a:lnTo>
                    <a:pt x="121" y="7"/>
                  </a:lnTo>
                  <a:lnTo>
                    <a:pt x="98" y="12"/>
                  </a:lnTo>
                  <a:lnTo>
                    <a:pt x="77" y="17"/>
                  </a:lnTo>
                  <a:lnTo>
                    <a:pt x="59" y="23"/>
                  </a:lnTo>
                  <a:lnTo>
                    <a:pt x="44" y="28"/>
                  </a:lnTo>
                  <a:lnTo>
                    <a:pt x="33" y="33"/>
                  </a:lnTo>
                  <a:lnTo>
                    <a:pt x="53" y="102"/>
                  </a:lnTo>
                  <a:lnTo>
                    <a:pt x="53" y="102"/>
                  </a:lnTo>
                  <a:lnTo>
                    <a:pt x="64" y="98"/>
                  </a:lnTo>
                  <a:lnTo>
                    <a:pt x="92" y="91"/>
                  </a:lnTo>
                  <a:lnTo>
                    <a:pt x="111" y="86"/>
                  </a:lnTo>
                  <a:lnTo>
                    <a:pt x="132" y="82"/>
                  </a:lnTo>
                  <a:lnTo>
                    <a:pt x="155" y="80"/>
                  </a:lnTo>
                  <a:lnTo>
                    <a:pt x="178" y="79"/>
                  </a:lnTo>
                  <a:lnTo>
                    <a:pt x="178" y="79"/>
                  </a:lnTo>
                  <a:lnTo>
                    <a:pt x="198" y="80"/>
                  </a:lnTo>
                  <a:lnTo>
                    <a:pt x="214" y="82"/>
                  </a:lnTo>
                  <a:lnTo>
                    <a:pt x="221" y="84"/>
                  </a:lnTo>
                  <a:lnTo>
                    <a:pt x="227" y="86"/>
                  </a:lnTo>
                  <a:lnTo>
                    <a:pt x="233" y="90"/>
                  </a:lnTo>
                  <a:lnTo>
                    <a:pt x="240" y="94"/>
                  </a:lnTo>
                  <a:lnTo>
                    <a:pt x="244" y="98"/>
                  </a:lnTo>
                  <a:lnTo>
                    <a:pt x="248" y="102"/>
                  </a:lnTo>
                  <a:lnTo>
                    <a:pt x="252" y="108"/>
                  </a:lnTo>
                  <a:lnTo>
                    <a:pt x="255" y="114"/>
                  </a:lnTo>
                  <a:lnTo>
                    <a:pt x="257" y="120"/>
                  </a:lnTo>
                  <a:lnTo>
                    <a:pt x="258" y="129"/>
                  </a:lnTo>
                  <a:lnTo>
                    <a:pt x="259" y="137"/>
                  </a:lnTo>
                  <a:lnTo>
                    <a:pt x="260" y="146"/>
                  </a:lnTo>
                  <a:lnTo>
                    <a:pt x="260" y="176"/>
                  </a:lnTo>
                  <a:lnTo>
                    <a:pt x="178" y="176"/>
                  </a:lnTo>
                  <a:lnTo>
                    <a:pt x="178" y="176"/>
                  </a:lnTo>
                  <a:lnTo>
                    <a:pt x="154" y="177"/>
                  </a:lnTo>
                  <a:lnTo>
                    <a:pt x="131" y="179"/>
                  </a:lnTo>
                  <a:lnTo>
                    <a:pt x="111" y="182"/>
                  </a:lnTo>
                  <a:lnTo>
                    <a:pt x="92" y="187"/>
                  </a:lnTo>
                  <a:lnTo>
                    <a:pt x="76" y="192"/>
                  </a:lnTo>
                  <a:lnTo>
                    <a:pt x="62" y="200"/>
                  </a:lnTo>
                  <a:lnTo>
                    <a:pt x="50" y="207"/>
                  </a:lnTo>
                  <a:lnTo>
                    <a:pt x="38" y="216"/>
                  </a:lnTo>
                  <a:lnTo>
                    <a:pt x="28" y="225"/>
                  </a:lnTo>
                  <a:lnTo>
                    <a:pt x="21" y="236"/>
                  </a:lnTo>
                  <a:lnTo>
                    <a:pt x="14" y="246"/>
                  </a:lnTo>
                  <a:lnTo>
                    <a:pt x="9" y="257"/>
                  </a:lnTo>
                  <a:lnTo>
                    <a:pt x="6" y="270"/>
                  </a:lnTo>
                  <a:lnTo>
                    <a:pt x="3" y="282"/>
                  </a:lnTo>
                  <a:lnTo>
                    <a:pt x="0" y="294"/>
                  </a:lnTo>
                  <a:lnTo>
                    <a:pt x="0" y="307"/>
                  </a:lnTo>
                  <a:lnTo>
                    <a:pt x="0" y="307"/>
                  </a:lnTo>
                  <a:lnTo>
                    <a:pt x="2" y="323"/>
                  </a:lnTo>
                  <a:lnTo>
                    <a:pt x="4" y="338"/>
                  </a:lnTo>
                  <a:lnTo>
                    <a:pt x="8" y="352"/>
                  </a:lnTo>
                  <a:lnTo>
                    <a:pt x="13" y="364"/>
                  </a:lnTo>
                  <a:lnTo>
                    <a:pt x="19" y="376"/>
                  </a:lnTo>
                  <a:lnTo>
                    <a:pt x="27" y="386"/>
                  </a:lnTo>
                  <a:lnTo>
                    <a:pt x="35" y="394"/>
                  </a:lnTo>
                  <a:lnTo>
                    <a:pt x="44" y="401"/>
                  </a:lnTo>
                  <a:lnTo>
                    <a:pt x="55" y="408"/>
                  </a:lnTo>
                  <a:lnTo>
                    <a:pt x="66" y="414"/>
                  </a:lnTo>
                  <a:lnTo>
                    <a:pt x="77" y="418"/>
                  </a:lnTo>
                  <a:lnTo>
                    <a:pt x="88" y="422"/>
                  </a:lnTo>
                  <a:lnTo>
                    <a:pt x="101" y="424"/>
                  </a:lnTo>
                  <a:lnTo>
                    <a:pt x="113" y="426"/>
                  </a:lnTo>
                  <a:lnTo>
                    <a:pt x="125" y="427"/>
                  </a:lnTo>
                  <a:lnTo>
                    <a:pt x="137" y="428"/>
                  </a:lnTo>
                  <a:lnTo>
                    <a:pt x="137" y="428"/>
                  </a:lnTo>
                  <a:lnTo>
                    <a:pt x="152" y="427"/>
                  </a:lnTo>
                  <a:lnTo>
                    <a:pt x="165" y="426"/>
                  </a:lnTo>
                  <a:lnTo>
                    <a:pt x="188" y="423"/>
                  </a:lnTo>
                  <a:lnTo>
                    <a:pt x="210" y="418"/>
                  </a:lnTo>
                  <a:lnTo>
                    <a:pt x="227" y="412"/>
                  </a:lnTo>
                  <a:lnTo>
                    <a:pt x="242" y="406"/>
                  </a:lnTo>
                  <a:lnTo>
                    <a:pt x="253" y="401"/>
                  </a:lnTo>
                  <a:lnTo>
                    <a:pt x="260" y="397"/>
                  </a:lnTo>
                  <a:lnTo>
                    <a:pt x="264" y="396"/>
                  </a:lnTo>
                  <a:lnTo>
                    <a:pt x="264" y="396"/>
                  </a:lnTo>
                  <a:lnTo>
                    <a:pt x="266" y="397"/>
                  </a:lnTo>
                  <a:lnTo>
                    <a:pt x="269" y="398"/>
                  </a:lnTo>
                  <a:lnTo>
                    <a:pt x="275" y="401"/>
                  </a:lnTo>
                  <a:lnTo>
                    <a:pt x="283" y="404"/>
                  </a:lnTo>
                  <a:lnTo>
                    <a:pt x="296" y="407"/>
                  </a:lnTo>
                  <a:lnTo>
                    <a:pt x="310" y="411"/>
                  </a:lnTo>
                  <a:lnTo>
                    <a:pt x="329" y="412"/>
                  </a:lnTo>
                  <a:lnTo>
                    <a:pt x="353" y="413"/>
                  </a:lnTo>
                  <a:lnTo>
                    <a:pt x="353" y="122"/>
                  </a:lnTo>
                  <a:lnTo>
                    <a:pt x="353" y="122"/>
                  </a:lnTo>
                  <a:lnTo>
                    <a:pt x="353" y="106"/>
                  </a:lnTo>
                  <a:lnTo>
                    <a:pt x="351" y="92"/>
                  </a:lnTo>
                  <a:lnTo>
                    <a:pt x="348" y="78"/>
                  </a:lnTo>
                  <a:lnTo>
                    <a:pt x="343" y="66"/>
                  </a:lnTo>
                  <a:lnTo>
                    <a:pt x="338" y="56"/>
                  </a:lnTo>
                  <a:lnTo>
                    <a:pt x="330" y="45"/>
                  </a:lnTo>
                  <a:lnTo>
                    <a:pt x="323" y="36"/>
                  </a:lnTo>
                  <a:lnTo>
                    <a:pt x="314" y="29"/>
                  </a:lnTo>
                  <a:lnTo>
                    <a:pt x="304" y="22"/>
                  </a:lnTo>
                  <a:lnTo>
                    <a:pt x="293" y="15"/>
                  </a:lnTo>
                  <a:lnTo>
                    <a:pt x="281" y="11"/>
                  </a:lnTo>
                  <a:lnTo>
                    <a:pt x="268" y="7"/>
                  </a:lnTo>
                  <a:lnTo>
                    <a:pt x="254" y="4"/>
                  </a:lnTo>
                  <a:lnTo>
                    <a:pt x="239" y="2"/>
                  </a:lnTo>
                  <a:lnTo>
                    <a:pt x="222" y="1"/>
                  </a:lnTo>
                  <a:lnTo>
                    <a:pt x="20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  <p:sp>
          <p:nvSpPr>
            <p:cNvPr id="41" name="Freeform 12"/>
            <p:cNvSpPr>
              <a:spLocks/>
            </p:cNvSpPr>
            <p:nvPr userDrawn="1"/>
          </p:nvSpPr>
          <p:spPr bwMode="auto">
            <a:xfrm>
              <a:off x="5263" y="3975"/>
              <a:ext cx="93" cy="106"/>
            </a:xfrm>
            <a:custGeom>
              <a:avLst/>
              <a:gdLst>
                <a:gd name="T0" fmla="*/ 281 w 374"/>
                <a:gd name="T1" fmla="*/ 313 h 424"/>
                <a:gd name="T2" fmla="*/ 246 w 374"/>
                <a:gd name="T3" fmla="*/ 327 h 424"/>
                <a:gd name="T4" fmla="*/ 217 w 374"/>
                <a:gd name="T5" fmla="*/ 336 h 424"/>
                <a:gd name="T6" fmla="*/ 184 w 374"/>
                <a:gd name="T7" fmla="*/ 341 h 424"/>
                <a:gd name="T8" fmla="*/ 167 w 374"/>
                <a:gd name="T9" fmla="*/ 342 h 424"/>
                <a:gd name="T10" fmla="*/ 145 w 374"/>
                <a:gd name="T11" fmla="*/ 341 h 424"/>
                <a:gd name="T12" fmla="*/ 129 w 374"/>
                <a:gd name="T13" fmla="*/ 337 h 424"/>
                <a:gd name="T14" fmla="*/ 116 w 374"/>
                <a:gd name="T15" fmla="*/ 329 h 424"/>
                <a:gd name="T16" fmla="*/ 106 w 374"/>
                <a:gd name="T17" fmla="*/ 319 h 424"/>
                <a:gd name="T18" fmla="*/ 99 w 374"/>
                <a:gd name="T19" fmla="*/ 307 h 424"/>
                <a:gd name="T20" fmla="*/ 95 w 374"/>
                <a:gd name="T21" fmla="*/ 290 h 424"/>
                <a:gd name="T22" fmla="*/ 93 w 374"/>
                <a:gd name="T23" fmla="*/ 248 h 424"/>
                <a:gd name="T24" fmla="*/ 79 w 374"/>
                <a:gd name="T25" fmla="*/ 0 h 424"/>
                <a:gd name="T26" fmla="*/ 59 w 374"/>
                <a:gd name="T27" fmla="*/ 0 h 424"/>
                <a:gd name="T28" fmla="*/ 13 w 374"/>
                <a:gd name="T29" fmla="*/ 4 h 424"/>
                <a:gd name="T30" fmla="*/ 0 w 374"/>
                <a:gd name="T31" fmla="*/ 259 h 424"/>
                <a:gd name="T32" fmla="*/ 0 w 374"/>
                <a:gd name="T33" fmla="*/ 280 h 424"/>
                <a:gd name="T34" fmla="*/ 3 w 374"/>
                <a:gd name="T35" fmla="*/ 316 h 424"/>
                <a:gd name="T36" fmla="*/ 9 w 374"/>
                <a:gd name="T37" fmla="*/ 347 h 424"/>
                <a:gd name="T38" fmla="*/ 21 w 374"/>
                <a:gd name="T39" fmla="*/ 373 h 424"/>
                <a:gd name="T40" fmla="*/ 36 w 374"/>
                <a:gd name="T41" fmla="*/ 393 h 424"/>
                <a:gd name="T42" fmla="*/ 58 w 374"/>
                <a:gd name="T43" fmla="*/ 408 h 424"/>
                <a:gd name="T44" fmla="*/ 86 w 374"/>
                <a:gd name="T45" fmla="*/ 418 h 424"/>
                <a:gd name="T46" fmla="*/ 121 w 374"/>
                <a:gd name="T47" fmla="*/ 423 h 424"/>
                <a:gd name="T48" fmla="*/ 141 w 374"/>
                <a:gd name="T49" fmla="*/ 424 h 424"/>
                <a:gd name="T50" fmla="*/ 172 w 374"/>
                <a:gd name="T51" fmla="*/ 422 h 424"/>
                <a:gd name="T52" fmla="*/ 199 w 374"/>
                <a:gd name="T53" fmla="*/ 418 h 424"/>
                <a:gd name="T54" fmla="*/ 243 w 374"/>
                <a:gd name="T55" fmla="*/ 407 h 424"/>
                <a:gd name="T56" fmla="*/ 271 w 374"/>
                <a:gd name="T57" fmla="*/ 395 h 424"/>
                <a:gd name="T58" fmla="*/ 283 w 374"/>
                <a:gd name="T59" fmla="*/ 390 h 424"/>
                <a:gd name="T60" fmla="*/ 296 w 374"/>
                <a:gd name="T61" fmla="*/ 396 h 424"/>
                <a:gd name="T62" fmla="*/ 319 w 374"/>
                <a:gd name="T63" fmla="*/ 402 h 424"/>
                <a:gd name="T64" fmla="*/ 353 w 374"/>
                <a:gd name="T65" fmla="*/ 408 h 424"/>
                <a:gd name="T66" fmla="*/ 374 w 374"/>
                <a:gd name="T67" fmla="*/ 6 h 424"/>
                <a:gd name="T68" fmla="*/ 342 w 374"/>
                <a:gd name="T69" fmla="*/ 2 h 424"/>
                <a:gd name="T70" fmla="*/ 299 w 374"/>
                <a:gd name="T71" fmla="*/ 0 h 424"/>
                <a:gd name="T72" fmla="*/ 281 w 374"/>
                <a:gd name="T73" fmla="*/ 313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74" h="424">
                  <a:moveTo>
                    <a:pt x="281" y="313"/>
                  </a:moveTo>
                  <a:lnTo>
                    <a:pt x="281" y="313"/>
                  </a:lnTo>
                  <a:lnTo>
                    <a:pt x="260" y="322"/>
                  </a:lnTo>
                  <a:lnTo>
                    <a:pt x="246" y="327"/>
                  </a:lnTo>
                  <a:lnTo>
                    <a:pt x="232" y="331"/>
                  </a:lnTo>
                  <a:lnTo>
                    <a:pt x="217" y="336"/>
                  </a:lnTo>
                  <a:lnTo>
                    <a:pt x="200" y="339"/>
                  </a:lnTo>
                  <a:lnTo>
                    <a:pt x="184" y="341"/>
                  </a:lnTo>
                  <a:lnTo>
                    <a:pt x="167" y="342"/>
                  </a:lnTo>
                  <a:lnTo>
                    <a:pt x="167" y="342"/>
                  </a:lnTo>
                  <a:lnTo>
                    <a:pt x="155" y="342"/>
                  </a:lnTo>
                  <a:lnTo>
                    <a:pt x="145" y="341"/>
                  </a:lnTo>
                  <a:lnTo>
                    <a:pt x="136" y="339"/>
                  </a:lnTo>
                  <a:lnTo>
                    <a:pt x="129" y="337"/>
                  </a:lnTo>
                  <a:lnTo>
                    <a:pt x="122" y="333"/>
                  </a:lnTo>
                  <a:lnTo>
                    <a:pt x="116" y="329"/>
                  </a:lnTo>
                  <a:lnTo>
                    <a:pt x="110" y="324"/>
                  </a:lnTo>
                  <a:lnTo>
                    <a:pt x="106" y="319"/>
                  </a:lnTo>
                  <a:lnTo>
                    <a:pt x="102" y="313"/>
                  </a:lnTo>
                  <a:lnTo>
                    <a:pt x="99" y="307"/>
                  </a:lnTo>
                  <a:lnTo>
                    <a:pt x="97" y="298"/>
                  </a:lnTo>
                  <a:lnTo>
                    <a:pt x="95" y="290"/>
                  </a:lnTo>
                  <a:lnTo>
                    <a:pt x="93" y="271"/>
                  </a:lnTo>
                  <a:lnTo>
                    <a:pt x="93" y="248"/>
                  </a:lnTo>
                  <a:lnTo>
                    <a:pt x="93" y="0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59" y="0"/>
                  </a:lnTo>
                  <a:lnTo>
                    <a:pt x="36" y="2"/>
                  </a:lnTo>
                  <a:lnTo>
                    <a:pt x="13" y="4"/>
                  </a:lnTo>
                  <a:lnTo>
                    <a:pt x="0" y="6"/>
                  </a:lnTo>
                  <a:lnTo>
                    <a:pt x="0" y="259"/>
                  </a:lnTo>
                  <a:lnTo>
                    <a:pt x="0" y="259"/>
                  </a:lnTo>
                  <a:lnTo>
                    <a:pt x="0" y="280"/>
                  </a:lnTo>
                  <a:lnTo>
                    <a:pt x="1" y="298"/>
                  </a:lnTo>
                  <a:lnTo>
                    <a:pt x="3" y="316"/>
                  </a:lnTo>
                  <a:lnTo>
                    <a:pt x="5" y="332"/>
                  </a:lnTo>
                  <a:lnTo>
                    <a:pt x="9" y="347"/>
                  </a:lnTo>
                  <a:lnTo>
                    <a:pt x="14" y="360"/>
                  </a:lnTo>
                  <a:lnTo>
                    <a:pt x="21" y="373"/>
                  </a:lnTo>
                  <a:lnTo>
                    <a:pt x="28" y="383"/>
                  </a:lnTo>
                  <a:lnTo>
                    <a:pt x="36" y="393"/>
                  </a:lnTo>
                  <a:lnTo>
                    <a:pt x="46" y="401"/>
                  </a:lnTo>
                  <a:lnTo>
                    <a:pt x="58" y="408"/>
                  </a:lnTo>
                  <a:lnTo>
                    <a:pt x="71" y="414"/>
                  </a:lnTo>
                  <a:lnTo>
                    <a:pt x="86" y="418"/>
                  </a:lnTo>
                  <a:lnTo>
                    <a:pt x="102" y="421"/>
                  </a:lnTo>
                  <a:lnTo>
                    <a:pt x="121" y="423"/>
                  </a:lnTo>
                  <a:lnTo>
                    <a:pt x="141" y="424"/>
                  </a:lnTo>
                  <a:lnTo>
                    <a:pt x="141" y="424"/>
                  </a:lnTo>
                  <a:lnTo>
                    <a:pt x="157" y="423"/>
                  </a:lnTo>
                  <a:lnTo>
                    <a:pt x="172" y="422"/>
                  </a:lnTo>
                  <a:lnTo>
                    <a:pt x="186" y="421"/>
                  </a:lnTo>
                  <a:lnTo>
                    <a:pt x="199" y="418"/>
                  </a:lnTo>
                  <a:lnTo>
                    <a:pt x="223" y="413"/>
                  </a:lnTo>
                  <a:lnTo>
                    <a:pt x="243" y="407"/>
                  </a:lnTo>
                  <a:lnTo>
                    <a:pt x="260" y="400"/>
                  </a:lnTo>
                  <a:lnTo>
                    <a:pt x="271" y="395"/>
                  </a:lnTo>
                  <a:lnTo>
                    <a:pt x="283" y="390"/>
                  </a:lnTo>
                  <a:lnTo>
                    <a:pt x="283" y="390"/>
                  </a:lnTo>
                  <a:lnTo>
                    <a:pt x="289" y="393"/>
                  </a:lnTo>
                  <a:lnTo>
                    <a:pt x="296" y="396"/>
                  </a:lnTo>
                  <a:lnTo>
                    <a:pt x="307" y="399"/>
                  </a:lnTo>
                  <a:lnTo>
                    <a:pt x="319" y="402"/>
                  </a:lnTo>
                  <a:lnTo>
                    <a:pt x="334" y="405"/>
                  </a:lnTo>
                  <a:lnTo>
                    <a:pt x="353" y="408"/>
                  </a:lnTo>
                  <a:lnTo>
                    <a:pt x="374" y="409"/>
                  </a:lnTo>
                  <a:lnTo>
                    <a:pt x="374" y="6"/>
                  </a:lnTo>
                  <a:lnTo>
                    <a:pt x="374" y="6"/>
                  </a:lnTo>
                  <a:lnTo>
                    <a:pt x="342" y="2"/>
                  </a:lnTo>
                  <a:lnTo>
                    <a:pt x="320" y="1"/>
                  </a:lnTo>
                  <a:lnTo>
                    <a:pt x="299" y="0"/>
                  </a:lnTo>
                  <a:lnTo>
                    <a:pt x="281" y="0"/>
                  </a:lnTo>
                  <a:lnTo>
                    <a:pt x="281" y="31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  <p:sp>
          <p:nvSpPr>
            <p:cNvPr id="42" name="Freeform 13"/>
            <p:cNvSpPr>
              <a:spLocks/>
            </p:cNvSpPr>
            <p:nvPr userDrawn="1"/>
          </p:nvSpPr>
          <p:spPr bwMode="auto">
            <a:xfrm>
              <a:off x="5383" y="3974"/>
              <a:ext cx="78" cy="107"/>
            </a:xfrm>
            <a:custGeom>
              <a:avLst/>
              <a:gdLst>
                <a:gd name="T0" fmla="*/ 11 w 311"/>
                <a:gd name="T1" fmla="*/ 415 h 428"/>
                <a:gd name="T2" fmla="*/ 83 w 311"/>
                <a:gd name="T3" fmla="*/ 425 h 428"/>
                <a:gd name="T4" fmla="*/ 138 w 311"/>
                <a:gd name="T5" fmla="*/ 428 h 428"/>
                <a:gd name="T6" fmla="*/ 183 w 311"/>
                <a:gd name="T7" fmla="*/ 425 h 428"/>
                <a:gd name="T8" fmla="*/ 227 w 311"/>
                <a:gd name="T9" fmla="*/ 414 h 428"/>
                <a:gd name="T10" fmla="*/ 265 w 311"/>
                <a:gd name="T11" fmla="*/ 394 h 428"/>
                <a:gd name="T12" fmla="*/ 295 w 311"/>
                <a:gd name="T13" fmla="*/ 363 h 428"/>
                <a:gd name="T14" fmla="*/ 310 w 311"/>
                <a:gd name="T15" fmla="*/ 318 h 428"/>
                <a:gd name="T16" fmla="*/ 310 w 311"/>
                <a:gd name="T17" fmla="*/ 288 h 428"/>
                <a:gd name="T18" fmla="*/ 302 w 311"/>
                <a:gd name="T19" fmla="*/ 256 h 428"/>
                <a:gd name="T20" fmla="*/ 283 w 311"/>
                <a:gd name="T21" fmla="*/ 231 h 428"/>
                <a:gd name="T22" fmla="*/ 257 w 311"/>
                <a:gd name="T23" fmla="*/ 211 h 428"/>
                <a:gd name="T24" fmla="*/ 209 w 311"/>
                <a:gd name="T25" fmla="*/ 187 h 428"/>
                <a:gd name="T26" fmla="*/ 149 w 311"/>
                <a:gd name="T27" fmla="*/ 164 h 428"/>
                <a:gd name="T28" fmla="*/ 113 w 311"/>
                <a:gd name="T29" fmla="*/ 144 h 428"/>
                <a:gd name="T30" fmla="*/ 103 w 311"/>
                <a:gd name="T31" fmla="*/ 132 h 428"/>
                <a:gd name="T32" fmla="*/ 100 w 311"/>
                <a:gd name="T33" fmla="*/ 116 h 428"/>
                <a:gd name="T34" fmla="*/ 102 w 311"/>
                <a:gd name="T35" fmla="*/ 104 h 428"/>
                <a:gd name="T36" fmla="*/ 116 w 311"/>
                <a:gd name="T37" fmla="*/ 86 h 428"/>
                <a:gd name="T38" fmla="*/ 132 w 311"/>
                <a:gd name="T39" fmla="*/ 78 h 428"/>
                <a:gd name="T40" fmla="*/ 156 w 311"/>
                <a:gd name="T41" fmla="*/ 74 h 428"/>
                <a:gd name="T42" fmla="*/ 185 w 311"/>
                <a:gd name="T43" fmla="*/ 75 h 428"/>
                <a:gd name="T44" fmla="*/ 238 w 311"/>
                <a:gd name="T45" fmla="*/ 85 h 428"/>
                <a:gd name="T46" fmla="*/ 295 w 311"/>
                <a:gd name="T47" fmla="*/ 30 h 428"/>
                <a:gd name="T48" fmla="*/ 263 w 311"/>
                <a:gd name="T49" fmla="*/ 16 h 428"/>
                <a:gd name="T50" fmla="*/ 207 w 311"/>
                <a:gd name="T51" fmla="*/ 4 h 428"/>
                <a:gd name="T52" fmla="*/ 158 w 311"/>
                <a:gd name="T53" fmla="*/ 0 h 428"/>
                <a:gd name="T54" fmla="*/ 115 w 311"/>
                <a:gd name="T55" fmla="*/ 4 h 428"/>
                <a:gd name="T56" fmla="*/ 76 w 311"/>
                <a:gd name="T57" fmla="*/ 17 h 428"/>
                <a:gd name="T58" fmla="*/ 42 w 311"/>
                <a:gd name="T59" fmla="*/ 39 h 428"/>
                <a:gd name="T60" fmla="*/ 19 w 311"/>
                <a:gd name="T61" fmla="*/ 69 h 428"/>
                <a:gd name="T62" fmla="*/ 7 w 311"/>
                <a:gd name="T63" fmla="*/ 107 h 428"/>
                <a:gd name="T64" fmla="*/ 7 w 311"/>
                <a:gd name="T65" fmla="*/ 137 h 428"/>
                <a:gd name="T66" fmla="*/ 19 w 311"/>
                <a:gd name="T67" fmla="*/ 175 h 428"/>
                <a:gd name="T68" fmla="*/ 42 w 311"/>
                <a:gd name="T69" fmla="*/ 203 h 428"/>
                <a:gd name="T70" fmla="*/ 73 w 311"/>
                <a:gd name="T71" fmla="*/ 223 h 428"/>
                <a:gd name="T72" fmla="*/ 119 w 311"/>
                <a:gd name="T73" fmla="*/ 243 h 428"/>
                <a:gd name="T74" fmla="*/ 171 w 311"/>
                <a:gd name="T75" fmla="*/ 261 h 428"/>
                <a:gd name="T76" fmla="*/ 205 w 311"/>
                <a:gd name="T77" fmla="*/ 280 h 428"/>
                <a:gd name="T78" fmla="*/ 216 w 311"/>
                <a:gd name="T79" fmla="*/ 296 h 428"/>
                <a:gd name="T80" fmla="*/ 217 w 311"/>
                <a:gd name="T81" fmla="*/ 306 h 428"/>
                <a:gd name="T82" fmla="*/ 212 w 311"/>
                <a:gd name="T83" fmla="*/ 328 h 428"/>
                <a:gd name="T84" fmla="*/ 202 w 311"/>
                <a:gd name="T85" fmla="*/ 340 h 428"/>
                <a:gd name="T86" fmla="*/ 184 w 311"/>
                <a:gd name="T87" fmla="*/ 348 h 428"/>
                <a:gd name="T88" fmla="*/ 158 w 311"/>
                <a:gd name="T89" fmla="*/ 353 h 428"/>
                <a:gd name="T90" fmla="*/ 113 w 311"/>
                <a:gd name="T91" fmla="*/ 354 h 428"/>
                <a:gd name="T92" fmla="*/ 28 w 311"/>
                <a:gd name="T93" fmla="*/ 344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11" h="428">
                  <a:moveTo>
                    <a:pt x="0" y="413"/>
                  </a:moveTo>
                  <a:lnTo>
                    <a:pt x="0" y="413"/>
                  </a:lnTo>
                  <a:lnTo>
                    <a:pt x="11" y="415"/>
                  </a:lnTo>
                  <a:lnTo>
                    <a:pt x="39" y="420"/>
                  </a:lnTo>
                  <a:lnTo>
                    <a:pt x="60" y="423"/>
                  </a:lnTo>
                  <a:lnTo>
                    <a:pt x="83" y="425"/>
                  </a:lnTo>
                  <a:lnTo>
                    <a:pt x="110" y="427"/>
                  </a:lnTo>
                  <a:lnTo>
                    <a:pt x="138" y="428"/>
                  </a:lnTo>
                  <a:lnTo>
                    <a:pt x="138" y="428"/>
                  </a:lnTo>
                  <a:lnTo>
                    <a:pt x="154" y="427"/>
                  </a:lnTo>
                  <a:lnTo>
                    <a:pt x="168" y="426"/>
                  </a:lnTo>
                  <a:lnTo>
                    <a:pt x="183" y="425"/>
                  </a:lnTo>
                  <a:lnTo>
                    <a:pt x="198" y="422"/>
                  </a:lnTo>
                  <a:lnTo>
                    <a:pt x="213" y="419"/>
                  </a:lnTo>
                  <a:lnTo>
                    <a:pt x="227" y="414"/>
                  </a:lnTo>
                  <a:lnTo>
                    <a:pt x="241" y="408"/>
                  </a:lnTo>
                  <a:lnTo>
                    <a:pt x="254" y="402"/>
                  </a:lnTo>
                  <a:lnTo>
                    <a:pt x="265" y="394"/>
                  </a:lnTo>
                  <a:lnTo>
                    <a:pt x="276" y="385"/>
                  </a:lnTo>
                  <a:lnTo>
                    <a:pt x="286" y="375"/>
                  </a:lnTo>
                  <a:lnTo>
                    <a:pt x="295" y="363"/>
                  </a:lnTo>
                  <a:lnTo>
                    <a:pt x="302" y="350"/>
                  </a:lnTo>
                  <a:lnTo>
                    <a:pt x="307" y="334"/>
                  </a:lnTo>
                  <a:lnTo>
                    <a:pt x="310" y="318"/>
                  </a:lnTo>
                  <a:lnTo>
                    <a:pt x="311" y="300"/>
                  </a:lnTo>
                  <a:lnTo>
                    <a:pt x="311" y="300"/>
                  </a:lnTo>
                  <a:lnTo>
                    <a:pt x="310" y="288"/>
                  </a:lnTo>
                  <a:lnTo>
                    <a:pt x="309" y="277"/>
                  </a:lnTo>
                  <a:lnTo>
                    <a:pt x="306" y="266"/>
                  </a:lnTo>
                  <a:lnTo>
                    <a:pt x="302" y="256"/>
                  </a:lnTo>
                  <a:lnTo>
                    <a:pt x="297" y="248"/>
                  </a:lnTo>
                  <a:lnTo>
                    <a:pt x="291" y="239"/>
                  </a:lnTo>
                  <a:lnTo>
                    <a:pt x="283" y="231"/>
                  </a:lnTo>
                  <a:lnTo>
                    <a:pt x="276" y="224"/>
                  </a:lnTo>
                  <a:lnTo>
                    <a:pt x="267" y="217"/>
                  </a:lnTo>
                  <a:lnTo>
                    <a:pt x="257" y="211"/>
                  </a:lnTo>
                  <a:lnTo>
                    <a:pt x="247" y="204"/>
                  </a:lnTo>
                  <a:lnTo>
                    <a:pt x="234" y="199"/>
                  </a:lnTo>
                  <a:lnTo>
                    <a:pt x="209" y="187"/>
                  </a:lnTo>
                  <a:lnTo>
                    <a:pt x="180" y="176"/>
                  </a:lnTo>
                  <a:lnTo>
                    <a:pt x="180" y="176"/>
                  </a:lnTo>
                  <a:lnTo>
                    <a:pt x="149" y="164"/>
                  </a:lnTo>
                  <a:lnTo>
                    <a:pt x="135" y="157"/>
                  </a:lnTo>
                  <a:lnTo>
                    <a:pt x="123" y="151"/>
                  </a:lnTo>
                  <a:lnTo>
                    <a:pt x="113" y="144"/>
                  </a:lnTo>
                  <a:lnTo>
                    <a:pt x="109" y="140"/>
                  </a:lnTo>
                  <a:lnTo>
                    <a:pt x="106" y="136"/>
                  </a:lnTo>
                  <a:lnTo>
                    <a:pt x="103" y="132"/>
                  </a:lnTo>
                  <a:lnTo>
                    <a:pt x="101" y="127"/>
                  </a:lnTo>
                  <a:lnTo>
                    <a:pt x="100" y="121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0"/>
                  </a:lnTo>
                  <a:lnTo>
                    <a:pt x="102" y="104"/>
                  </a:lnTo>
                  <a:lnTo>
                    <a:pt x="106" y="97"/>
                  </a:lnTo>
                  <a:lnTo>
                    <a:pt x="112" y="90"/>
                  </a:lnTo>
                  <a:lnTo>
                    <a:pt x="116" y="86"/>
                  </a:lnTo>
                  <a:lnTo>
                    <a:pt x="120" y="83"/>
                  </a:lnTo>
                  <a:lnTo>
                    <a:pt x="126" y="81"/>
                  </a:lnTo>
                  <a:lnTo>
                    <a:pt x="132" y="78"/>
                  </a:lnTo>
                  <a:lnTo>
                    <a:pt x="139" y="76"/>
                  </a:lnTo>
                  <a:lnTo>
                    <a:pt x="147" y="75"/>
                  </a:lnTo>
                  <a:lnTo>
                    <a:pt x="156" y="74"/>
                  </a:lnTo>
                  <a:lnTo>
                    <a:pt x="166" y="74"/>
                  </a:lnTo>
                  <a:lnTo>
                    <a:pt x="166" y="74"/>
                  </a:lnTo>
                  <a:lnTo>
                    <a:pt x="185" y="75"/>
                  </a:lnTo>
                  <a:lnTo>
                    <a:pt x="205" y="77"/>
                  </a:lnTo>
                  <a:lnTo>
                    <a:pt x="222" y="81"/>
                  </a:lnTo>
                  <a:lnTo>
                    <a:pt x="238" y="85"/>
                  </a:lnTo>
                  <a:lnTo>
                    <a:pt x="262" y="94"/>
                  </a:lnTo>
                  <a:lnTo>
                    <a:pt x="271" y="98"/>
                  </a:lnTo>
                  <a:lnTo>
                    <a:pt x="295" y="30"/>
                  </a:lnTo>
                  <a:lnTo>
                    <a:pt x="295" y="30"/>
                  </a:lnTo>
                  <a:lnTo>
                    <a:pt x="276" y="22"/>
                  </a:lnTo>
                  <a:lnTo>
                    <a:pt x="263" y="16"/>
                  </a:lnTo>
                  <a:lnTo>
                    <a:pt x="247" y="12"/>
                  </a:lnTo>
                  <a:lnTo>
                    <a:pt x="228" y="7"/>
                  </a:lnTo>
                  <a:lnTo>
                    <a:pt x="207" y="4"/>
                  </a:lnTo>
                  <a:lnTo>
                    <a:pt x="183" y="1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143" y="1"/>
                  </a:lnTo>
                  <a:lnTo>
                    <a:pt x="129" y="2"/>
                  </a:lnTo>
                  <a:lnTo>
                    <a:pt x="115" y="4"/>
                  </a:lnTo>
                  <a:lnTo>
                    <a:pt x="102" y="8"/>
                  </a:lnTo>
                  <a:lnTo>
                    <a:pt x="88" y="12"/>
                  </a:lnTo>
                  <a:lnTo>
                    <a:pt x="76" y="17"/>
                  </a:lnTo>
                  <a:lnTo>
                    <a:pt x="64" y="24"/>
                  </a:lnTo>
                  <a:lnTo>
                    <a:pt x="53" y="31"/>
                  </a:lnTo>
                  <a:lnTo>
                    <a:pt x="42" y="39"/>
                  </a:lnTo>
                  <a:lnTo>
                    <a:pt x="33" y="47"/>
                  </a:lnTo>
                  <a:lnTo>
                    <a:pt x="25" y="58"/>
                  </a:lnTo>
                  <a:lnTo>
                    <a:pt x="19" y="69"/>
                  </a:lnTo>
                  <a:lnTo>
                    <a:pt x="13" y="80"/>
                  </a:lnTo>
                  <a:lnTo>
                    <a:pt x="9" y="94"/>
                  </a:lnTo>
                  <a:lnTo>
                    <a:pt x="7" y="107"/>
                  </a:lnTo>
                  <a:lnTo>
                    <a:pt x="6" y="122"/>
                  </a:lnTo>
                  <a:lnTo>
                    <a:pt x="6" y="122"/>
                  </a:lnTo>
                  <a:lnTo>
                    <a:pt x="7" y="137"/>
                  </a:lnTo>
                  <a:lnTo>
                    <a:pt x="9" y="150"/>
                  </a:lnTo>
                  <a:lnTo>
                    <a:pt x="13" y="164"/>
                  </a:lnTo>
                  <a:lnTo>
                    <a:pt x="19" y="175"/>
                  </a:lnTo>
                  <a:lnTo>
                    <a:pt x="25" y="185"/>
                  </a:lnTo>
                  <a:lnTo>
                    <a:pt x="33" y="194"/>
                  </a:lnTo>
                  <a:lnTo>
                    <a:pt x="42" y="203"/>
                  </a:lnTo>
                  <a:lnTo>
                    <a:pt x="51" y="210"/>
                  </a:lnTo>
                  <a:lnTo>
                    <a:pt x="62" y="217"/>
                  </a:lnTo>
                  <a:lnTo>
                    <a:pt x="73" y="223"/>
                  </a:lnTo>
                  <a:lnTo>
                    <a:pt x="84" y="229"/>
                  </a:lnTo>
                  <a:lnTo>
                    <a:pt x="95" y="235"/>
                  </a:lnTo>
                  <a:lnTo>
                    <a:pt x="119" y="243"/>
                  </a:lnTo>
                  <a:lnTo>
                    <a:pt x="142" y="251"/>
                  </a:lnTo>
                  <a:lnTo>
                    <a:pt x="142" y="251"/>
                  </a:lnTo>
                  <a:lnTo>
                    <a:pt x="171" y="261"/>
                  </a:lnTo>
                  <a:lnTo>
                    <a:pt x="184" y="266"/>
                  </a:lnTo>
                  <a:lnTo>
                    <a:pt x="196" y="273"/>
                  </a:lnTo>
                  <a:lnTo>
                    <a:pt x="205" y="280"/>
                  </a:lnTo>
                  <a:lnTo>
                    <a:pt x="211" y="287"/>
                  </a:lnTo>
                  <a:lnTo>
                    <a:pt x="214" y="291"/>
                  </a:lnTo>
                  <a:lnTo>
                    <a:pt x="216" y="296"/>
                  </a:lnTo>
                  <a:lnTo>
                    <a:pt x="217" y="300"/>
                  </a:lnTo>
                  <a:lnTo>
                    <a:pt x="217" y="306"/>
                  </a:lnTo>
                  <a:lnTo>
                    <a:pt x="217" y="306"/>
                  </a:lnTo>
                  <a:lnTo>
                    <a:pt x="217" y="315"/>
                  </a:lnTo>
                  <a:lnTo>
                    <a:pt x="214" y="324"/>
                  </a:lnTo>
                  <a:lnTo>
                    <a:pt x="212" y="328"/>
                  </a:lnTo>
                  <a:lnTo>
                    <a:pt x="209" y="332"/>
                  </a:lnTo>
                  <a:lnTo>
                    <a:pt x="206" y="335"/>
                  </a:lnTo>
                  <a:lnTo>
                    <a:pt x="202" y="340"/>
                  </a:lnTo>
                  <a:lnTo>
                    <a:pt x="197" y="343"/>
                  </a:lnTo>
                  <a:lnTo>
                    <a:pt x="190" y="346"/>
                  </a:lnTo>
                  <a:lnTo>
                    <a:pt x="184" y="348"/>
                  </a:lnTo>
                  <a:lnTo>
                    <a:pt x="176" y="350"/>
                  </a:lnTo>
                  <a:lnTo>
                    <a:pt x="167" y="352"/>
                  </a:lnTo>
                  <a:lnTo>
                    <a:pt x="158" y="353"/>
                  </a:lnTo>
                  <a:lnTo>
                    <a:pt x="134" y="354"/>
                  </a:lnTo>
                  <a:lnTo>
                    <a:pt x="134" y="354"/>
                  </a:lnTo>
                  <a:lnTo>
                    <a:pt x="113" y="354"/>
                  </a:lnTo>
                  <a:lnTo>
                    <a:pt x="92" y="352"/>
                  </a:lnTo>
                  <a:lnTo>
                    <a:pt x="55" y="348"/>
                  </a:lnTo>
                  <a:lnTo>
                    <a:pt x="28" y="344"/>
                  </a:lnTo>
                  <a:lnTo>
                    <a:pt x="18" y="342"/>
                  </a:lnTo>
                  <a:lnTo>
                    <a:pt x="0" y="41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  <p:sp>
          <p:nvSpPr>
            <p:cNvPr id="43" name="Freeform 14"/>
            <p:cNvSpPr>
              <a:spLocks/>
            </p:cNvSpPr>
            <p:nvPr userDrawn="1"/>
          </p:nvSpPr>
          <p:spPr bwMode="auto">
            <a:xfrm>
              <a:off x="5059" y="3992"/>
              <a:ext cx="48" cy="71"/>
            </a:xfrm>
            <a:custGeom>
              <a:avLst/>
              <a:gdLst>
                <a:gd name="T0" fmla="*/ 0 w 194"/>
                <a:gd name="T1" fmla="*/ 7 h 282"/>
                <a:gd name="T2" fmla="*/ 0 w 194"/>
                <a:gd name="T3" fmla="*/ 7 h 282"/>
                <a:gd name="T4" fmla="*/ 14 w 194"/>
                <a:gd name="T5" fmla="*/ 4 h 282"/>
                <a:gd name="T6" fmla="*/ 31 w 194"/>
                <a:gd name="T7" fmla="*/ 2 h 282"/>
                <a:gd name="T8" fmla="*/ 52 w 194"/>
                <a:gd name="T9" fmla="*/ 0 h 282"/>
                <a:gd name="T10" fmla="*/ 73 w 194"/>
                <a:gd name="T11" fmla="*/ 0 h 282"/>
                <a:gd name="T12" fmla="*/ 73 w 194"/>
                <a:gd name="T13" fmla="*/ 0 h 282"/>
                <a:gd name="T14" fmla="*/ 87 w 194"/>
                <a:gd name="T15" fmla="*/ 0 h 282"/>
                <a:gd name="T16" fmla="*/ 98 w 194"/>
                <a:gd name="T17" fmla="*/ 1 h 282"/>
                <a:gd name="T18" fmla="*/ 110 w 194"/>
                <a:gd name="T19" fmla="*/ 4 h 282"/>
                <a:gd name="T20" fmla="*/ 121 w 194"/>
                <a:gd name="T21" fmla="*/ 7 h 282"/>
                <a:gd name="T22" fmla="*/ 132 w 194"/>
                <a:gd name="T23" fmla="*/ 11 h 282"/>
                <a:gd name="T24" fmla="*/ 141 w 194"/>
                <a:gd name="T25" fmla="*/ 17 h 282"/>
                <a:gd name="T26" fmla="*/ 151 w 194"/>
                <a:gd name="T27" fmla="*/ 24 h 282"/>
                <a:gd name="T28" fmla="*/ 159 w 194"/>
                <a:gd name="T29" fmla="*/ 31 h 282"/>
                <a:gd name="T30" fmla="*/ 166 w 194"/>
                <a:gd name="T31" fmla="*/ 40 h 282"/>
                <a:gd name="T32" fmla="*/ 174 w 194"/>
                <a:gd name="T33" fmla="*/ 49 h 282"/>
                <a:gd name="T34" fmla="*/ 180 w 194"/>
                <a:gd name="T35" fmla="*/ 61 h 282"/>
                <a:gd name="T36" fmla="*/ 185 w 194"/>
                <a:gd name="T37" fmla="*/ 74 h 282"/>
                <a:gd name="T38" fmla="*/ 189 w 194"/>
                <a:gd name="T39" fmla="*/ 88 h 282"/>
                <a:gd name="T40" fmla="*/ 192 w 194"/>
                <a:gd name="T41" fmla="*/ 103 h 282"/>
                <a:gd name="T42" fmla="*/ 193 w 194"/>
                <a:gd name="T43" fmla="*/ 119 h 282"/>
                <a:gd name="T44" fmla="*/ 194 w 194"/>
                <a:gd name="T45" fmla="*/ 138 h 282"/>
                <a:gd name="T46" fmla="*/ 194 w 194"/>
                <a:gd name="T47" fmla="*/ 138 h 282"/>
                <a:gd name="T48" fmla="*/ 194 w 194"/>
                <a:gd name="T49" fmla="*/ 155 h 282"/>
                <a:gd name="T50" fmla="*/ 193 w 194"/>
                <a:gd name="T51" fmla="*/ 172 h 282"/>
                <a:gd name="T52" fmla="*/ 191 w 194"/>
                <a:gd name="T53" fmla="*/ 187 h 282"/>
                <a:gd name="T54" fmla="*/ 188 w 194"/>
                <a:gd name="T55" fmla="*/ 202 h 282"/>
                <a:gd name="T56" fmla="*/ 185 w 194"/>
                <a:gd name="T57" fmla="*/ 215 h 282"/>
                <a:gd name="T58" fmla="*/ 181 w 194"/>
                <a:gd name="T59" fmla="*/ 226 h 282"/>
                <a:gd name="T60" fmla="*/ 175 w 194"/>
                <a:gd name="T61" fmla="*/ 238 h 282"/>
                <a:gd name="T62" fmla="*/ 168 w 194"/>
                <a:gd name="T63" fmla="*/ 247 h 282"/>
                <a:gd name="T64" fmla="*/ 160 w 194"/>
                <a:gd name="T65" fmla="*/ 255 h 282"/>
                <a:gd name="T66" fmla="*/ 151 w 194"/>
                <a:gd name="T67" fmla="*/ 262 h 282"/>
                <a:gd name="T68" fmla="*/ 141 w 194"/>
                <a:gd name="T69" fmla="*/ 269 h 282"/>
                <a:gd name="T70" fmla="*/ 129 w 194"/>
                <a:gd name="T71" fmla="*/ 274 h 282"/>
                <a:gd name="T72" fmla="*/ 115 w 194"/>
                <a:gd name="T73" fmla="*/ 277 h 282"/>
                <a:gd name="T74" fmla="*/ 100 w 194"/>
                <a:gd name="T75" fmla="*/ 280 h 282"/>
                <a:gd name="T76" fmla="*/ 84 w 194"/>
                <a:gd name="T77" fmla="*/ 282 h 282"/>
                <a:gd name="T78" fmla="*/ 65 w 194"/>
                <a:gd name="T79" fmla="*/ 282 h 282"/>
                <a:gd name="T80" fmla="*/ 65 w 194"/>
                <a:gd name="T81" fmla="*/ 282 h 282"/>
                <a:gd name="T82" fmla="*/ 42 w 194"/>
                <a:gd name="T83" fmla="*/ 281 h 282"/>
                <a:gd name="T84" fmla="*/ 20 w 194"/>
                <a:gd name="T85" fmla="*/ 280 h 282"/>
                <a:gd name="T86" fmla="*/ 0 w 194"/>
                <a:gd name="T87" fmla="*/ 278 h 282"/>
                <a:gd name="T88" fmla="*/ 0 w 194"/>
                <a:gd name="T89" fmla="*/ 7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4" h="282">
                  <a:moveTo>
                    <a:pt x="0" y="7"/>
                  </a:moveTo>
                  <a:lnTo>
                    <a:pt x="0" y="7"/>
                  </a:lnTo>
                  <a:lnTo>
                    <a:pt x="14" y="4"/>
                  </a:lnTo>
                  <a:lnTo>
                    <a:pt x="31" y="2"/>
                  </a:lnTo>
                  <a:lnTo>
                    <a:pt x="52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87" y="0"/>
                  </a:lnTo>
                  <a:lnTo>
                    <a:pt x="98" y="1"/>
                  </a:lnTo>
                  <a:lnTo>
                    <a:pt x="110" y="4"/>
                  </a:lnTo>
                  <a:lnTo>
                    <a:pt x="121" y="7"/>
                  </a:lnTo>
                  <a:lnTo>
                    <a:pt x="132" y="11"/>
                  </a:lnTo>
                  <a:lnTo>
                    <a:pt x="141" y="17"/>
                  </a:lnTo>
                  <a:lnTo>
                    <a:pt x="151" y="24"/>
                  </a:lnTo>
                  <a:lnTo>
                    <a:pt x="159" y="31"/>
                  </a:lnTo>
                  <a:lnTo>
                    <a:pt x="166" y="40"/>
                  </a:lnTo>
                  <a:lnTo>
                    <a:pt x="174" y="49"/>
                  </a:lnTo>
                  <a:lnTo>
                    <a:pt x="180" y="61"/>
                  </a:lnTo>
                  <a:lnTo>
                    <a:pt x="185" y="74"/>
                  </a:lnTo>
                  <a:lnTo>
                    <a:pt x="189" y="88"/>
                  </a:lnTo>
                  <a:lnTo>
                    <a:pt x="192" y="103"/>
                  </a:lnTo>
                  <a:lnTo>
                    <a:pt x="193" y="119"/>
                  </a:lnTo>
                  <a:lnTo>
                    <a:pt x="194" y="138"/>
                  </a:lnTo>
                  <a:lnTo>
                    <a:pt x="194" y="138"/>
                  </a:lnTo>
                  <a:lnTo>
                    <a:pt x="194" y="155"/>
                  </a:lnTo>
                  <a:lnTo>
                    <a:pt x="193" y="172"/>
                  </a:lnTo>
                  <a:lnTo>
                    <a:pt x="191" y="187"/>
                  </a:lnTo>
                  <a:lnTo>
                    <a:pt x="188" y="202"/>
                  </a:lnTo>
                  <a:lnTo>
                    <a:pt x="185" y="215"/>
                  </a:lnTo>
                  <a:lnTo>
                    <a:pt x="181" y="226"/>
                  </a:lnTo>
                  <a:lnTo>
                    <a:pt x="175" y="238"/>
                  </a:lnTo>
                  <a:lnTo>
                    <a:pt x="168" y="247"/>
                  </a:lnTo>
                  <a:lnTo>
                    <a:pt x="160" y="255"/>
                  </a:lnTo>
                  <a:lnTo>
                    <a:pt x="151" y="262"/>
                  </a:lnTo>
                  <a:lnTo>
                    <a:pt x="141" y="269"/>
                  </a:lnTo>
                  <a:lnTo>
                    <a:pt x="129" y="274"/>
                  </a:lnTo>
                  <a:lnTo>
                    <a:pt x="115" y="277"/>
                  </a:lnTo>
                  <a:lnTo>
                    <a:pt x="100" y="280"/>
                  </a:lnTo>
                  <a:lnTo>
                    <a:pt x="84" y="282"/>
                  </a:lnTo>
                  <a:lnTo>
                    <a:pt x="65" y="282"/>
                  </a:lnTo>
                  <a:lnTo>
                    <a:pt x="65" y="282"/>
                  </a:lnTo>
                  <a:lnTo>
                    <a:pt x="42" y="281"/>
                  </a:lnTo>
                  <a:lnTo>
                    <a:pt x="20" y="280"/>
                  </a:lnTo>
                  <a:lnTo>
                    <a:pt x="0" y="278"/>
                  </a:lnTo>
                  <a:lnTo>
                    <a:pt x="0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  <p:sp>
          <p:nvSpPr>
            <p:cNvPr id="44" name="Freeform 15"/>
            <p:cNvSpPr>
              <a:spLocks/>
            </p:cNvSpPr>
            <p:nvPr userDrawn="1"/>
          </p:nvSpPr>
          <p:spPr bwMode="auto">
            <a:xfrm>
              <a:off x="5035" y="3974"/>
              <a:ext cx="97" cy="107"/>
            </a:xfrm>
            <a:custGeom>
              <a:avLst/>
              <a:gdLst>
                <a:gd name="T0" fmla="*/ 171 w 385"/>
                <a:gd name="T1" fmla="*/ 0 h 428"/>
                <a:gd name="T2" fmla="*/ 171 w 385"/>
                <a:gd name="T3" fmla="*/ 0 h 428"/>
                <a:gd name="T4" fmla="*/ 150 w 385"/>
                <a:gd name="T5" fmla="*/ 1 h 428"/>
                <a:gd name="T6" fmla="*/ 129 w 385"/>
                <a:gd name="T7" fmla="*/ 2 h 428"/>
                <a:gd name="T8" fmla="*/ 106 w 385"/>
                <a:gd name="T9" fmla="*/ 4 h 428"/>
                <a:gd name="T10" fmla="*/ 83 w 385"/>
                <a:gd name="T11" fmla="*/ 7 h 428"/>
                <a:gd name="T12" fmla="*/ 60 w 385"/>
                <a:gd name="T13" fmla="*/ 10 h 428"/>
                <a:gd name="T14" fmla="*/ 39 w 385"/>
                <a:gd name="T15" fmla="*/ 14 h 428"/>
                <a:gd name="T16" fmla="*/ 18 w 385"/>
                <a:gd name="T17" fmla="*/ 20 h 428"/>
                <a:gd name="T18" fmla="*/ 0 w 385"/>
                <a:gd name="T19" fmla="*/ 26 h 428"/>
                <a:gd name="T20" fmla="*/ 0 w 385"/>
                <a:gd name="T21" fmla="*/ 415 h 428"/>
                <a:gd name="T22" fmla="*/ 0 w 385"/>
                <a:gd name="T23" fmla="*/ 415 h 428"/>
                <a:gd name="T24" fmla="*/ 15 w 385"/>
                <a:gd name="T25" fmla="*/ 418 h 428"/>
                <a:gd name="T26" fmla="*/ 34 w 385"/>
                <a:gd name="T27" fmla="*/ 420 h 428"/>
                <a:gd name="T28" fmla="*/ 73 w 385"/>
                <a:gd name="T29" fmla="*/ 424 h 428"/>
                <a:gd name="T30" fmla="*/ 116 w 385"/>
                <a:gd name="T31" fmla="*/ 427 h 428"/>
                <a:gd name="T32" fmla="*/ 155 w 385"/>
                <a:gd name="T33" fmla="*/ 428 h 428"/>
                <a:gd name="T34" fmla="*/ 155 w 385"/>
                <a:gd name="T35" fmla="*/ 428 h 428"/>
                <a:gd name="T36" fmla="*/ 186 w 385"/>
                <a:gd name="T37" fmla="*/ 427 h 428"/>
                <a:gd name="T38" fmla="*/ 212 w 385"/>
                <a:gd name="T39" fmla="*/ 425 h 428"/>
                <a:gd name="T40" fmla="*/ 238 w 385"/>
                <a:gd name="T41" fmla="*/ 421 h 428"/>
                <a:gd name="T42" fmla="*/ 261 w 385"/>
                <a:gd name="T43" fmla="*/ 415 h 428"/>
                <a:gd name="T44" fmla="*/ 282 w 385"/>
                <a:gd name="T45" fmla="*/ 408 h 428"/>
                <a:gd name="T46" fmla="*/ 301 w 385"/>
                <a:gd name="T47" fmla="*/ 399 h 428"/>
                <a:gd name="T48" fmla="*/ 309 w 385"/>
                <a:gd name="T49" fmla="*/ 394 h 428"/>
                <a:gd name="T50" fmla="*/ 318 w 385"/>
                <a:gd name="T51" fmla="*/ 389 h 428"/>
                <a:gd name="T52" fmla="*/ 326 w 385"/>
                <a:gd name="T53" fmla="*/ 383 h 428"/>
                <a:gd name="T54" fmla="*/ 333 w 385"/>
                <a:gd name="T55" fmla="*/ 377 h 428"/>
                <a:gd name="T56" fmla="*/ 339 w 385"/>
                <a:gd name="T57" fmla="*/ 369 h 428"/>
                <a:gd name="T58" fmla="*/ 345 w 385"/>
                <a:gd name="T59" fmla="*/ 362 h 428"/>
                <a:gd name="T60" fmla="*/ 351 w 385"/>
                <a:gd name="T61" fmla="*/ 355 h 428"/>
                <a:gd name="T62" fmla="*/ 356 w 385"/>
                <a:gd name="T63" fmla="*/ 347 h 428"/>
                <a:gd name="T64" fmla="*/ 361 w 385"/>
                <a:gd name="T65" fmla="*/ 337 h 428"/>
                <a:gd name="T66" fmla="*/ 366 w 385"/>
                <a:gd name="T67" fmla="*/ 329 h 428"/>
                <a:gd name="T68" fmla="*/ 373 w 385"/>
                <a:gd name="T69" fmla="*/ 309 h 428"/>
                <a:gd name="T70" fmla="*/ 378 w 385"/>
                <a:gd name="T71" fmla="*/ 287 h 428"/>
                <a:gd name="T72" fmla="*/ 382 w 385"/>
                <a:gd name="T73" fmla="*/ 264 h 428"/>
                <a:gd name="T74" fmla="*/ 384 w 385"/>
                <a:gd name="T75" fmla="*/ 239 h 428"/>
                <a:gd name="T76" fmla="*/ 385 w 385"/>
                <a:gd name="T77" fmla="*/ 211 h 428"/>
                <a:gd name="T78" fmla="*/ 385 w 385"/>
                <a:gd name="T79" fmla="*/ 211 h 428"/>
                <a:gd name="T80" fmla="*/ 384 w 385"/>
                <a:gd name="T81" fmla="*/ 187 h 428"/>
                <a:gd name="T82" fmla="*/ 381 w 385"/>
                <a:gd name="T83" fmla="*/ 164 h 428"/>
                <a:gd name="T84" fmla="*/ 377 w 385"/>
                <a:gd name="T85" fmla="*/ 143 h 428"/>
                <a:gd name="T86" fmla="*/ 371 w 385"/>
                <a:gd name="T87" fmla="*/ 122 h 428"/>
                <a:gd name="T88" fmla="*/ 363 w 385"/>
                <a:gd name="T89" fmla="*/ 104 h 428"/>
                <a:gd name="T90" fmla="*/ 352 w 385"/>
                <a:gd name="T91" fmla="*/ 86 h 428"/>
                <a:gd name="T92" fmla="*/ 341 w 385"/>
                <a:gd name="T93" fmla="*/ 71 h 428"/>
                <a:gd name="T94" fmla="*/ 328 w 385"/>
                <a:gd name="T95" fmla="*/ 57 h 428"/>
                <a:gd name="T96" fmla="*/ 314 w 385"/>
                <a:gd name="T97" fmla="*/ 43 h 428"/>
                <a:gd name="T98" fmla="*/ 297 w 385"/>
                <a:gd name="T99" fmla="*/ 32 h 428"/>
                <a:gd name="T100" fmla="*/ 280 w 385"/>
                <a:gd name="T101" fmla="*/ 23 h 428"/>
                <a:gd name="T102" fmla="*/ 260 w 385"/>
                <a:gd name="T103" fmla="*/ 14 h 428"/>
                <a:gd name="T104" fmla="*/ 240 w 385"/>
                <a:gd name="T105" fmla="*/ 8 h 428"/>
                <a:gd name="T106" fmla="*/ 218 w 385"/>
                <a:gd name="T107" fmla="*/ 4 h 428"/>
                <a:gd name="T108" fmla="*/ 195 w 385"/>
                <a:gd name="T109" fmla="*/ 1 h 428"/>
                <a:gd name="T110" fmla="*/ 171 w 385"/>
                <a:gd name="T111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5" h="428">
                  <a:moveTo>
                    <a:pt x="171" y="0"/>
                  </a:moveTo>
                  <a:lnTo>
                    <a:pt x="171" y="0"/>
                  </a:lnTo>
                  <a:lnTo>
                    <a:pt x="150" y="1"/>
                  </a:lnTo>
                  <a:lnTo>
                    <a:pt x="129" y="2"/>
                  </a:lnTo>
                  <a:lnTo>
                    <a:pt x="106" y="4"/>
                  </a:lnTo>
                  <a:lnTo>
                    <a:pt x="83" y="7"/>
                  </a:lnTo>
                  <a:lnTo>
                    <a:pt x="60" y="10"/>
                  </a:lnTo>
                  <a:lnTo>
                    <a:pt x="39" y="14"/>
                  </a:lnTo>
                  <a:lnTo>
                    <a:pt x="18" y="20"/>
                  </a:lnTo>
                  <a:lnTo>
                    <a:pt x="0" y="26"/>
                  </a:lnTo>
                  <a:lnTo>
                    <a:pt x="0" y="415"/>
                  </a:lnTo>
                  <a:lnTo>
                    <a:pt x="0" y="415"/>
                  </a:lnTo>
                  <a:lnTo>
                    <a:pt x="15" y="418"/>
                  </a:lnTo>
                  <a:lnTo>
                    <a:pt x="34" y="420"/>
                  </a:lnTo>
                  <a:lnTo>
                    <a:pt x="73" y="424"/>
                  </a:lnTo>
                  <a:lnTo>
                    <a:pt x="116" y="427"/>
                  </a:lnTo>
                  <a:lnTo>
                    <a:pt x="155" y="428"/>
                  </a:lnTo>
                  <a:lnTo>
                    <a:pt x="155" y="428"/>
                  </a:lnTo>
                  <a:lnTo>
                    <a:pt x="186" y="427"/>
                  </a:lnTo>
                  <a:lnTo>
                    <a:pt x="212" y="425"/>
                  </a:lnTo>
                  <a:lnTo>
                    <a:pt x="238" y="421"/>
                  </a:lnTo>
                  <a:lnTo>
                    <a:pt x="261" y="415"/>
                  </a:lnTo>
                  <a:lnTo>
                    <a:pt x="282" y="408"/>
                  </a:lnTo>
                  <a:lnTo>
                    <a:pt x="301" y="399"/>
                  </a:lnTo>
                  <a:lnTo>
                    <a:pt x="309" y="394"/>
                  </a:lnTo>
                  <a:lnTo>
                    <a:pt x="318" y="389"/>
                  </a:lnTo>
                  <a:lnTo>
                    <a:pt x="326" y="383"/>
                  </a:lnTo>
                  <a:lnTo>
                    <a:pt x="333" y="377"/>
                  </a:lnTo>
                  <a:lnTo>
                    <a:pt x="339" y="369"/>
                  </a:lnTo>
                  <a:lnTo>
                    <a:pt x="345" y="362"/>
                  </a:lnTo>
                  <a:lnTo>
                    <a:pt x="351" y="355"/>
                  </a:lnTo>
                  <a:lnTo>
                    <a:pt x="356" y="347"/>
                  </a:lnTo>
                  <a:lnTo>
                    <a:pt x="361" y="337"/>
                  </a:lnTo>
                  <a:lnTo>
                    <a:pt x="366" y="329"/>
                  </a:lnTo>
                  <a:lnTo>
                    <a:pt x="373" y="309"/>
                  </a:lnTo>
                  <a:lnTo>
                    <a:pt x="378" y="287"/>
                  </a:lnTo>
                  <a:lnTo>
                    <a:pt x="382" y="264"/>
                  </a:lnTo>
                  <a:lnTo>
                    <a:pt x="384" y="239"/>
                  </a:lnTo>
                  <a:lnTo>
                    <a:pt x="385" y="211"/>
                  </a:lnTo>
                  <a:lnTo>
                    <a:pt x="385" y="211"/>
                  </a:lnTo>
                  <a:lnTo>
                    <a:pt x="384" y="187"/>
                  </a:lnTo>
                  <a:lnTo>
                    <a:pt x="381" y="164"/>
                  </a:lnTo>
                  <a:lnTo>
                    <a:pt x="377" y="143"/>
                  </a:lnTo>
                  <a:lnTo>
                    <a:pt x="371" y="122"/>
                  </a:lnTo>
                  <a:lnTo>
                    <a:pt x="363" y="104"/>
                  </a:lnTo>
                  <a:lnTo>
                    <a:pt x="352" y="86"/>
                  </a:lnTo>
                  <a:lnTo>
                    <a:pt x="341" y="71"/>
                  </a:lnTo>
                  <a:lnTo>
                    <a:pt x="328" y="57"/>
                  </a:lnTo>
                  <a:lnTo>
                    <a:pt x="314" y="43"/>
                  </a:lnTo>
                  <a:lnTo>
                    <a:pt x="297" y="32"/>
                  </a:lnTo>
                  <a:lnTo>
                    <a:pt x="280" y="23"/>
                  </a:lnTo>
                  <a:lnTo>
                    <a:pt x="260" y="14"/>
                  </a:lnTo>
                  <a:lnTo>
                    <a:pt x="240" y="8"/>
                  </a:lnTo>
                  <a:lnTo>
                    <a:pt x="218" y="4"/>
                  </a:lnTo>
                  <a:lnTo>
                    <a:pt x="195" y="1"/>
                  </a:lnTo>
                  <a:lnTo>
                    <a:pt x="17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5EB8"/>
                </a:solidFill>
              </a:endParaRPr>
            </a:p>
          </p:txBody>
        </p:sp>
      </p:grpSp>
      <p:cxnSp>
        <p:nvCxnSpPr>
          <p:cNvPr id="25" name="Conector recto 12"/>
          <p:cNvCxnSpPr/>
          <p:nvPr userDrawn="1"/>
        </p:nvCxnSpPr>
        <p:spPr>
          <a:xfrm flipH="1">
            <a:off x="388938" y="3351542"/>
            <a:ext cx="1841652" cy="0"/>
          </a:xfrm>
          <a:prstGeom prst="line">
            <a:avLst/>
          </a:prstGeom>
          <a:noFill/>
          <a:ln w="12700" cap="flat" cmpd="sng" algn="ctr">
            <a:solidFill>
              <a:schemeClr val="accent3"/>
            </a:solidFill>
            <a:prstDash val="solid"/>
          </a:ln>
          <a:effectLst/>
        </p:spPr>
      </p:cxnSp>
      <p:sp>
        <p:nvSpPr>
          <p:cNvPr id="26" name="TextBox 25"/>
          <p:cNvSpPr txBox="1"/>
          <p:nvPr userDrawn="1"/>
        </p:nvSpPr>
        <p:spPr>
          <a:xfrm>
            <a:off x="2287740" y="3032191"/>
            <a:ext cx="5870370" cy="415859"/>
          </a:xfrm>
          <a:prstGeom prst="rect">
            <a:avLst/>
          </a:prstGeom>
          <a:noFill/>
        </p:spPr>
        <p:txBody>
          <a:bodyPr wrap="square" lIns="90000" rIns="90000" rtlCol="0">
            <a:noAutofit/>
          </a:bodyPr>
          <a:lstStyle/>
          <a:p>
            <a:pPr defTabSz="895350">
              <a:buClr>
                <a:srgbClr val="00A9E0"/>
              </a:buClr>
              <a:buSzPct val="120000"/>
              <a:buFont typeface="Verdana" pitchFamily="34" charset="0"/>
              <a:buNone/>
            </a:pPr>
            <a:r>
              <a:rPr lang="en-US" sz="2000" dirty="0" smtClean="0">
                <a:solidFill>
                  <a:srgbClr val="00A9E0"/>
                </a:solidFill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707055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ST - 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Conector recto 12"/>
          <p:cNvCxnSpPr/>
          <p:nvPr userDrawn="1"/>
        </p:nvCxnSpPr>
        <p:spPr>
          <a:xfrm flipH="1">
            <a:off x="414971" y="6309320"/>
            <a:ext cx="4680518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</a:ln>
          <a:effectLst/>
        </p:spPr>
      </p:cxnSp>
      <p:sp>
        <p:nvSpPr>
          <p:cNvPr id="23" name="Rectangle 10"/>
          <p:cNvSpPr txBox="1">
            <a:spLocks noChangeArrowheads="1"/>
          </p:cNvSpPr>
          <p:nvPr userDrawn="1"/>
        </p:nvSpPr>
        <p:spPr>
          <a:xfrm>
            <a:off x="414971" y="6488689"/>
            <a:ext cx="1771650" cy="211203"/>
          </a:xfrm>
          <a:prstGeom prst="rect">
            <a:avLst/>
          </a:prstGeom>
          <a:ln/>
        </p:spPr>
        <p:txBody>
          <a:bodyPr vert="horz" lIns="0" tIns="36000" rIns="0" bIns="3600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accent6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dirty="0" smtClean="0">
                <a:solidFill>
                  <a:srgbClr val="005EB8"/>
                </a:solidFill>
              </a:rPr>
              <a:t>Page </a:t>
            </a:r>
            <a:fld id="{4A1B87DD-86B5-48CA-9454-66C05345144F}" type="slidenum">
              <a:rPr lang="en-US" smtClean="0">
                <a:solidFill>
                  <a:srgbClr val="005EB8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5EB8"/>
              </a:solidFill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86379" y="1309683"/>
            <a:ext cx="8482017" cy="4570732"/>
          </a:xfrm>
          <a:prstGeom prst="rect">
            <a:avLst/>
          </a:prstGeom>
        </p:spPr>
        <p:txBody>
          <a:bodyPr lIns="72000" rIns="72000">
            <a:noAutofit/>
          </a:bodyPr>
          <a:lstStyle>
            <a:lvl1pPr marL="363538" indent="-365125">
              <a:spcBef>
                <a:spcPts val="0"/>
              </a:spcBef>
              <a:buClr>
                <a:schemeClr val="accent3"/>
              </a:buClr>
              <a:buSzPct val="120000"/>
              <a:buFont typeface="Verdana" pitchFamily="34" charset="0"/>
              <a:buChar char="_"/>
              <a:defRPr sz="1600">
                <a:solidFill>
                  <a:schemeClr val="tx1"/>
                </a:solidFill>
                <a:latin typeface="+mj-lt"/>
              </a:defRPr>
            </a:lvl1pPr>
            <a:lvl2pPr marL="628650" indent="-184150">
              <a:spcBef>
                <a:spcPts val="0"/>
              </a:spcBef>
              <a:buClr>
                <a:schemeClr val="accent3"/>
              </a:buClr>
              <a:buSzPct val="12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2pPr>
            <a:lvl3pPr marL="542925" indent="-161925">
              <a:spcBef>
                <a:spcPts val="0"/>
              </a:spcBef>
              <a:buClr>
                <a:schemeClr val="accent3"/>
              </a:buClr>
              <a:buSzPct val="12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3pPr>
            <a:lvl4pPr marL="895350" indent="-174625">
              <a:spcBef>
                <a:spcPts val="0"/>
              </a:spcBef>
              <a:buClr>
                <a:schemeClr val="accent3"/>
              </a:buClr>
              <a:buSzPct val="80000"/>
              <a:buFont typeface="Courier New" panose="02070309020205020404" pitchFamily="49" charset="0"/>
              <a:buChar char="o"/>
              <a:defRPr sz="1600">
                <a:solidFill>
                  <a:schemeClr val="tx1"/>
                </a:solidFill>
                <a:latin typeface="+mj-lt"/>
              </a:defRPr>
            </a:lvl4pPr>
            <a:lvl5pPr marL="1162050" indent="-171450">
              <a:spcBef>
                <a:spcPts val="0"/>
              </a:spcBef>
              <a:buClr>
                <a:schemeClr val="accent3"/>
              </a:buClr>
              <a:buSzPct val="120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86379" y="878788"/>
            <a:ext cx="7920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160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lang="en-US" sz="2200" smtClean="0">
                <a:solidFill>
                  <a:srgbClr val="1A61A9"/>
                </a:solidFill>
                <a:latin typeface="Arial" charset="0"/>
              </a:defRPr>
            </a:lvl2pPr>
            <a:lvl3pPr marL="914400" indent="0">
              <a:buNone/>
              <a:defRPr lang="en-US" sz="2200" smtClean="0">
                <a:solidFill>
                  <a:srgbClr val="1A61A9"/>
                </a:solidFill>
                <a:latin typeface="Arial" charset="0"/>
              </a:defRPr>
            </a:lvl3pPr>
            <a:lvl4pPr marL="1371600" indent="0">
              <a:buNone/>
              <a:defRPr lang="en-US" sz="2200" smtClean="0">
                <a:solidFill>
                  <a:srgbClr val="1A61A9"/>
                </a:solidFill>
                <a:latin typeface="Arial" charset="0"/>
              </a:defRPr>
            </a:lvl4pPr>
            <a:lvl5pPr marL="1828800" indent="0">
              <a:buNone/>
              <a:defRPr lang="en-US" sz="2200">
                <a:solidFill>
                  <a:srgbClr val="1A61A9"/>
                </a:solidFill>
                <a:latin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subtitle style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286379" y="198055"/>
            <a:ext cx="7920000" cy="674489"/>
          </a:xfrm>
          <a:prstGeom prst="rect">
            <a:avLst/>
          </a:prstGeom>
        </p:spPr>
        <p:txBody>
          <a:bodyPr lIns="0" anchor="ctr" anchorCtr="0"/>
          <a:lstStyle>
            <a:lvl1pPr>
              <a:lnSpc>
                <a:spcPct val="90000"/>
              </a:lnSpc>
              <a:defRPr sz="2000" baseline="0">
                <a:solidFill>
                  <a:schemeClr val="accent1"/>
                </a:solidFill>
                <a:latin typeface="Verdana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843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vmlDrawing" Target="../drawings/vmlDrawing3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5.v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12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7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 rot="16200000">
            <a:off x="6669131" y="3741732"/>
            <a:ext cx="4643437" cy="274648"/>
          </a:xfrm>
          <a:prstGeom prst="rect">
            <a:avLst/>
          </a:prstGeom>
        </p:spPr>
        <p:txBody>
          <a:bodyPr vert="horz" lIns="324000" tIns="0" rIns="0" bIns="0" rtlCol="0" anchor="ctr"/>
          <a:lstStyle>
            <a:lvl1pPr algn="l">
              <a:defRPr sz="7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FFFFFF">
                    <a:lumMod val="65000"/>
                  </a:srgbClr>
                </a:solidFill>
              </a:rPr>
              <a:t>© 2015 Amadeus IT Group SA</a:t>
            </a:r>
            <a:endParaRPr lang="en-GB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2523" y="8999"/>
            <a:ext cx="8221884" cy="755705"/>
          </a:xfrm>
          <a:prstGeom prst="rect">
            <a:avLst/>
          </a:prstGeom>
        </p:spPr>
        <p:txBody>
          <a:bodyPr vert="horz" lIns="50400" tIns="45720" rIns="0" bIns="45720" rtlCol="0" anchor="t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2523" y="764704"/>
            <a:ext cx="8229347" cy="55881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6" name="Text Box 12"/>
          <p:cNvSpPr txBox="1">
            <a:spLocks noChangeArrowheads="1"/>
          </p:cNvSpPr>
          <p:nvPr/>
        </p:nvSpPr>
        <p:spPr bwMode="auto">
          <a:xfrm>
            <a:off x="9209167" y="5296057"/>
            <a:ext cx="1843553" cy="969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tabLst>
                <a:tab pos="177800" algn="l"/>
              </a:tabLst>
              <a:defRPr/>
            </a:pPr>
            <a:r>
              <a:rPr lang="en-GB" sz="900" b="1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Change the Year in the Copyright field</a:t>
            </a:r>
            <a: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/>
            </a:r>
            <a:b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</a:br>
            <a:r>
              <a:rPr lang="en-GB" sz="900" b="1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1. </a:t>
            </a:r>
            <a: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Click ‘Insert’ in Top menu</a:t>
            </a:r>
            <a:b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</a:br>
            <a:r>
              <a:rPr lang="en-GB" sz="900" b="1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2. </a:t>
            </a:r>
            <a: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Click ’Header &amp; Footer’ </a:t>
            </a:r>
            <a:b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</a:br>
            <a:r>
              <a:rPr lang="en-GB" sz="900" b="1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3. </a:t>
            </a:r>
            <a: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Write new Year </a:t>
            </a:r>
            <a:b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</a:br>
            <a: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	in field ‘Footer’</a:t>
            </a:r>
            <a:b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</a:br>
            <a:r>
              <a:rPr lang="en-GB" sz="900" b="1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4. </a:t>
            </a:r>
            <a: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Click ‘Apply to All’</a:t>
            </a:r>
          </a:p>
        </p:txBody>
      </p:sp>
      <p:cxnSp>
        <p:nvCxnSpPr>
          <p:cNvPr id="29" name="Conector recto 12"/>
          <p:cNvCxnSpPr/>
          <p:nvPr/>
        </p:nvCxnSpPr>
        <p:spPr>
          <a:xfrm flipH="1">
            <a:off x="322523" y="6352865"/>
            <a:ext cx="4715145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AutoShape 3"/>
          <p:cNvSpPr>
            <a:spLocks noChangeAspect="1" noChangeArrowheads="1" noTextEdit="1"/>
          </p:cNvSpPr>
          <p:nvPr/>
        </p:nvSpPr>
        <p:spPr bwMode="auto">
          <a:xfrm>
            <a:off x="7770859" y="6482312"/>
            <a:ext cx="1022999" cy="179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0" name="Freeform 49"/>
          <p:cNvSpPr>
            <a:spLocks/>
          </p:cNvSpPr>
          <p:nvPr/>
        </p:nvSpPr>
        <p:spPr bwMode="auto">
          <a:xfrm>
            <a:off x="8414643" y="6482312"/>
            <a:ext cx="95749" cy="179767"/>
          </a:xfrm>
          <a:custGeom>
            <a:avLst/>
            <a:gdLst>
              <a:gd name="T0" fmla="*/ 0 w 305"/>
              <a:gd name="T1" fmla="*/ 407 h 428"/>
              <a:gd name="T2" fmla="*/ 0 w 305"/>
              <a:gd name="T3" fmla="*/ 407 h 428"/>
              <a:gd name="T4" fmla="*/ 13 w 305"/>
              <a:gd name="T5" fmla="*/ 411 h 428"/>
              <a:gd name="T6" fmla="*/ 47 w 305"/>
              <a:gd name="T7" fmla="*/ 418 h 428"/>
              <a:gd name="T8" fmla="*/ 71 w 305"/>
              <a:gd name="T9" fmla="*/ 421 h 428"/>
              <a:gd name="T10" fmla="*/ 98 w 305"/>
              <a:gd name="T11" fmla="*/ 425 h 428"/>
              <a:gd name="T12" fmla="*/ 129 w 305"/>
              <a:gd name="T13" fmla="*/ 427 h 428"/>
              <a:gd name="T14" fmla="*/ 163 w 305"/>
              <a:gd name="T15" fmla="*/ 428 h 428"/>
              <a:gd name="T16" fmla="*/ 163 w 305"/>
              <a:gd name="T17" fmla="*/ 428 h 428"/>
              <a:gd name="T18" fmla="*/ 197 w 305"/>
              <a:gd name="T19" fmla="*/ 427 h 428"/>
              <a:gd name="T20" fmla="*/ 226 w 305"/>
              <a:gd name="T21" fmla="*/ 426 h 428"/>
              <a:gd name="T22" fmla="*/ 251 w 305"/>
              <a:gd name="T23" fmla="*/ 424 h 428"/>
              <a:gd name="T24" fmla="*/ 270 w 305"/>
              <a:gd name="T25" fmla="*/ 422 h 428"/>
              <a:gd name="T26" fmla="*/ 297 w 305"/>
              <a:gd name="T27" fmla="*/ 419 h 428"/>
              <a:gd name="T28" fmla="*/ 305 w 305"/>
              <a:gd name="T29" fmla="*/ 417 h 428"/>
              <a:gd name="T30" fmla="*/ 305 w 305"/>
              <a:gd name="T31" fmla="*/ 346 h 428"/>
              <a:gd name="T32" fmla="*/ 305 w 305"/>
              <a:gd name="T33" fmla="*/ 346 h 428"/>
              <a:gd name="T34" fmla="*/ 297 w 305"/>
              <a:gd name="T35" fmla="*/ 347 h 428"/>
              <a:gd name="T36" fmla="*/ 272 w 305"/>
              <a:gd name="T37" fmla="*/ 351 h 428"/>
              <a:gd name="T38" fmla="*/ 235 w 305"/>
              <a:gd name="T39" fmla="*/ 354 h 428"/>
              <a:gd name="T40" fmla="*/ 213 w 305"/>
              <a:gd name="T41" fmla="*/ 355 h 428"/>
              <a:gd name="T42" fmla="*/ 188 w 305"/>
              <a:gd name="T43" fmla="*/ 355 h 428"/>
              <a:gd name="T44" fmla="*/ 188 w 305"/>
              <a:gd name="T45" fmla="*/ 355 h 428"/>
              <a:gd name="T46" fmla="*/ 167 w 305"/>
              <a:gd name="T47" fmla="*/ 355 h 428"/>
              <a:gd name="T48" fmla="*/ 149 w 305"/>
              <a:gd name="T49" fmla="*/ 354 h 428"/>
              <a:gd name="T50" fmla="*/ 118 w 305"/>
              <a:gd name="T51" fmla="*/ 351 h 428"/>
              <a:gd name="T52" fmla="*/ 99 w 305"/>
              <a:gd name="T53" fmla="*/ 349 h 428"/>
              <a:gd name="T54" fmla="*/ 92 w 305"/>
              <a:gd name="T55" fmla="*/ 348 h 428"/>
              <a:gd name="T56" fmla="*/ 92 w 305"/>
              <a:gd name="T57" fmla="*/ 247 h 428"/>
              <a:gd name="T58" fmla="*/ 276 w 305"/>
              <a:gd name="T59" fmla="*/ 247 h 428"/>
              <a:gd name="T60" fmla="*/ 276 w 305"/>
              <a:gd name="T61" fmla="*/ 175 h 428"/>
              <a:gd name="T62" fmla="*/ 92 w 305"/>
              <a:gd name="T63" fmla="*/ 175 h 428"/>
              <a:gd name="T64" fmla="*/ 92 w 305"/>
              <a:gd name="T65" fmla="*/ 79 h 428"/>
              <a:gd name="T66" fmla="*/ 92 w 305"/>
              <a:gd name="T67" fmla="*/ 79 h 428"/>
              <a:gd name="T68" fmla="*/ 99 w 305"/>
              <a:gd name="T69" fmla="*/ 78 h 428"/>
              <a:gd name="T70" fmla="*/ 117 w 305"/>
              <a:gd name="T71" fmla="*/ 76 h 428"/>
              <a:gd name="T72" fmla="*/ 145 w 305"/>
              <a:gd name="T73" fmla="*/ 74 h 428"/>
              <a:gd name="T74" fmla="*/ 182 w 305"/>
              <a:gd name="T75" fmla="*/ 73 h 428"/>
              <a:gd name="T76" fmla="*/ 182 w 305"/>
              <a:gd name="T77" fmla="*/ 73 h 428"/>
              <a:gd name="T78" fmla="*/ 205 w 305"/>
              <a:gd name="T79" fmla="*/ 73 h 428"/>
              <a:gd name="T80" fmla="*/ 226 w 305"/>
              <a:gd name="T81" fmla="*/ 74 h 428"/>
              <a:gd name="T82" fmla="*/ 263 w 305"/>
              <a:gd name="T83" fmla="*/ 77 h 428"/>
              <a:gd name="T84" fmla="*/ 289 w 305"/>
              <a:gd name="T85" fmla="*/ 80 h 428"/>
              <a:gd name="T86" fmla="*/ 298 w 305"/>
              <a:gd name="T87" fmla="*/ 82 h 428"/>
              <a:gd name="T88" fmla="*/ 298 w 305"/>
              <a:gd name="T89" fmla="*/ 10 h 428"/>
              <a:gd name="T90" fmla="*/ 298 w 305"/>
              <a:gd name="T91" fmla="*/ 10 h 428"/>
              <a:gd name="T92" fmla="*/ 289 w 305"/>
              <a:gd name="T93" fmla="*/ 9 h 428"/>
              <a:gd name="T94" fmla="*/ 264 w 305"/>
              <a:gd name="T95" fmla="*/ 5 h 428"/>
              <a:gd name="T96" fmla="*/ 224 w 305"/>
              <a:gd name="T97" fmla="*/ 2 h 428"/>
              <a:gd name="T98" fmla="*/ 200 w 305"/>
              <a:gd name="T99" fmla="*/ 1 h 428"/>
              <a:gd name="T100" fmla="*/ 172 w 305"/>
              <a:gd name="T101" fmla="*/ 0 h 428"/>
              <a:gd name="T102" fmla="*/ 172 w 305"/>
              <a:gd name="T103" fmla="*/ 0 h 428"/>
              <a:gd name="T104" fmla="*/ 134 w 305"/>
              <a:gd name="T105" fmla="*/ 1 h 428"/>
              <a:gd name="T106" fmla="*/ 102 w 305"/>
              <a:gd name="T107" fmla="*/ 3 h 428"/>
              <a:gd name="T108" fmla="*/ 72 w 305"/>
              <a:gd name="T109" fmla="*/ 6 h 428"/>
              <a:gd name="T110" fmla="*/ 47 w 305"/>
              <a:gd name="T111" fmla="*/ 9 h 428"/>
              <a:gd name="T112" fmla="*/ 27 w 305"/>
              <a:gd name="T113" fmla="*/ 13 h 428"/>
              <a:gd name="T114" fmla="*/ 13 w 305"/>
              <a:gd name="T115" fmla="*/ 15 h 428"/>
              <a:gd name="T116" fmla="*/ 0 w 305"/>
              <a:gd name="T117" fmla="*/ 19 h 428"/>
              <a:gd name="T118" fmla="*/ 0 w 305"/>
              <a:gd name="T119" fmla="*/ 407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05" h="428">
                <a:moveTo>
                  <a:pt x="0" y="407"/>
                </a:moveTo>
                <a:lnTo>
                  <a:pt x="0" y="407"/>
                </a:lnTo>
                <a:lnTo>
                  <a:pt x="13" y="411"/>
                </a:lnTo>
                <a:lnTo>
                  <a:pt x="47" y="418"/>
                </a:lnTo>
                <a:lnTo>
                  <a:pt x="71" y="421"/>
                </a:lnTo>
                <a:lnTo>
                  <a:pt x="98" y="425"/>
                </a:lnTo>
                <a:lnTo>
                  <a:pt x="129" y="427"/>
                </a:lnTo>
                <a:lnTo>
                  <a:pt x="163" y="428"/>
                </a:lnTo>
                <a:lnTo>
                  <a:pt x="163" y="428"/>
                </a:lnTo>
                <a:lnTo>
                  <a:pt x="197" y="427"/>
                </a:lnTo>
                <a:lnTo>
                  <a:pt x="226" y="426"/>
                </a:lnTo>
                <a:lnTo>
                  <a:pt x="251" y="424"/>
                </a:lnTo>
                <a:lnTo>
                  <a:pt x="270" y="422"/>
                </a:lnTo>
                <a:lnTo>
                  <a:pt x="297" y="419"/>
                </a:lnTo>
                <a:lnTo>
                  <a:pt x="305" y="417"/>
                </a:lnTo>
                <a:lnTo>
                  <a:pt x="305" y="346"/>
                </a:lnTo>
                <a:lnTo>
                  <a:pt x="305" y="346"/>
                </a:lnTo>
                <a:lnTo>
                  <a:pt x="297" y="347"/>
                </a:lnTo>
                <a:lnTo>
                  <a:pt x="272" y="351"/>
                </a:lnTo>
                <a:lnTo>
                  <a:pt x="235" y="354"/>
                </a:lnTo>
                <a:lnTo>
                  <a:pt x="213" y="355"/>
                </a:lnTo>
                <a:lnTo>
                  <a:pt x="188" y="355"/>
                </a:lnTo>
                <a:lnTo>
                  <a:pt x="188" y="355"/>
                </a:lnTo>
                <a:lnTo>
                  <a:pt x="167" y="355"/>
                </a:lnTo>
                <a:lnTo>
                  <a:pt x="149" y="354"/>
                </a:lnTo>
                <a:lnTo>
                  <a:pt x="118" y="351"/>
                </a:lnTo>
                <a:lnTo>
                  <a:pt x="99" y="349"/>
                </a:lnTo>
                <a:lnTo>
                  <a:pt x="92" y="348"/>
                </a:lnTo>
                <a:lnTo>
                  <a:pt x="92" y="247"/>
                </a:lnTo>
                <a:lnTo>
                  <a:pt x="276" y="247"/>
                </a:lnTo>
                <a:lnTo>
                  <a:pt x="276" y="175"/>
                </a:lnTo>
                <a:lnTo>
                  <a:pt x="92" y="175"/>
                </a:lnTo>
                <a:lnTo>
                  <a:pt x="92" y="79"/>
                </a:lnTo>
                <a:lnTo>
                  <a:pt x="92" y="79"/>
                </a:lnTo>
                <a:lnTo>
                  <a:pt x="99" y="78"/>
                </a:lnTo>
                <a:lnTo>
                  <a:pt x="117" y="76"/>
                </a:lnTo>
                <a:lnTo>
                  <a:pt x="145" y="74"/>
                </a:lnTo>
                <a:lnTo>
                  <a:pt x="182" y="73"/>
                </a:lnTo>
                <a:lnTo>
                  <a:pt x="182" y="73"/>
                </a:lnTo>
                <a:lnTo>
                  <a:pt x="205" y="73"/>
                </a:lnTo>
                <a:lnTo>
                  <a:pt x="226" y="74"/>
                </a:lnTo>
                <a:lnTo>
                  <a:pt x="263" y="77"/>
                </a:lnTo>
                <a:lnTo>
                  <a:pt x="289" y="80"/>
                </a:lnTo>
                <a:lnTo>
                  <a:pt x="298" y="82"/>
                </a:lnTo>
                <a:lnTo>
                  <a:pt x="298" y="10"/>
                </a:lnTo>
                <a:lnTo>
                  <a:pt x="298" y="10"/>
                </a:lnTo>
                <a:lnTo>
                  <a:pt x="289" y="9"/>
                </a:lnTo>
                <a:lnTo>
                  <a:pt x="264" y="5"/>
                </a:lnTo>
                <a:lnTo>
                  <a:pt x="224" y="2"/>
                </a:lnTo>
                <a:lnTo>
                  <a:pt x="200" y="1"/>
                </a:lnTo>
                <a:lnTo>
                  <a:pt x="172" y="0"/>
                </a:lnTo>
                <a:lnTo>
                  <a:pt x="172" y="0"/>
                </a:lnTo>
                <a:lnTo>
                  <a:pt x="134" y="1"/>
                </a:lnTo>
                <a:lnTo>
                  <a:pt x="102" y="3"/>
                </a:lnTo>
                <a:lnTo>
                  <a:pt x="72" y="6"/>
                </a:lnTo>
                <a:lnTo>
                  <a:pt x="47" y="9"/>
                </a:lnTo>
                <a:lnTo>
                  <a:pt x="27" y="13"/>
                </a:lnTo>
                <a:lnTo>
                  <a:pt x="13" y="15"/>
                </a:lnTo>
                <a:lnTo>
                  <a:pt x="0" y="19"/>
                </a:lnTo>
                <a:lnTo>
                  <a:pt x="0" y="407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1" name="Freeform 50"/>
          <p:cNvSpPr>
            <a:spLocks/>
          </p:cNvSpPr>
          <p:nvPr/>
        </p:nvSpPr>
        <p:spPr bwMode="auto">
          <a:xfrm>
            <a:off x="7919521" y="6482311"/>
            <a:ext cx="156222" cy="176407"/>
          </a:xfrm>
          <a:custGeom>
            <a:avLst/>
            <a:gdLst>
              <a:gd name="T0" fmla="*/ 255 w 496"/>
              <a:gd name="T1" fmla="*/ 246 h 422"/>
              <a:gd name="T2" fmla="*/ 255 w 496"/>
              <a:gd name="T3" fmla="*/ 246 h 422"/>
              <a:gd name="T4" fmla="*/ 251 w 496"/>
              <a:gd name="T5" fmla="*/ 257 h 422"/>
              <a:gd name="T6" fmla="*/ 248 w 496"/>
              <a:gd name="T7" fmla="*/ 270 h 422"/>
              <a:gd name="T8" fmla="*/ 248 w 496"/>
              <a:gd name="T9" fmla="*/ 270 h 422"/>
              <a:gd name="T10" fmla="*/ 244 w 496"/>
              <a:gd name="T11" fmla="*/ 257 h 422"/>
              <a:gd name="T12" fmla="*/ 241 w 496"/>
              <a:gd name="T13" fmla="*/ 246 h 422"/>
              <a:gd name="T14" fmla="*/ 159 w 496"/>
              <a:gd name="T15" fmla="*/ 39 h 422"/>
              <a:gd name="T16" fmla="*/ 159 w 496"/>
              <a:gd name="T17" fmla="*/ 39 h 422"/>
              <a:gd name="T18" fmla="*/ 153 w 496"/>
              <a:gd name="T19" fmla="*/ 28 h 422"/>
              <a:gd name="T20" fmla="*/ 147 w 496"/>
              <a:gd name="T21" fmla="*/ 19 h 422"/>
              <a:gd name="T22" fmla="*/ 140 w 496"/>
              <a:gd name="T23" fmla="*/ 11 h 422"/>
              <a:gd name="T24" fmla="*/ 132 w 496"/>
              <a:gd name="T25" fmla="*/ 7 h 422"/>
              <a:gd name="T26" fmla="*/ 122 w 496"/>
              <a:gd name="T27" fmla="*/ 3 h 422"/>
              <a:gd name="T28" fmla="*/ 110 w 496"/>
              <a:gd name="T29" fmla="*/ 1 h 422"/>
              <a:gd name="T30" fmla="*/ 98 w 496"/>
              <a:gd name="T31" fmla="*/ 1 h 422"/>
              <a:gd name="T32" fmla="*/ 84 w 496"/>
              <a:gd name="T33" fmla="*/ 0 h 422"/>
              <a:gd name="T34" fmla="*/ 84 w 496"/>
              <a:gd name="T35" fmla="*/ 0 h 422"/>
              <a:gd name="T36" fmla="*/ 58 w 496"/>
              <a:gd name="T37" fmla="*/ 1 h 422"/>
              <a:gd name="T38" fmla="*/ 42 w 496"/>
              <a:gd name="T39" fmla="*/ 2 h 422"/>
              <a:gd name="T40" fmla="*/ 0 w 496"/>
              <a:gd name="T41" fmla="*/ 422 h 422"/>
              <a:gd name="T42" fmla="*/ 93 w 496"/>
              <a:gd name="T43" fmla="*/ 422 h 422"/>
              <a:gd name="T44" fmla="*/ 113 w 496"/>
              <a:gd name="T45" fmla="*/ 140 h 422"/>
              <a:gd name="T46" fmla="*/ 201 w 496"/>
              <a:gd name="T47" fmla="*/ 353 h 422"/>
              <a:gd name="T48" fmla="*/ 201 w 496"/>
              <a:gd name="T49" fmla="*/ 353 h 422"/>
              <a:gd name="T50" fmla="*/ 204 w 496"/>
              <a:gd name="T51" fmla="*/ 359 h 422"/>
              <a:gd name="T52" fmla="*/ 208 w 496"/>
              <a:gd name="T53" fmla="*/ 364 h 422"/>
              <a:gd name="T54" fmla="*/ 213 w 496"/>
              <a:gd name="T55" fmla="*/ 368 h 422"/>
              <a:gd name="T56" fmla="*/ 218 w 496"/>
              <a:gd name="T57" fmla="*/ 371 h 422"/>
              <a:gd name="T58" fmla="*/ 224 w 496"/>
              <a:gd name="T59" fmla="*/ 373 h 422"/>
              <a:gd name="T60" fmla="*/ 231 w 496"/>
              <a:gd name="T61" fmla="*/ 376 h 422"/>
              <a:gd name="T62" fmla="*/ 239 w 496"/>
              <a:gd name="T63" fmla="*/ 377 h 422"/>
              <a:gd name="T64" fmla="*/ 248 w 496"/>
              <a:gd name="T65" fmla="*/ 377 h 422"/>
              <a:gd name="T66" fmla="*/ 248 w 496"/>
              <a:gd name="T67" fmla="*/ 377 h 422"/>
              <a:gd name="T68" fmla="*/ 257 w 496"/>
              <a:gd name="T69" fmla="*/ 377 h 422"/>
              <a:gd name="T70" fmla="*/ 266 w 496"/>
              <a:gd name="T71" fmla="*/ 376 h 422"/>
              <a:gd name="T72" fmla="*/ 273 w 496"/>
              <a:gd name="T73" fmla="*/ 373 h 422"/>
              <a:gd name="T74" fmla="*/ 279 w 496"/>
              <a:gd name="T75" fmla="*/ 371 h 422"/>
              <a:gd name="T76" fmla="*/ 284 w 496"/>
              <a:gd name="T77" fmla="*/ 368 h 422"/>
              <a:gd name="T78" fmla="*/ 288 w 496"/>
              <a:gd name="T79" fmla="*/ 364 h 422"/>
              <a:gd name="T80" fmla="*/ 291 w 496"/>
              <a:gd name="T81" fmla="*/ 359 h 422"/>
              <a:gd name="T82" fmla="*/ 294 w 496"/>
              <a:gd name="T83" fmla="*/ 353 h 422"/>
              <a:gd name="T84" fmla="*/ 382 w 496"/>
              <a:gd name="T85" fmla="*/ 140 h 422"/>
              <a:gd name="T86" fmla="*/ 403 w 496"/>
              <a:gd name="T87" fmla="*/ 422 h 422"/>
              <a:gd name="T88" fmla="*/ 496 w 496"/>
              <a:gd name="T89" fmla="*/ 422 h 422"/>
              <a:gd name="T90" fmla="*/ 454 w 496"/>
              <a:gd name="T91" fmla="*/ 2 h 422"/>
              <a:gd name="T92" fmla="*/ 454 w 496"/>
              <a:gd name="T93" fmla="*/ 2 h 422"/>
              <a:gd name="T94" fmla="*/ 438 w 496"/>
              <a:gd name="T95" fmla="*/ 1 h 422"/>
              <a:gd name="T96" fmla="*/ 412 w 496"/>
              <a:gd name="T97" fmla="*/ 0 h 422"/>
              <a:gd name="T98" fmla="*/ 412 w 496"/>
              <a:gd name="T99" fmla="*/ 0 h 422"/>
              <a:gd name="T100" fmla="*/ 397 w 496"/>
              <a:gd name="T101" fmla="*/ 1 h 422"/>
              <a:gd name="T102" fmla="*/ 385 w 496"/>
              <a:gd name="T103" fmla="*/ 1 h 422"/>
              <a:gd name="T104" fmla="*/ 374 w 496"/>
              <a:gd name="T105" fmla="*/ 3 h 422"/>
              <a:gd name="T106" fmla="*/ 365 w 496"/>
              <a:gd name="T107" fmla="*/ 7 h 422"/>
              <a:gd name="T108" fmla="*/ 356 w 496"/>
              <a:gd name="T109" fmla="*/ 11 h 422"/>
              <a:gd name="T110" fmla="*/ 348 w 496"/>
              <a:gd name="T111" fmla="*/ 19 h 422"/>
              <a:gd name="T112" fmla="*/ 342 w 496"/>
              <a:gd name="T113" fmla="*/ 28 h 422"/>
              <a:gd name="T114" fmla="*/ 337 w 496"/>
              <a:gd name="T115" fmla="*/ 39 h 422"/>
              <a:gd name="T116" fmla="*/ 255 w 496"/>
              <a:gd name="T117" fmla="*/ 246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96" h="422">
                <a:moveTo>
                  <a:pt x="255" y="246"/>
                </a:moveTo>
                <a:lnTo>
                  <a:pt x="255" y="246"/>
                </a:lnTo>
                <a:lnTo>
                  <a:pt x="251" y="257"/>
                </a:lnTo>
                <a:lnTo>
                  <a:pt x="248" y="270"/>
                </a:lnTo>
                <a:lnTo>
                  <a:pt x="248" y="270"/>
                </a:lnTo>
                <a:lnTo>
                  <a:pt x="244" y="257"/>
                </a:lnTo>
                <a:lnTo>
                  <a:pt x="241" y="246"/>
                </a:lnTo>
                <a:lnTo>
                  <a:pt x="159" y="39"/>
                </a:lnTo>
                <a:lnTo>
                  <a:pt x="159" y="39"/>
                </a:lnTo>
                <a:lnTo>
                  <a:pt x="153" y="28"/>
                </a:lnTo>
                <a:lnTo>
                  <a:pt x="147" y="19"/>
                </a:lnTo>
                <a:lnTo>
                  <a:pt x="140" y="11"/>
                </a:lnTo>
                <a:lnTo>
                  <a:pt x="132" y="7"/>
                </a:lnTo>
                <a:lnTo>
                  <a:pt x="122" y="3"/>
                </a:lnTo>
                <a:lnTo>
                  <a:pt x="110" y="1"/>
                </a:lnTo>
                <a:lnTo>
                  <a:pt x="98" y="1"/>
                </a:lnTo>
                <a:lnTo>
                  <a:pt x="84" y="0"/>
                </a:lnTo>
                <a:lnTo>
                  <a:pt x="84" y="0"/>
                </a:lnTo>
                <a:lnTo>
                  <a:pt x="58" y="1"/>
                </a:lnTo>
                <a:lnTo>
                  <a:pt x="42" y="2"/>
                </a:lnTo>
                <a:lnTo>
                  <a:pt x="0" y="422"/>
                </a:lnTo>
                <a:lnTo>
                  <a:pt x="93" y="422"/>
                </a:lnTo>
                <a:lnTo>
                  <a:pt x="113" y="140"/>
                </a:lnTo>
                <a:lnTo>
                  <a:pt x="201" y="353"/>
                </a:lnTo>
                <a:lnTo>
                  <a:pt x="201" y="353"/>
                </a:lnTo>
                <a:lnTo>
                  <a:pt x="204" y="359"/>
                </a:lnTo>
                <a:lnTo>
                  <a:pt x="208" y="364"/>
                </a:lnTo>
                <a:lnTo>
                  <a:pt x="213" y="368"/>
                </a:lnTo>
                <a:lnTo>
                  <a:pt x="218" y="371"/>
                </a:lnTo>
                <a:lnTo>
                  <a:pt x="224" y="373"/>
                </a:lnTo>
                <a:lnTo>
                  <a:pt x="231" y="376"/>
                </a:lnTo>
                <a:lnTo>
                  <a:pt x="239" y="377"/>
                </a:lnTo>
                <a:lnTo>
                  <a:pt x="248" y="377"/>
                </a:lnTo>
                <a:lnTo>
                  <a:pt x="248" y="377"/>
                </a:lnTo>
                <a:lnTo>
                  <a:pt x="257" y="377"/>
                </a:lnTo>
                <a:lnTo>
                  <a:pt x="266" y="376"/>
                </a:lnTo>
                <a:lnTo>
                  <a:pt x="273" y="373"/>
                </a:lnTo>
                <a:lnTo>
                  <a:pt x="279" y="371"/>
                </a:lnTo>
                <a:lnTo>
                  <a:pt x="284" y="368"/>
                </a:lnTo>
                <a:lnTo>
                  <a:pt x="288" y="364"/>
                </a:lnTo>
                <a:lnTo>
                  <a:pt x="291" y="359"/>
                </a:lnTo>
                <a:lnTo>
                  <a:pt x="294" y="353"/>
                </a:lnTo>
                <a:lnTo>
                  <a:pt x="382" y="140"/>
                </a:lnTo>
                <a:lnTo>
                  <a:pt x="403" y="422"/>
                </a:lnTo>
                <a:lnTo>
                  <a:pt x="496" y="422"/>
                </a:lnTo>
                <a:lnTo>
                  <a:pt x="454" y="2"/>
                </a:lnTo>
                <a:lnTo>
                  <a:pt x="454" y="2"/>
                </a:lnTo>
                <a:lnTo>
                  <a:pt x="438" y="1"/>
                </a:lnTo>
                <a:lnTo>
                  <a:pt x="412" y="0"/>
                </a:lnTo>
                <a:lnTo>
                  <a:pt x="412" y="0"/>
                </a:lnTo>
                <a:lnTo>
                  <a:pt x="397" y="1"/>
                </a:lnTo>
                <a:lnTo>
                  <a:pt x="385" y="1"/>
                </a:lnTo>
                <a:lnTo>
                  <a:pt x="374" y="3"/>
                </a:lnTo>
                <a:lnTo>
                  <a:pt x="365" y="7"/>
                </a:lnTo>
                <a:lnTo>
                  <a:pt x="356" y="11"/>
                </a:lnTo>
                <a:lnTo>
                  <a:pt x="348" y="19"/>
                </a:lnTo>
                <a:lnTo>
                  <a:pt x="342" y="28"/>
                </a:lnTo>
                <a:lnTo>
                  <a:pt x="337" y="39"/>
                </a:lnTo>
                <a:lnTo>
                  <a:pt x="255" y="24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2" name="Freeform 51"/>
          <p:cNvSpPr>
            <a:spLocks/>
          </p:cNvSpPr>
          <p:nvPr/>
        </p:nvSpPr>
        <p:spPr bwMode="auto">
          <a:xfrm>
            <a:off x="7798576" y="6583115"/>
            <a:ext cx="54174" cy="48722"/>
          </a:xfrm>
          <a:custGeom>
            <a:avLst/>
            <a:gdLst>
              <a:gd name="T0" fmla="*/ 171 w 171"/>
              <a:gd name="T1" fmla="*/ 93 h 116"/>
              <a:gd name="T2" fmla="*/ 171 w 171"/>
              <a:gd name="T3" fmla="*/ 93 h 116"/>
              <a:gd name="T4" fmla="*/ 151 w 171"/>
              <a:gd name="T5" fmla="*/ 99 h 116"/>
              <a:gd name="T6" fmla="*/ 125 w 171"/>
              <a:gd name="T7" fmla="*/ 108 h 116"/>
              <a:gd name="T8" fmla="*/ 110 w 171"/>
              <a:gd name="T9" fmla="*/ 111 h 116"/>
              <a:gd name="T10" fmla="*/ 96 w 171"/>
              <a:gd name="T11" fmla="*/ 114 h 116"/>
              <a:gd name="T12" fmla="*/ 82 w 171"/>
              <a:gd name="T13" fmla="*/ 116 h 116"/>
              <a:gd name="T14" fmla="*/ 67 w 171"/>
              <a:gd name="T15" fmla="*/ 116 h 116"/>
              <a:gd name="T16" fmla="*/ 67 w 171"/>
              <a:gd name="T17" fmla="*/ 116 h 116"/>
              <a:gd name="T18" fmla="*/ 54 w 171"/>
              <a:gd name="T19" fmla="*/ 116 h 116"/>
              <a:gd name="T20" fmla="*/ 41 w 171"/>
              <a:gd name="T21" fmla="*/ 114 h 116"/>
              <a:gd name="T22" fmla="*/ 30 w 171"/>
              <a:gd name="T23" fmla="*/ 110 h 116"/>
              <a:gd name="T24" fmla="*/ 24 w 171"/>
              <a:gd name="T25" fmla="*/ 108 h 116"/>
              <a:gd name="T26" fmla="*/ 19 w 171"/>
              <a:gd name="T27" fmla="*/ 105 h 116"/>
              <a:gd name="T28" fmla="*/ 15 w 171"/>
              <a:gd name="T29" fmla="*/ 101 h 116"/>
              <a:gd name="T30" fmla="*/ 11 w 171"/>
              <a:gd name="T31" fmla="*/ 97 h 116"/>
              <a:gd name="T32" fmla="*/ 8 w 171"/>
              <a:gd name="T33" fmla="*/ 92 h 116"/>
              <a:gd name="T34" fmla="*/ 5 w 171"/>
              <a:gd name="T35" fmla="*/ 87 h 116"/>
              <a:gd name="T36" fmla="*/ 3 w 171"/>
              <a:gd name="T37" fmla="*/ 82 h 116"/>
              <a:gd name="T38" fmla="*/ 2 w 171"/>
              <a:gd name="T39" fmla="*/ 76 h 116"/>
              <a:gd name="T40" fmla="*/ 1 w 171"/>
              <a:gd name="T41" fmla="*/ 69 h 116"/>
              <a:gd name="T42" fmla="*/ 0 w 171"/>
              <a:gd name="T43" fmla="*/ 61 h 116"/>
              <a:gd name="T44" fmla="*/ 0 w 171"/>
              <a:gd name="T45" fmla="*/ 61 h 116"/>
              <a:gd name="T46" fmla="*/ 1 w 171"/>
              <a:gd name="T47" fmla="*/ 49 h 116"/>
              <a:gd name="T48" fmla="*/ 4 w 171"/>
              <a:gd name="T49" fmla="*/ 38 h 116"/>
              <a:gd name="T50" fmla="*/ 6 w 171"/>
              <a:gd name="T51" fmla="*/ 33 h 116"/>
              <a:gd name="T52" fmla="*/ 9 w 171"/>
              <a:gd name="T53" fmla="*/ 27 h 116"/>
              <a:gd name="T54" fmla="*/ 13 w 171"/>
              <a:gd name="T55" fmla="*/ 23 h 116"/>
              <a:gd name="T56" fmla="*/ 16 w 171"/>
              <a:gd name="T57" fmla="*/ 19 h 116"/>
              <a:gd name="T58" fmla="*/ 21 w 171"/>
              <a:gd name="T59" fmla="*/ 16 h 116"/>
              <a:gd name="T60" fmla="*/ 26 w 171"/>
              <a:gd name="T61" fmla="*/ 13 h 116"/>
              <a:gd name="T62" fmla="*/ 33 w 171"/>
              <a:gd name="T63" fmla="*/ 10 h 116"/>
              <a:gd name="T64" fmla="*/ 39 w 171"/>
              <a:gd name="T65" fmla="*/ 8 h 116"/>
              <a:gd name="T66" fmla="*/ 55 w 171"/>
              <a:gd name="T67" fmla="*/ 5 h 116"/>
              <a:gd name="T68" fmla="*/ 72 w 171"/>
              <a:gd name="T69" fmla="*/ 3 h 116"/>
              <a:gd name="T70" fmla="*/ 171 w 171"/>
              <a:gd name="T71" fmla="*/ 0 h 116"/>
              <a:gd name="T72" fmla="*/ 171 w 171"/>
              <a:gd name="T73" fmla="*/ 93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71" h="116">
                <a:moveTo>
                  <a:pt x="171" y="93"/>
                </a:moveTo>
                <a:lnTo>
                  <a:pt x="171" y="93"/>
                </a:lnTo>
                <a:lnTo>
                  <a:pt x="151" y="99"/>
                </a:lnTo>
                <a:lnTo>
                  <a:pt x="125" y="108"/>
                </a:lnTo>
                <a:lnTo>
                  <a:pt x="110" y="111"/>
                </a:lnTo>
                <a:lnTo>
                  <a:pt x="96" y="114"/>
                </a:lnTo>
                <a:lnTo>
                  <a:pt x="82" y="116"/>
                </a:lnTo>
                <a:lnTo>
                  <a:pt x="67" y="116"/>
                </a:lnTo>
                <a:lnTo>
                  <a:pt x="67" y="116"/>
                </a:lnTo>
                <a:lnTo>
                  <a:pt x="54" y="116"/>
                </a:lnTo>
                <a:lnTo>
                  <a:pt x="41" y="114"/>
                </a:lnTo>
                <a:lnTo>
                  <a:pt x="30" y="110"/>
                </a:lnTo>
                <a:lnTo>
                  <a:pt x="24" y="108"/>
                </a:lnTo>
                <a:lnTo>
                  <a:pt x="19" y="105"/>
                </a:lnTo>
                <a:lnTo>
                  <a:pt x="15" y="101"/>
                </a:lnTo>
                <a:lnTo>
                  <a:pt x="11" y="97"/>
                </a:lnTo>
                <a:lnTo>
                  <a:pt x="8" y="92"/>
                </a:lnTo>
                <a:lnTo>
                  <a:pt x="5" y="87"/>
                </a:lnTo>
                <a:lnTo>
                  <a:pt x="3" y="82"/>
                </a:lnTo>
                <a:lnTo>
                  <a:pt x="2" y="76"/>
                </a:lnTo>
                <a:lnTo>
                  <a:pt x="1" y="69"/>
                </a:lnTo>
                <a:lnTo>
                  <a:pt x="0" y="61"/>
                </a:lnTo>
                <a:lnTo>
                  <a:pt x="0" y="61"/>
                </a:lnTo>
                <a:lnTo>
                  <a:pt x="1" y="49"/>
                </a:lnTo>
                <a:lnTo>
                  <a:pt x="4" y="38"/>
                </a:lnTo>
                <a:lnTo>
                  <a:pt x="6" y="33"/>
                </a:lnTo>
                <a:lnTo>
                  <a:pt x="9" y="27"/>
                </a:lnTo>
                <a:lnTo>
                  <a:pt x="13" y="23"/>
                </a:lnTo>
                <a:lnTo>
                  <a:pt x="16" y="19"/>
                </a:lnTo>
                <a:lnTo>
                  <a:pt x="21" y="16"/>
                </a:lnTo>
                <a:lnTo>
                  <a:pt x="26" y="13"/>
                </a:lnTo>
                <a:lnTo>
                  <a:pt x="33" y="10"/>
                </a:lnTo>
                <a:lnTo>
                  <a:pt x="39" y="8"/>
                </a:lnTo>
                <a:lnTo>
                  <a:pt x="55" y="5"/>
                </a:lnTo>
                <a:lnTo>
                  <a:pt x="72" y="3"/>
                </a:lnTo>
                <a:lnTo>
                  <a:pt x="171" y="0"/>
                </a:lnTo>
                <a:lnTo>
                  <a:pt x="171" y="9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3" name="Freeform 52"/>
          <p:cNvSpPr>
            <a:spLocks/>
          </p:cNvSpPr>
          <p:nvPr/>
        </p:nvSpPr>
        <p:spPr bwMode="auto">
          <a:xfrm>
            <a:off x="7770859" y="6482312"/>
            <a:ext cx="110867" cy="179767"/>
          </a:xfrm>
          <a:custGeom>
            <a:avLst/>
            <a:gdLst>
              <a:gd name="T0" fmla="*/ 205 w 352"/>
              <a:gd name="T1" fmla="*/ 0 h 428"/>
              <a:gd name="T2" fmla="*/ 147 w 352"/>
              <a:gd name="T3" fmla="*/ 4 h 428"/>
              <a:gd name="T4" fmla="*/ 97 w 352"/>
              <a:gd name="T5" fmla="*/ 12 h 428"/>
              <a:gd name="T6" fmla="*/ 58 w 352"/>
              <a:gd name="T7" fmla="*/ 23 h 428"/>
              <a:gd name="T8" fmla="*/ 33 w 352"/>
              <a:gd name="T9" fmla="*/ 33 h 428"/>
              <a:gd name="T10" fmla="*/ 52 w 352"/>
              <a:gd name="T11" fmla="*/ 102 h 428"/>
              <a:gd name="T12" fmla="*/ 92 w 352"/>
              <a:gd name="T13" fmla="*/ 91 h 428"/>
              <a:gd name="T14" fmla="*/ 133 w 352"/>
              <a:gd name="T15" fmla="*/ 82 h 428"/>
              <a:gd name="T16" fmla="*/ 179 w 352"/>
              <a:gd name="T17" fmla="*/ 79 h 428"/>
              <a:gd name="T18" fmla="*/ 197 w 352"/>
              <a:gd name="T19" fmla="*/ 80 h 428"/>
              <a:gd name="T20" fmla="*/ 221 w 352"/>
              <a:gd name="T21" fmla="*/ 84 h 428"/>
              <a:gd name="T22" fmla="*/ 234 w 352"/>
              <a:gd name="T23" fmla="*/ 90 h 428"/>
              <a:gd name="T24" fmla="*/ 244 w 352"/>
              <a:gd name="T25" fmla="*/ 98 h 428"/>
              <a:gd name="T26" fmla="*/ 251 w 352"/>
              <a:gd name="T27" fmla="*/ 108 h 428"/>
              <a:gd name="T28" fmla="*/ 256 w 352"/>
              <a:gd name="T29" fmla="*/ 120 h 428"/>
              <a:gd name="T30" fmla="*/ 260 w 352"/>
              <a:gd name="T31" fmla="*/ 137 h 428"/>
              <a:gd name="T32" fmla="*/ 260 w 352"/>
              <a:gd name="T33" fmla="*/ 176 h 428"/>
              <a:gd name="T34" fmla="*/ 179 w 352"/>
              <a:gd name="T35" fmla="*/ 176 h 428"/>
              <a:gd name="T36" fmla="*/ 132 w 352"/>
              <a:gd name="T37" fmla="*/ 179 h 428"/>
              <a:gd name="T38" fmla="*/ 93 w 352"/>
              <a:gd name="T39" fmla="*/ 187 h 428"/>
              <a:gd name="T40" fmla="*/ 61 w 352"/>
              <a:gd name="T41" fmla="*/ 200 h 428"/>
              <a:gd name="T42" fmla="*/ 38 w 352"/>
              <a:gd name="T43" fmla="*/ 216 h 428"/>
              <a:gd name="T44" fmla="*/ 20 w 352"/>
              <a:gd name="T45" fmla="*/ 236 h 428"/>
              <a:gd name="T46" fmla="*/ 9 w 352"/>
              <a:gd name="T47" fmla="*/ 257 h 428"/>
              <a:gd name="T48" fmla="*/ 2 w 352"/>
              <a:gd name="T49" fmla="*/ 282 h 428"/>
              <a:gd name="T50" fmla="*/ 0 w 352"/>
              <a:gd name="T51" fmla="*/ 307 h 428"/>
              <a:gd name="T52" fmla="*/ 1 w 352"/>
              <a:gd name="T53" fmla="*/ 323 h 428"/>
              <a:gd name="T54" fmla="*/ 7 w 352"/>
              <a:gd name="T55" fmla="*/ 352 h 428"/>
              <a:gd name="T56" fmla="*/ 19 w 352"/>
              <a:gd name="T57" fmla="*/ 376 h 428"/>
              <a:gd name="T58" fmla="*/ 35 w 352"/>
              <a:gd name="T59" fmla="*/ 394 h 428"/>
              <a:gd name="T60" fmla="*/ 54 w 352"/>
              <a:gd name="T61" fmla="*/ 408 h 428"/>
              <a:gd name="T62" fmla="*/ 77 w 352"/>
              <a:gd name="T63" fmla="*/ 418 h 428"/>
              <a:gd name="T64" fmla="*/ 101 w 352"/>
              <a:gd name="T65" fmla="*/ 424 h 428"/>
              <a:gd name="T66" fmla="*/ 126 w 352"/>
              <a:gd name="T67" fmla="*/ 427 h 428"/>
              <a:gd name="T68" fmla="*/ 138 w 352"/>
              <a:gd name="T69" fmla="*/ 428 h 428"/>
              <a:gd name="T70" fmla="*/ 164 w 352"/>
              <a:gd name="T71" fmla="*/ 426 h 428"/>
              <a:gd name="T72" fmla="*/ 209 w 352"/>
              <a:gd name="T73" fmla="*/ 418 h 428"/>
              <a:gd name="T74" fmla="*/ 241 w 352"/>
              <a:gd name="T75" fmla="*/ 406 h 428"/>
              <a:gd name="T76" fmla="*/ 260 w 352"/>
              <a:gd name="T77" fmla="*/ 397 h 428"/>
              <a:gd name="T78" fmla="*/ 264 w 352"/>
              <a:gd name="T79" fmla="*/ 396 h 428"/>
              <a:gd name="T80" fmla="*/ 270 w 352"/>
              <a:gd name="T81" fmla="*/ 398 h 428"/>
              <a:gd name="T82" fmla="*/ 284 w 352"/>
              <a:gd name="T83" fmla="*/ 404 h 428"/>
              <a:gd name="T84" fmla="*/ 311 w 352"/>
              <a:gd name="T85" fmla="*/ 411 h 428"/>
              <a:gd name="T86" fmla="*/ 352 w 352"/>
              <a:gd name="T87" fmla="*/ 413 h 428"/>
              <a:gd name="T88" fmla="*/ 352 w 352"/>
              <a:gd name="T89" fmla="*/ 122 h 428"/>
              <a:gd name="T90" fmla="*/ 350 w 352"/>
              <a:gd name="T91" fmla="*/ 92 h 428"/>
              <a:gd name="T92" fmla="*/ 343 w 352"/>
              <a:gd name="T93" fmla="*/ 66 h 428"/>
              <a:gd name="T94" fmla="*/ 331 w 352"/>
              <a:gd name="T95" fmla="*/ 45 h 428"/>
              <a:gd name="T96" fmla="*/ 314 w 352"/>
              <a:gd name="T97" fmla="*/ 29 h 428"/>
              <a:gd name="T98" fmla="*/ 293 w 352"/>
              <a:gd name="T99" fmla="*/ 15 h 428"/>
              <a:gd name="T100" fmla="*/ 268 w 352"/>
              <a:gd name="T101" fmla="*/ 7 h 428"/>
              <a:gd name="T102" fmla="*/ 238 w 352"/>
              <a:gd name="T103" fmla="*/ 2 h 428"/>
              <a:gd name="T104" fmla="*/ 205 w 352"/>
              <a:gd name="T105" fmla="*/ 0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52" h="428">
                <a:moveTo>
                  <a:pt x="205" y="0"/>
                </a:moveTo>
                <a:lnTo>
                  <a:pt x="205" y="0"/>
                </a:lnTo>
                <a:lnTo>
                  <a:pt x="176" y="1"/>
                </a:lnTo>
                <a:lnTo>
                  <a:pt x="147" y="4"/>
                </a:lnTo>
                <a:lnTo>
                  <a:pt x="121" y="7"/>
                </a:lnTo>
                <a:lnTo>
                  <a:pt x="97" y="12"/>
                </a:lnTo>
                <a:lnTo>
                  <a:pt x="77" y="17"/>
                </a:lnTo>
                <a:lnTo>
                  <a:pt x="58" y="23"/>
                </a:lnTo>
                <a:lnTo>
                  <a:pt x="44" y="28"/>
                </a:lnTo>
                <a:lnTo>
                  <a:pt x="33" y="33"/>
                </a:lnTo>
                <a:lnTo>
                  <a:pt x="52" y="102"/>
                </a:lnTo>
                <a:lnTo>
                  <a:pt x="52" y="102"/>
                </a:lnTo>
                <a:lnTo>
                  <a:pt x="63" y="98"/>
                </a:lnTo>
                <a:lnTo>
                  <a:pt x="92" y="91"/>
                </a:lnTo>
                <a:lnTo>
                  <a:pt x="111" y="86"/>
                </a:lnTo>
                <a:lnTo>
                  <a:pt x="133" y="82"/>
                </a:lnTo>
                <a:lnTo>
                  <a:pt x="155" y="80"/>
                </a:lnTo>
                <a:lnTo>
                  <a:pt x="179" y="79"/>
                </a:lnTo>
                <a:lnTo>
                  <a:pt x="179" y="79"/>
                </a:lnTo>
                <a:lnTo>
                  <a:pt x="197" y="80"/>
                </a:lnTo>
                <a:lnTo>
                  <a:pt x="214" y="82"/>
                </a:lnTo>
                <a:lnTo>
                  <a:pt x="221" y="84"/>
                </a:lnTo>
                <a:lnTo>
                  <a:pt x="228" y="86"/>
                </a:lnTo>
                <a:lnTo>
                  <a:pt x="234" y="90"/>
                </a:lnTo>
                <a:lnTo>
                  <a:pt x="239" y="94"/>
                </a:lnTo>
                <a:lnTo>
                  <a:pt x="244" y="98"/>
                </a:lnTo>
                <a:lnTo>
                  <a:pt x="248" y="102"/>
                </a:lnTo>
                <a:lnTo>
                  <a:pt x="251" y="108"/>
                </a:lnTo>
                <a:lnTo>
                  <a:pt x="254" y="114"/>
                </a:lnTo>
                <a:lnTo>
                  <a:pt x="256" y="120"/>
                </a:lnTo>
                <a:lnTo>
                  <a:pt x="258" y="129"/>
                </a:lnTo>
                <a:lnTo>
                  <a:pt x="260" y="137"/>
                </a:lnTo>
                <a:lnTo>
                  <a:pt x="260" y="146"/>
                </a:lnTo>
                <a:lnTo>
                  <a:pt x="260" y="176"/>
                </a:lnTo>
                <a:lnTo>
                  <a:pt x="179" y="176"/>
                </a:lnTo>
                <a:lnTo>
                  <a:pt x="179" y="176"/>
                </a:lnTo>
                <a:lnTo>
                  <a:pt x="154" y="177"/>
                </a:lnTo>
                <a:lnTo>
                  <a:pt x="132" y="179"/>
                </a:lnTo>
                <a:lnTo>
                  <a:pt x="111" y="182"/>
                </a:lnTo>
                <a:lnTo>
                  <a:pt x="93" y="187"/>
                </a:lnTo>
                <a:lnTo>
                  <a:pt x="77" y="192"/>
                </a:lnTo>
                <a:lnTo>
                  <a:pt x="61" y="200"/>
                </a:lnTo>
                <a:lnTo>
                  <a:pt x="49" y="207"/>
                </a:lnTo>
                <a:lnTo>
                  <a:pt x="38" y="216"/>
                </a:lnTo>
                <a:lnTo>
                  <a:pt x="29" y="225"/>
                </a:lnTo>
                <a:lnTo>
                  <a:pt x="20" y="236"/>
                </a:lnTo>
                <a:lnTo>
                  <a:pt x="14" y="246"/>
                </a:lnTo>
                <a:lnTo>
                  <a:pt x="9" y="257"/>
                </a:lnTo>
                <a:lnTo>
                  <a:pt x="5" y="270"/>
                </a:lnTo>
                <a:lnTo>
                  <a:pt x="2" y="282"/>
                </a:lnTo>
                <a:lnTo>
                  <a:pt x="1" y="294"/>
                </a:lnTo>
                <a:lnTo>
                  <a:pt x="0" y="307"/>
                </a:lnTo>
                <a:lnTo>
                  <a:pt x="0" y="307"/>
                </a:lnTo>
                <a:lnTo>
                  <a:pt x="1" y="323"/>
                </a:lnTo>
                <a:lnTo>
                  <a:pt x="3" y="338"/>
                </a:lnTo>
                <a:lnTo>
                  <a:pt x="7" y="352"/>
                </a:lnTo>
                <a:lnTo>
                  <a:pt x="12" y="364"/>
                </a:lnTo>
                <a:lnTo>
                  <a:pt x="19" y="376"/>
                </a:lnTo>
                <a:lnTo>
                  <a:pt x="27" y="386"/>
                </a:lnTo>
                <a:lnTo>
                  <a:pt x="35" y="394"/>
                </a:lnTo>
                <a:lnTo>
                  <a:pt x="45" y="401"/>
                </a:lnTo>
                <a:lnTo>
                  <a:pt x="54" y="408"/>
                </a:lnTo>
                <a:lnTo>
                  <a:pt x="65" y="414"/>
                </a:lnTo>
                <a:lnTo>
                  <a:pt x="77" y="418"/>
                </a:lnTo>
                <a:lnTo>
                  <a:pt x="89" y="422"/>
                </a:lnTo>
                <a:lnTo>
                  <a:pt x="101" y="424"/>
                </a:lnTo>
                <a:lnTo>
                  <a:pt x="113" y="426"/>
                </a:lnTo>
                <a:lnTo>
                  <a:pt x="126" y="427"/>
                </a:lnTo>
                <a:lnTo>
                  <a:pt x="138" y="428"/>
                </a:lnTo>
                <a:lnTo>
                  <a:pt x="138" y="428"/>
                </a:lnTo>
                <a:lnTo>
                  <a:pt x="151" y="427"/>
                </a:lnTo>
                <a:lnTo>
                  <a:pt x="164" y="426"/>
                </a:lnTo>
                <a:lnTo>
                  <a:pt x="189" y="423"/>
                </a:lnTo>
                <a:lnTo>
                  <a:pt x="209" y="418"/>
                </a:lnTo>
                <a:lnTo>
                  <a:pt x="227" y="412"/>
                </a:lnTo>
                <a:lnTo>
                  <a:pt x="241" y="406"/>
                </a:lnTo>
                <a:lnTo>
                  <a:pt x="252" y="401"/>
                </a:lnTo>
                <a:lnTo>
                  <a:pt x="260" y="397"/>
                </a:lnTo>
                <a:lnTo>
                  <a:pt x="264" y="396"/>
                </a:lnTo>
                <a:lnTo>
                  <a:pt x="264" y="396"/>
                </a:lnTo>
                <a:lnTo>
                  <a:pt x="266" y="397"/>
                </a:lnTo>
                <a:lnTo>
                  <a:pt x="270" y="398"/>
                </a:lnTo>
                <a:lnTo>
                  <a:pt x="276" y="401"/>
                </a:lnTo>
                <a:lnTo>
                  <a:pt x="284" y="404"/>
                </a:lnTo>
                <a:lnTo>
                  <a:pt x="295" y="407"/>
                </a:lnTo>
                <a:lnTo>
                  <a:pt x="311" y="411"/>
                </a:lnTo>
                <a:lnTo>
                  <a:pt x="329" y="412"/>
                </a:lnTo>
                <a:lnTo>
                  <a:pt x="352" y="413"/>
                </a:lnTo>
                <a:lnTo>
                  <a:pt x="352" y="122"/>
                </a:lnTo>
                <a:lnTo>
                  <a:pt x="352" y="122"/>
                </a:lnTo>
                <a:lnTo>
                  <a:pt x="352" y="106"/>
                </a:lnTo>
                <a:lnTo>
                  <a:pt x="350" y="92"/>
                </a:lnTo>
                <a:lnTo>
                  <a:pt x="347" y="78"/>
                </a:lnTo>
                <a:lnTo>
                  <a:pt x="343" y="66"/>
                </a:lnTo>
                <a:lnTo>
                  <a:pt x="337" y="56"/>
                </a:lnTo>
                <a:lnTo>
                  <a:pt x="331" y="45"/>
                </a:lnTo>
                <a:lnTo>
                  <a:pt x="323" y="36"/>
                </a:lnTo>
                <a:lnTo>
                  <a:pt x="314" y="29"/>
                </a:lnTo>
                <a:lnTo>
                  <a:pt x="304" y="22"/>
                </a:lnTo>
                <a:lnTo>
                  <a:pt x="293" y="15"/>
                </a:lnTo>
                <a:lnTo>
                  <a:pt x="281" y="11"/>
                </a:lnTo>
                <a:lnTo>
                  <a:pt x="268" y="7"/>
                </a:lnTo>
                <a:lnTo>
                  <a:pt x="253" y="4"/>
                </a:lnTo>
                <a:lnTo>
                  <a:pt x="238" y="2"/>
                </a:lnTo>
                <a:lnTo>
                  <a:pt x="223" y="1"/>
                </a:lnTo>
                <a:lnTo>
                  <a:pt x="205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4" name="Freeform 10"/>
          <p:cNvSpPr>
            <a:spLocks/>
          </p:cNvSpPr>
          <p:nvPr/>
        </p:nvSpPr>
        <p:spPr bwMode="auto">
          <a:xfrm>
            <a:off x="8132437" y="6583115"/>
            <a:ext cx="54174" cy="48722"/>
          </a:xfrm>
          <a:custGeom>
            <a:avLst/>
            <a:gdLst>
              <a:gd name="T0" fmla="*/ 171 w 171"/>
              <a:gd name="T1" fmla="*/ 93 h 116"/>
              <a:gd name="T2" fmla="*/ 171 w 171"/>
              <a:gd name="T3" fmla="*/ 93 h 116"/>
              <a:gd name="T4" fmla="*/ 152 w 171"/>
              <a:gd name="T5" fmla="*/ 99 h 116"/>
              <a:gd name="T6" fmla="*/ 125 w 171"/>
              <a:gd name="T7" fmla="*/ 108 h 116"/>
              <a:gd name="T8" fmla="*/ 111 w 171"/>
              <a:gd name="T9" fmla="*/ 111 h 116"/>
              <a:gd name="T10" fmla="*/ 95 w 171"/>
              <a:gd name="T11" fmla="*/ 114 h 116"/>
              <a:gd name="T12" fmla="*/ 81 w 171"/>
              <a:gd name="T13" fmla="*/ 116 h 116"/>
              <a:gd name="T14" fmla="*/ 68 w 171"/>
              <a:gd name="T15" fmla="*/ 116 h 116"/>
              <a:gd name="T16" fmla="*/ 68 w 171"/>
              <a:gd name="T17" fmla="*/ 116 h 116"/>
              <a:gd name="T18" fmla="*/ 54 w 171"/>
              <a:gd name="T19" fmla="*/ 116 h 116"/>
              <a:gd name="T20" fmla="*/ 41 w 171"/>
              <a:gd name="T21" fmla="*/ 114 h 116"/>
              <a:gd name="T22" fmla="*/ 29 w 171"/>
              <a:gd name="T23" fmla="*/ 110 h 116"/>
              <a:gd name="T24" fmla="*/ 24 w 171"/>
              <a:gd name="T25" fmla="*/ 108 h 116"/>
              <a:gd name="T26" fmla="*/ 20 w 171"/>
              <a:gd name="T27" fmla="*/ 105 h 116"/>
              <a:gd name="T28" fmla="*/ 16 w 171"/>
              <a:gd name="T29" fmla="*/ 101 h 116"/>
              <a:gd name="T30" fmla="*/ 12 w 171"/>
              <a:gd name="T31" fmla="*/ 97 h 116"/>
              <a:gd name="T32" fmla="*/ 9 w 171"/>
              <a:gd name="T33" fmla="*/ 92 h 116"/>
              <a:gd name="T34" fmla="*/ 6 w 171"/>
              <a:gd name="T35" fmla="*/ 87 h 116"/>
              <a:gd name="T36" fmla="*/ 3 w 171"/>
              <a:gd name="T37" fmla="*/ 82 h 116"/>
              <a:gd name="T38" fmla="*/ 1 w 171"/>
              <a:gd name="T39" fmla="*/ 76 h 116"/>
              <a:gd name="T40" fmla="*/ 0 w 171"/>
              <a:gd name="T41" fmla="*/ 69 h 116"/>
              <a:gd name="T42" fmla="*/ 0 w 171"/>
              <a:gd name="T43" fmla="*/ 61 h 116"/>
              <a:gd name="T44" fmla="*/ 0 w 171"/>
              <a:gd name="T45" fmla="*/ 61 h 116"/>
              <a:gd name="T46" fmla="*/ 1 w 171"/>
              <a:gd name="T47" fmla="*/ 49 h 116"/>
              <a:gd name="T48" fmla="*/ 4 w 171"/>
              <a:gd name="T49" fmla="*/ 38 h 116"/>
              <a:gd name="T50" fmla="*/ 7 w 171"/>
              <a:gd name="T51" fmla="*/ 33 h 116"/>
              <a:gd name="T52" fmla="*/ 10 w 171"/>
              <a:gd name="T53" fmla="*/ 27 h 116"/>
              <a:gd name="T54" fmla="*/ 13 w 171"/>
              <a:gd name="T55" fmla="*/ 23 h 116"/>
              <a:gd name="T56" fmla="*/ 17 w 171"/>
              <a:gd name="T57" fmla="*/ 19 h 116"/>
              <a:gd name="T58" fmla="*/ 22 w 171"/>
              <a:gd name="T59" fmla="*/ 16 h 116"/>
              <a:gd name="T60" fmla="*/ 27 w 171"/>
              <a:gd name="T61" fmla="*/ 13 h 116"/>
              <a:gd name="T62" fmla="*/ 33 w 171"/>
              <a:gd name="T63" fmla="*/ 10 h 116"/>
              <a:gd name="T64" fmla="*/ 39 w 171"/>
              <a:gd name="T65" fmla="*/ 8 h 116"/>
              <a:gd name="T66" fmla="*/ 55 w 171"/>
              <a:gd name="T67" fmla="*/ 5 h 116"/>
              <a:gd name="T68" fmla="*/ 73 w 171"/>
              <a:gd name="T69" fmla="*/ 3 h 116"/>
              <a:gd name="T70" fmla="*/ 171 w 171"/>
              <a:gd name="T71" fmla="*/ 0 h 116"/>
              <a:gd name="T72" fmla="*/ 171 w 171"/>
              <a:gd name="T73" fmla="*/ 93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71" h="116">
                <a:moveTo>
                  <a:pt x="171" y="93"/>
                </a:moveTo>
                <a:lnTo>
                  <a:pt x="171" y="93"/>
                </a:lnTo>
                <a:lnTo>
                  <a:pt x="152" y="99"/>
                </a:lnTo>
                <a:lnTo>
                  <a:pt x="125" y="108"/>
                </a:lnTo>
                <a:lnTo>
                  <a:pt x="111" y="111"/>
                </a:lnTo>
                <a:lnTo>
                  <a:pt x="95" y="114"/>
                </a:lnTo>
                <a:lnTo>
                  <a:pt x="81" y="116"/>
                </a:lnTo>
                <a:lnTo>
                  <a:pt x="68" y="116"/>
                </a:lnTo>
                <a:lnTo>
                  <a:pt x="68" y="116"/>
                </a:lnTo>
                <a:lnTo>
                  <a:pt x="54" y="116"/>
                </a:lnTo>
                <a:lnTo>
                  <a:pt x="41" y="114"/>
                </a:lnTo>
                <a:lnTo>
                  <a:pt x="29" y="110"/>
                </a:lnTo>
                <a:lnTo>
                  <a:pt x="24" y="108"/>
                </a:lnTo>
                <a:lnTo>
                  <a:pt x="20" y="105"/>
                </a:lnTo>
                <a:lnTo>
                  <a:pt x="16" y="101"/>
                </a:lnTo>
                <a:lnTo>
                  <a:pt x="12" y="97"/>
                </a:lnTo>
                <a:lnTo>
                  <a:pt x="9" y="92"/>
                </a:lnTo>
                <a:lnTo>
                  <a:pt x="6" y="87"/>
                </a:lnTo>
                <a:lnTo>
                  <a:pt x="3" y="82"/>
                </a:lnTo>
                <a:lnTo>
                  <a:pt x="1" y="76"/>
                </a:lnTo>
                <a:lnTo>
                  <a:pt x="0" y="69"/>
                </a:lnTo>
                <a:lnTo>
                  <a:pt x="0" y="61"/>
                </a:lnTo>
                <a:lnTo>
                  <a:pt x="0" y="61"/>
                </a:lnTo>
                <a:lnTo>
                  <a:pt x="1" y="49"/>
                </a:lnTo>
                <a:lnTo>
                  <a:pt x="4" y="38"/>
                </a:lnTo>
                <a:lnTo>
                  <a:pt x="7" y="33"/>
                </a:lnTo>
                <a:lnTo>
                  <a:pt x="10" y="27"/>
                </a:lnTo>
                <a:lnTo>
                  <a:pt x="13" y="23"/>
                </a:lnTo>
                <a:lnTo>
                  <a:pt x="17" y="19"/>
                </a:lnTo>
                <a:lnTo>
                  <a:pt x="22" y="16"/>
                </a:lnTo>
                <a:lnTo>
                  <a:pt x="27" y="13"/>
                </a:lnTo>
                <a:lnTo>
                  <a:pt x="33" y="10"/>
                </a:lnTo>
                <a:lnTo>
                  <a:pt x="39" y="8"/>
                </a:lnTo>
                <a:lnTo>
                  <a:pt x="55" y="5"/>
                </a:lnTo>
                <a:lnTo>
                  <a:pt x="73" y="3"/>
                </a:lnTo>
                <a:lnTo>
                  <a:pt x="171" y="0"/>
                </a:lnTo>
                <a:lnTo>
                  <a:pt x="171" y="9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5" name="Freeform 11"/>
          <p:cNvSpPr>
            <a:spLocks/>
          </p:cNvSpPr>
          <p:nvPr/>
        </p:nvSpPr>
        <p:spPr bwMode="auto">
          <a:xfrm>
            <a:off x="8104720" y="6482312"/>
            <a:ext cx="110867" cy="179767"/>
          </a:xfrm>
          <a:custGeom>
            <a:avLst/>
            <a:gdLst>
              <a:gd name="T0" fmla="*/ 206 w 353"/>
              <a:gd name="T1" fmla="*/ 0 h 428"/>
              <a:gd name="T2" fmla="*/ 148 w 353"/>
              <a:gd name="T3" fmla="*/ 4 h 428"/>
              <a:gd name="T4" fmla="*/ 98 w 353"/>
              <a:gd name="T5" fmla="*/ 12 h 428"/>
              <a:gd name="T6" fmla="*/ 59 w 353"/>
              <a:gd name="T7" fmla="*/ 23 h 428"/>
              <a:gd name="T8" fmla="*/ 33 w 353"/>
              <a:gd name="T9" fmla="*/ 33 h 428"/>
              <a:gd name="T10" fmla="*/ 53 w 353"/>
              <a:gd name="T11" fmla="*/ 102 h 428"/>
              <a:gd name="T12" fmla="*/ 92 w 353"/>
              <a:gd name="T13" fmla="*/ 91 h 428"/>
              <a:gd name="T14" fmla="*/ 132 w 353"/>
              <a:gd name="T15" fmla="*/ 82 h 428"/>
              <a:gd name="T16" fmla="*/ 178 w 353"/>
              <a:gd name="T17" fmla="*/ 79 h 428"/>
              <a:gd name="T18" fmla="*/ 198 w 353"/>
              <a:gd name="T19" fmla="*/ 80 h 428"/>
              <a:gd name="T20" fmla="*/ 221 w 353"/>
              <a:gd name="T21" fmla="*/ 84 h 428"/>
              <a:gd name="T22" fmla="*/ 233 w 353"/>
              <a:gd name="T23" fmla="*/ 90 h 428"/>
              <a:gd name="T24" fmla="*/ 244 w 353"/>
              <a:gd name="T25" fmla="*/ 98 h 428"/>
              <a:gd name="T26" fmla="*/ 252 w 353"/>
              <a:gd name="T27" fmla="*/ 108 h 428"/>
              <a:gd name="T28" fmla="*/ 257 w 353"/>
              <a:gd name="T29" fmla="*/ 120 h 428"/>
              <a:gd name="T30" fmla="*/ 259 w 353"/>
              <a:gd name="T31" fmla="*/ 137 h 428"/>
              <a:gd name="T32" fmla="*/ 260 w 353"/>
              <a:gd name="T33" fmla="*/ 176 h 428"/>
              <a:gd name="T34" fmla="*/ 178 w 353"/>
              <a:gd name="T35" fmla="*/ 176 h 428"/>
              <a:gd name="T36" fmla="*/ 131 w 353"/>
              <a:gd name="T37" fmla="*/ 179 h 428"/>
              <a:gd name="T38" fmla="*/ 92 w 353"/>
              <a:gd name="T39" fmla="*/ 187 h 428"/>
              <a:gd name="T40" fmla="*/ 62 w 353"/>
              <a:gd name="T41" fmla="*/ 200 h 428"/>
              <a:gd name="T42" fmla="*/ 38 w 353"/>
              <a:gd name="T43" fmla="*/ 216 h 428"/>
              <a:gd name="T44" fmla="*/ 21 w 353"/>
              <a:gd name="T45" fmla="*/ 236 h 428"/>
              <a:gd name="T46" fmla="*/ 9 w 353"/>
              <a:gd name="T47" fmla="*/ 257 h 428"/>
              <a:gd name="T48" fmla="*/ 3 w 353"/>
              <a:gd name="T49" fmla="*/ 282 h 428"/>
              <a:gd name="T50" fmla="*/ 0 w 353"/>
              <a:gd name="T51" fmla="*/ 307 h 428"/>
              <a:gd name="T52" fmla="*/ 2 w 353"/>
              <a:gd name="T53" fmla="*/ 323 h 428"/>
              <a:gd name="T54" fmla="*/ 8 w 353"/>
              <a:gd name="T55" fmla="*/ 352 h 428"/>
              <a:gd name="T56" fmla="*/ 19 w 353"/>
              <a:gd name="T57" fmla="*/ 376 h 428"/>
              <a:gd name="T58" fmla="*/ 35 w 353"/>
              <a:gd name="T59" fmla="*/ 394 h 428"/>
              <a:gd name="T60" fmla="*/ 55 w 353"/>
              <a:gd name="T61" fmla="*/ 408 h 428"/>
              <a:gd name="T62" fmla="*/ 77 w 353"/>
              <a:gd name="T63" fmla="*/ 418 h 428"/>
              <a:gd name="T64" fmla="*/ 101 w 353"/>
              <a:gd name="T65" fmla="*/ 424 h 428"/>
              <a:gd name="T66" fmla="*/ 125 w 353"/>
              <a:gd name="T67" fmla="*/ 427 h 428"/>
              <a:gd name="T68" fmla="*/ 137 w 353"/>
              <a:gd name="T69" fmla="*/ 428 h 428"/>
              <a:gd name="T70" fmla="*/ 165 w 353"/>
              <a:gd name="T71" fmla="*/ 426 h 428"/>
              <a:gd name="T72" fmla="*/ 210 w 353"/>
              <a:gd name="T73" fmla="*/ 418 h 428"/>
              <a:gd name="T74" fmla="*/ 242 w 353"/>
              <a:gd name="T75" fmla="*/ 406 h 428"/>
              <a:gd name="T76" fmla="*/ 260 w 353"/>
              <a:gd name="T77" fmla="*/ 397 h 428"/>
              <a:gd name="T78" fmla="*/ 264 w 353"/>
              <a:gd name="T79" fmla="*/ 396 h 428"/>
              <a:gd name="T80" fmla="*/ 269 w 353"/>
              <a:gd name="T81" fmla="*/ 398 h 428"/>
              <a:gd name="T82" fmla="*/ 283 w 353"/>
              <a:gd name="T83" fmla="*/ 404 h 428"/>
              <a:gd name="T84" fmla="*/ 310 w 353"/>
              <a:gd name="T85" fmla="*/ 411 h 428"/>
              <a:gd name="T86" fmla="*/ 353 w 353"/>
              <a:gd name="T87" fmla="*/ 413 h 428"/>
              <a:gd name="T88" fmla="*/ 353 w 353"/>
              <a:gd name="T89" fmla="*/ 122 h 428"/>
              <a:gd name="T90" fmla="*/ 351 w 353"/>
              <a:gd name="T91" fmla="*/ 92 h 428"/>
              <a:gd name="T92" fmla="*/ 343 w 353"/>
              <a:gd name="T93" fmla="*/ 66 h 428"/>
              <a:gd name="T94" fmla="*/ 330 w 353"/>
              <a:gd name="T95" fmla="*/ 45 h 428"/>
              <a:gd name="T96" fmla="*/ 314 w 353"/>
              <a:gd name="T97" fmla="*/ 29 h 428"/>
              <a:gd name="T98" fmla="*/ 293 w 353"/>
              <a:gd name="T99" fmla="*/ 15 h 428"/>
              <a:gd name="T100" fmla="*/ 268 w 353"/>
              <a:gd name="T101" fmla="*/ 7 h 428"/>
              <a:gd name="T102" fmla="*/ 239 w 353"/>
              <a:gd name="T103" fmla="*/ 2 h 428"/>
              <a:gd name="T104" fmla="*/ 206 w 353"/>
              <a:gd name="T105" fmla="*/ 0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53" h="428">
                <a:moveTo>
                  <a:pt x="206" y="0"/>
                </a:moveTo>
                <a:lnTo>
                  <a:pt x="206" y="0"/>
                </a:lnTo>
                <a:lnTo>
                  <a:pt x="175" y="1"/>
                </a:lnTo>
                <a:lnTo>
                  <a:pt x="148" y="4"/>
                </a:lnTo>
                <a:lnTo>
                  <a:pt x="121" y="7"/>
                </a:lnTo>
                <a:lnTo>
                  <a:pt x="98" y="12"/>
                </a:lnTo>
                <a:lnTo>
                  <a:pt x="77" y="17"/>
                </a:lnTo>
                <a:lnTo>
                  <a:pt x="59" y="23"/>
                </a:lnTo>
                <a:lnTo>
                  <a:pt x="44" y="28"/>
                </a:lnTo>
                <a:lnTo>
                  <a:pt x="33" y="33"/>
                </a:lnTo>
                <a:lnTo>
                  <a:pt x="53" y="102"/>
                </a:lnTo>
                <a:lnTo>
                  <a:pt x="53" y="102"/>
                </a:lnTo>
                <a:lnTo>
                  <a:pt x="64" y="98"/>
                </a:lnTo>
                <a:lnTo>
                  <a:pt x="92" y="91"/>
                </a:lnTo>
                <a:lnTo>
                  <a:pt x="111" y="86"/>
                </a:lnTo>
                <a:lnTo>
                  <a:pt x="132" y="82"/>
                </a:lnTo>
                <a:lnTo>
                  <a:pt x="155" y="80"/>
                </a:lnTo>
                <a:lnTo>
                  <a:pt x="178" y="79"/>
                </a:lnTo>
                <a:lnTo>
                  <a:pt x="178" y="79"/>
                </a:lnTo>
                <a:lnTo>
                  <a:pt x="198" y="80"/>
                </a:lnTo>
                <a:lnTo>
                  <a:pt x="214" y="82"/>
                </a:lnTo>
                <a:lnTo>
                  <a:pt x="221" y="84"/>
                </a:lnTo>
                <a:lnTo>
                  <a:pt x="227" y="86"/>
                </a:lnTo>
                <a:lnTo>
                  <a:pt x="233" y="90"/>
                </a:lnTo>
                <a:lnTo>
                  <a:pt x="240" y="94"/>
                </a:lnTo>
                <a:lnTo>
                  <a:pt x="244" y="98"/>
                </a:lnTo>
                <a:lnTo>
                  <a:pt x="248" y="102"/>
                </a:lnTo>
                <a:lnTo>
                  <a:pt x="252" y="108"/>
                </a:lnTo>
                <a:lnTo>
                  <a:pt x="255" y="114"/>
                </a:lnTo>
                <a:lnTo>
                  <a:pt x="257" y="120"/>
                </a:lnTo>
                <a:lnTo>
                  <a:pt x="258" y="129"/>
                </a:lnTo>
                <a:lnTo>
                  <a:pt x="259" y="137"/>
                </a:lnTo>
                <a:lnTo>
                  <a:pt x="260" y="146"/>
                </a:lnTo>
                <a:lnTo>
                  <a:pt x="260" y="176"/>
                </a:lnTo>
                <a:lnTo>
                  <a:pt x="178" y="176"/>
                </a:lnTo>
                <a:lnTo>
                  <a:pt x="178" y="176"/>
                </a:lnTo>
                <a:lnTo>
                  <a:pt x="154" y="177"/>
                </a:lnTo>
                <a:lnTo>
                  <a:pt x="131" y="179"/>
                </a:lnTo>
                <a:lnTo>
                  <a:pt x="111" y="182"/>
                </a:lnTo>
                <a:lnTo>
                  <a:pt x="92" y="187"/>
                </a:lnTo>
                <a:lnTo>
                  <a:pt x="76" y="192"/>
                </a:lnTo>
                <a:lnTo>
                  <a:pt x="62" y="200"/>
                </a:lnTo>
                <a:lnTo>
                  <a:pt x="50" y="207"/>
                </a:lnTo>
                <a:lnTo>
                  <a:pt x="38" y="216"/>
                </a:lnTo>
                <a:lnTo>
                  <a:pt x="28" y="225"/>
                </a:lnTo>
                <a:lnTo>
                  <a:pt x="21" y="236"/>
                </a:lnTo>
                <a:lnTo>
                  <a:pt x="14" y="246"/>
                </a:lnTo>
                <a:lnTo>
                  <a:pt x="9" y="257"/>
                </a:lnTo>
                <a:lnTo>
                  <a:pt x="6" y="270"/>
                </a:lnTo>
                <a:lnTo>
                  <a:pt x="3" y="282"/>
                </a:lnTo>
                <a:lnTo>
                  <a:pt x="0" y="294"/>
                </a:lnTo>
                <a:lnTo>
                  <a:pt x="0" y="307"/>
                </a:lnTo>
                <a:lnTo>
                  <a:pt x="0" y="307"/>
                </a:lnTo>
                <a:lnTo>
                  <a:pt x="2" y="323"/>
                </a:lnTo>
                <a:lnTo>
                  <a:pt x="4" y="338"/>
                </a:lnTo>
                <a:lnTo>
                  <a:pt x="8" y="352"/>
                </a:lnTo>
                <a:lnTo>
                  <a:pt x="13" y="364"/>
                </a:lnTo>
                <a:lnTo>
                  <a:pt x="19" y="376"/>
                </a:lnTo>
                <a:lnTo>
                  <a:pt x="27" y="386"/>
                </a:lnTo>
                <a:lnTo>
                  <a:pt x="35" y="394"/>
                </a:lnTo>
                <a:lnTo>
                  <a:pt x="44" y="401"/>
                </a:lnTo>
                <a:lnTo>
                  <a:pt x="55" y="408"/>
                </a:lnTo>
                <a:lnTo>
                  <a:pt x="66" y="414"/>
                </a:lnTo>
                <a:lnTo>
                  <a:pt x="77" y="418"/>
                </a:lnTo>
                <a:lnTo>
                  <a:pt x="88" y="422"/>
                </a:lnTo>
                <a:lnTo>
                  <a:pt x="101" y="424"/>
                </a:lnTo>
                <a:lnTo>
                  <a:pt x="113" y="426"/>
                </a:lnTo>
                <a:lnTo>
                  <a:pt x="125" y="427"/>
                </a:lnTo>
                <a:lnTo>
                  <a:pt x="137" y="428"/>
                </a:lnTo>
                <a:lnTo>
                  <a:pt x="137" y="428"/>
                </a:lnTo>
                <a:lnTo>
                  <a:pt x="152" y="427"/>
                </a:lnTo>
                <a:lnTo>
                  <a:pt x="165" y="426"/>
                </a:lnTo>
                <a:lnTo>
                  <a:pt x="188" y="423"/>
                </a:lnTo>
                <a:lnTo>
                  <a:pt x="210" y="418"/>
                </a:lnTo>
                <a:lnTo>
                  <a:pt x="227" y="412"/>
                </a:lnTo>
                <a:lnTo>
                  <a:pt x="242" y="406"/>
                </a:lnTo>
                <a:lnTo>
                  <a:pt x="253" y="401"/>
                </a:lnTo>
                <a:lnTo>
                  <a:pt x="260" y="397"/>
                </a:lnTo>
                <a:lnTo>
                  <a:pt x="264" y="396"/>
                </a:lnTo>
                <a:lnTo>
                  <a:pt x="264" y="396"/>
                </a:lnTo>
                <a:lnTo>
                  <a:pt x="266" y="397"/>
                </a:lnTo>
                <a:lnTo>
                  <a:pt x="269" y="398"/>
                </a:lnTo>
                <a:lnTo>
                  <a:pt x="275" y="401"/>
                </a:lnTo>
                <a:lnTo>
                  <a:pt x="283" y="404"/>
                </a:lnTo>
                <a:lnTo>
                  <a:pt x="296" y="407"/>
                </a:lnTo>
                <a:lnTo>
                  <a:pt x="310" y="411"/>
                </a:lnTo>
                <a:lnTo>
                  <a:pt x="329" y="412"/>
                </a:lnTo>
                <a:lnTo>
                  <a:pt x="353" y="413"/>
                </a:lnTo>
                <a:lnTo>
                  <a:pt x="353" y="122"/>
                </a:lnTo>
                <a:lnTo>
                  <a:pt x="353" y="122"/>
                </a:lnTo>
                <a:lnTo>
                  <a:pt x="353" y="106"/>
                </a:lnTo>
                <a:lnTo>
                  <a:pt x="351" y="92"/>
                </a:lnTo>
                <a:lnTo>
                  <a:pt x="348" y="78"/>
                </a:lnTo>
                <a:lnTo>
                  <a:pt x="343" y="66"/>
                </a:lnTo>
                <a:lnTo>
                  <a:pt x="338" y="56"/>
                </a:lnTo>
                <a:lnTo>
                  <a:pt x="330" y="45"/>
                </a:lnTo>
                <a:lnTo>
                  <a:pt x="323" y="36"/>
                </a:lnTo>
                <a:lnTo>
                  <a:pt x="314" y="29"/>
                </a:lnTo>
                <a:lnTo>
                  <a:pt x="304" y="22"/>
                </a:lnTo>
                <a:lnTo>
                  <a:pt x="293" y="15"/>
                </a:lnTo>
                <a:lnTo>
                  <a:pt x="281" y="11"/>
                </a:lnTo>
                <a:lnTo>
                  <a:pt x="268" y="7"/>
                </a:lnTo>
                <a:lnTo>
                  <a:pt x="254" y="4"/>
                </a:lnTo>
                <a:lnTo>
                  <a:pt x="239" y="2"/>
                </a:lnTo>
                <a:lnTo>
                  <a:pt x="222" y="1"/>
                </a:lnTo>
                <a:lnTo>
                  <a:pt x="20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6" name="Freeform 12"/>
          <p:cNvSpPr>
            <a:spLocks/>
          </p:cNvSpPr>
          <p:nvPr/>
        </p:nvSpPr>
        <p:spPr bwMode="auto">
          <a:xfrm>
            <a:off x="8544407" y="6483993"/>
            <a:ext cx="117167" cy="178086"/>
          </a:xfrm>
          <a:custGeom>
            <a:avLst/>
            <a:gdLst>
              <a:gd name="T0" fmla="*/ 281 w 374"/>
              <a:gd name="T1" fmla="*/ 313 h 424"/>
              <a:gd name="T2" fmla="*/ 246 w 374"/>
              <a:gd name="T3" fmla="*/ 327 h 424"/>
              <a:gd name="T4" fmla="*/ 217 w 374"/>
              <a:gd name="T5" fmla="*/ 336 h 424"/>
              <a:gd name="T6" fmla="*/ 184 w 374"/>
              <a:gd name="T7" fmla="*/ 341 h 424"/>
              <a:gd name="T8" fmla="*/ 167 w 374"/>
              <a:gd name="T9" fmla="*/ 342 h 424"/>
              <a:gd name="T10" fmla="*/ 145 w 374"/>
              <a:gd name="T11" fmla="*/ 341 h 424"/>
              <a:gd name="T12" fmla="*/ 129 w 374"/>
              <a:gd name="T13" fmla="*/ 337 h 424"/>
              <a:gd name="T14" fmla="*/ 116 w 374"/>
              <a:gd name="T15" fmla="*/ 329 h 424"/>
              <a:gd name="T16" fmla="*/ 106 w 374"/>
              <a:gd name="T17" fmla="*/ 319 h 424"/>
              <a:gd name="T18" fmla="*/ 99 w 374"/>
              <a:gd name="T19" fmla="*/ 307 h 424"/>
              <a:gd name="T20" fmla="*/ 95 w 374"/>
              <a:gd name="T21" fmla="*/ 290 h 424"/>
              <a:gd name="T22" fmla="*/ 93 w 374"/>
              <a:gd name="T23" fmla="*/ 248 h 424"/>
              <a:gd name="T24" fmla="*/ 79 w 374"/>
              <a:gd name="T25" fmla="*/ 0 h 424"/>
              <a:gd name="T26" fmla="*/ 59 w 374"/>
              <a:gd name="T27" fmla="*/ 0 h 424"/>
              <a:gd name="T28" fmla="*/ 13 w 374"/>
              <a:gd name="T29" fmla="*/ 4 h 424"/>
              <a:gd name="T30" fmla="*/ 0 w 374"/>
              <a:gd name="T31" fmla="*/ 259 h 424"/>
              <a:gd name="T32" fmla="*/ 0 w 374"/>
              <a:gd name="T33" fmla="*/ 280 h 424"/>
              <a:gd name="T34" fmla="*/ 3 w 374"/>
              <a:gd name="T35" fmla="*/ 316 h 424"/>
              <a:gd name="T36" fmla="*/ 9 w 374"/>
              <a:gd name="T37" fmla="*/ 347 h 424"/>
              <a:gd name="T38" fmla="*/ 21 w 374"/>
              <a:gd name="T39" fmla="*/ 373 h 424"/>
              <a:gd name="T40" fmla="*/ 36 w 374"/>
              <a:gd name="T41" fmla="*/ 393 h 424"/>
              <a:gd name="T42" fmla="*/ 58 w 374"/>
              <a:gd name="T43" fmla="*/ 408 h 424"/>
              <a:gd name="T44" fmla="*/ 86 w 374"/>
              <a:gd name="T45" fmla="*/ 418 h 424"/>
              <a:gd name="T46" fmla="*/ 121 w 374"/>
              <a:gd name="T47" fmla="*/ 423 h 424"/>
              <a:gd name="T48" fmla="*/ 141 w 374"/>
              <a:gd name="T49" fmla="*/ 424 h 424"/>
              <a:gd name="T50" fmla="*/ 172 w 374"/>
              <a:gd name="T51" fmla="*/ 422 h 424"/>
              <a:gd name="T52" fmla="*/ 199 w 374"/>
              <a:gd name="T53" fmla="*/ 418 h 424"/>
              <a:gd name="T54" fmla="*/ 243 w 374"/>
              <a:gd name="T55" fmla="*/ 407 h 424"/>
              <a:gd name="T56" fmla="*/ 271 w 374"/>
              <a:gd name="T57" fmla="*/ 395 h 424"/>
              <a:gd name="T58" fmla="*/ 283 w 374"/>
              <a:gd name="T59" fmla="*/ 390 h 424"/>
              <a:gd name="T60" fmla="*/ 296 w 374"/>
              <a:gd name="T61" fmla="*/ 396 h 424"/>
              <a:gd name="T62" fmla="*/ 319 w 374"/>
              <a:gd name="T63" fmla="*/ 402 h 424"/>
              <a:gd name="T64" fmla="*/ 353 w 374"/>
              <a:gd name="T65" fmla="*/ 408 h 424"/>
              <a:gd name="T66" fmla="*/ 374 w 374"/>
              <a:gd name="T67" fmla="*/ 6 h 424"/>
              <a:gd name="T68" fmla="*/ 342 w 374"/>
              <a:gd name="T69" fmla="*/ 2 h 424"/>
              <a:gd name="T70" fmla="*/ 299 w 374"/>
              <a:gd name="T71" fmla="*/ 0 h 424"/>
              <a:gd name="T72" fmla="*/ 281 w 374"/>
              <a:gd name="T73" fmla="*/ 313 h 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74" h="424">
                <a:moveTo>
                  <a:pt x="281" y="313"/>
                </a:moveTo>
                <a:lnTo>
                  <a:pt x="281" y="313"/>
                </a:lnTo>
                <a:lnTo>
                  <a:pt x="260" y="322"/>
                </a:lnTo>
                <a:lnTo>
                  <a:pt x="246" y="327"/>
                </a:lnTo>
                <a:lnTo>
                  <a:pt x="232" y="331"/>
                </a:lnTo>
                <a:lnTo>
                  <a:pt x="217" y="336"/>
                </a:lnTo>
                <a:lnTo>
                  <a:pt x="200" y="339"/>
                </a:lnTo>
                <a:lnTo>
                  <a:pt x="184" y="341"/>
                </a:lnTo>
                <a:lnTo>
                  <a:pt x="167" y="342"/>
                </a:lnTo>
                <a:lnTo>
                  <a:pt x="167" y="342"/>
                </a:lnTo>
                <a:lnTo>
                  <a:pt x="155" y="342"/>
                </a:lnTo>
                <a:lnTo>
                  <a:pt x="145" y="341"/>
                </a:lnTo>
                <a:lnTo>
                  <a:pt x="136" y="339"/>
                </a:lnTo>
                <a:lnTo>
                  <a:pt x="129" y="337"/>
                </a:lnTo>
                <a:lnTo>
                  <a:pt x="122" y="333"/>
                </a:lnTo>
                <a:lnTo>
                  <a:pt x="116" y="329"/>
                </a:lnTo>
                <a:lnTo>
                  <a:pt x="110" y="324"/>
                </a:lnTo>
                <a:lnTo>
                  <a:pt x="106" y="319"/>
                </a:lnTo>
                <a:lnTo>
                  <a:pt x="102" y="313"/>
                </a:lnTo>
                <a:lnTo>
                  <a:pt x="99" y="307"/>
                </a:lnTo>
                <a:lnTo>
                  <a:pt x="97" y="298"/>
                </a:lnTo>
                <a:lnTo>
                  <a:pt x="95" y="290"/>
                </a:lnTo>
                <a:lnTo>
                  <a:pt x="93" y="271"/>
                </a:lnTo>
                <a:lnTo>
                  <a:pt x="93" y="248"/>
                </a:lnTo>
                <a:lnTo>
                  <a:pt x="93" y="0"/>
                </a:lnTo>
                <a:lnTo>
                  <a:pt x="79" y="0"/>
                </a:lnTo>
                <a:lnTo>
                  <a:pt x="79" y="0"/>
                </a:lnTo>
                <a:lnTo>
                  <a:pt x="59" y="0"/>
                </a:lnTo>
                <a:lnTo>
                  <a:pt x="36" y="2"/>
                </a:lnTo>
                <a:lnTo>
                  <a:pt x="13" y="4"/>
                </a:lnTo>
                <a:lnTo>
                  <a:pt x="0" y="6"/>
                </a:lnTo>
                <a:lnTo>
                  <a:pt x="0" y="259"/>
                </a:lnTo>
                <a:lnTo>
                  <a:pt x="0" y="259"/>
                </a:lnTo>
                <a:lnTo>
                  <a:pt x="0" y="280"/>
                </a:lnTo>
                <a:lnTo>
                  <a:pt x="1" y="298"/>
                </a:lnTo>
                <a:lnTo>
                  <a:pt x="3" y="316"/>
                </a:lnTo>
                <a:lnTo>
                  <a:pt x="5" y="332"/>
                </a:lnTo>
                <a:lnTo>
                  <a:pt x="9" y="347"/>
                </a:lnTo>
                <a:lnTo>
                  <a:pt x="14" y="360"/>
                </a:lnTo>
                <a:lnTo>
                  <a:pt x="21" y="373"/>
                </a:lnTo>
                <a:lnTo>
                  <a:pt x="28" y="383"/>
                </a:lnTo>
                <a:lnTo>
                  <a:pt x="36" y="393"/>
                </a:lnTo>
                <a:lnTo>
                  <a:pt x="46" y="401"/>
                </a:lnTo>
                <a:lnTo>
                  <a:pt x="58" y="408"/>
                </a:lnTo>
                <a:lnTo>
                  <a:pt x="71" y="414"/>
                </a:lnTo>
                <a:lnTo>
                  <a:pt x="86" y="418"/>
                </a:lnTo>
                <a:lnTo>
                  <a:pt x="102" y="421"/>
                </a:lnTo>
                <a:lnTo>
                  <a:pt x="121" y="423"/>
                </a:lnTo>
                <a:lnTo>
                  <a:pt x="141" y="424"/>
                </a:lnTo>
                <a:lnTo>
                  <a:pt x="141" y="424"/>
                </a:lnTo>
                <a:lnTo>
                  <a:pt x="157" y="423"/>
                </a:lnTo>
                <a:lnTo>
                  <a:pt x="172" y="422"/>
                </a:lnTo>
                <a:lnTo>
                  <a:pt x="186" y="421"/>
                </a:lnTo>
                <a:lnTo>
                  <a:pt x="199" y="418"/>
                </a:lnTo>
                <a:lnTo>
                  <a:pt x="223" y="413"/>
                </a:lnTo>
                <a:lnTo>
                  <a:pt x="243" y="407"/>
                </a:lnTo>
                <a:lnTo>
                  <a:pt x="260" y="400"/>
                </a:lnTo>
                <a:lnTo>
                  <a:pt x="271" y="395"/>
                </a:lnTo>
                <a:lnTo>
                  <a:pt x="283" y="390"/>
                </a:lnTo>
                <a:lnTo>
                  <a:pt x="283" y="390"/>
                </a:lnTo>
                <a:lnTo>
                  <a:pt x="289" y="393"/>
                </a:lnTo>
                <a:lnTo>
                  <a:pt x="296" y="396"/>
                </a:lnTo>
                <a:lnTo>
                  <a:pt x="307" y="399"/>
                </a:lnTo>
                <a:lnTo>
                  <a:pt x="319" y="402"/>
                </a:lnTo>
                <a:lnTo>
                  <a:pt x="334" y="405"/>
                </a:lnTo>
                <a:lnTo>
                  <a:pt x="353" y="408"/>
                </a:lnTo>
                <a:lnTo>
                  <a:pt x="374" y="409"/>
                </a:lnTo>
                <a:lnTo>
                  <a:pt x="374" y="6"/>
                </a:lnTo>
                <a:lnTo>
                  <a:pt x="374" y="6"/>
                </a:lnTo>
                <a:lnTo>
                  <a:pt x="342" y="2"/>
                </a:lnTo>
                <a:lnTo>
                  <a:pt x="320" y="1"/>
                </a:lnTo>
                <a:lnTo>
                  <a:pt x="299" y="0"/>
                </a:lnTo>
                <a:lnTo>
                  <a:pt x="281" y="0"/>
                </a:lnTo>
                <a:lnTo>
                  <a:pt x="281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7" name="Freeform 13"/>
          <p:cNvSpPr>
            <a:spLocks/>
          </p:cNvSpPr>
          <p:nvPr/>
        </p:nvSpPr>
        <p:spPr bwMode="auto">
          <a:xfrm>
            <a:off x="8695590" y="6482312"/>
            <a:ext cx="98268" cy="179767"/>
          </a:xfrm>
          <a:custGeom>
            <a:avLst/>
            <a:gdLst>
              <a:gd name="T0" fmla="*/ 11 w 311"/>
              <a:gd name="T1" fmla="*/ 415 h 428"/>
              <a:gd name="T2" fmla="*/ 83 w 311"/>
              <a:gd name="T3" fmla="*/ 425 h 428"/>
              <a:gd name="T4" fmla="*/ 138 w 311"/>
              <a:gd name="T5" fmla="*/ 428 h 428"/>
              <a:gd name="T6" fmla="*/ 183 w 311"/>
              <a:gd name="T7" fmla="*/ 425 h 428"/>
              <a:gd name="T8" fmla="*/ 227 w 311"/>
              <a:gd name="T9" fmla="*/ 414 h 428"/>
              <a:gd name="T10" fmla="*/ 265 w 311"/>
              <a:gd name="T11" fmla="*/ 394 h 428"/>
              <a:gd name="T12" fmla="*/ 295 w 311"/>
              <a:gd name="T13" fmla="*/ 363 h 428"/>
              <a:gd name="T14" fmla="*/ 310 w 311"/>
              <a:gd name="T15" fmla="*/ 318 h 428"/>
              <a:gd name="T16" fmla="*/ 310 w 311"/>
              <a:gd name="T17" fmla="*/ 288 h 428"/>
              <a:gd name="T18" fmla="*/ 302 w 311"/>
              <a:gd name="T19" fmla="*/ 256 h 428"/>
              <a:gd name="T20" fmla="*/ 283 w 311"/>
              <a:gd name="T21" fmla="*/ 231 h 428"/>
              <a:gd name="T22" fmla="*/ 257 w 311"/>
              <a:gd name="T23" fmla="*/ 211 h 428"/>
              <a:gd name="T24" fmla="*/ 209 w 311"/>
              <a:gd name="T25" fmla="*/ 187 h 428"/>
              <a:gd name="T26" fmla="*/ 149 w 311"/>
              <a:gd name="T27" fmla="*/ 164 h 428"/>
              <a:gd name="T28" fmla="*/ 113 w 311"/>
              <a:gd name="T29" fmla="*/ 144 h 428"/>
              <a:gd name="T30" fmla="*/ 103 w 311"/>
              <a:gd name="T31" fmla="*/ 132 h 428"/>
              <a:gd name="T32" fmla="*/ 100 w 311"/>
              <a:gd name="T33" fmla="*/ 116 h 428"/>
              <a:gd name="T34" fmla="*/ 102 w 311"/>
              <a:gd name="T35" fmla="*/ 104 h 428"/>
              <a:gd name="T36" fmla="*/ 116 w 311"/>
              <a:gd name="T37" fmla="*/ 86 h 428"/>
              <a:gd name="T38" fmla="*/ 132 w 311"/>
              <a:gd name="T39" fmla="*/ 78 h 428"/>
              <a:gd name="T40" fmla="*/ 156 w 311"/>
              <a:gd name="T41" fmla="*/ 74 h 428"/>
              <a:gd name="T42" fmla="*/ 185 w 311"/>
              <a:gd name="T43" fmla="*/ 75 h 428"/>
              <a:gd name="T44" fmla="*/ 238 w 311"/>
              <a:gd name="T45" fmla="*/ 85 h 428"/>
              <a:gd name="T46" fmla="*/ 295 w 311"/>
              <a:gd name="T47" fmla="*/ 30 h 428"/>
              <a:gd name="T48" fmla="*/ 263 w 311"/>
              <a:gd name="T49" fmla="*/ 16 h 428"/>
              <a:gd name="T50" fmla="*/ 207 w 311"/>
              <a:gd name="T51" fmla="*/ 4 h 428"/>
              <a:gd name="T52" fmla="*/ 158 w 311"/>
              <a:gd name="T53" fmla="*/ 0 h 428"/>
              <a:gd name="T54" fmla="*/ 115 w 311"/>
              <a:gd name="T55" fmla="*/ 4 h 428"/>
              <a:gd name="T56" fmla="*/ 76 w 311"/>
              <a:gd name="T57" fmla="*/ 17 h 428"/>
              <a:gd name="T58" fmla="*/ 42 w 311"/>
              <a:gd name="T59" fmla="*/ 39 h 428"/>
              <a:gd name="T60" fmla="*/ 19 w 311"/>
              <a:gd name="T61" fmla="*/ 69 h 428"/>
              <a:gd name="T62" fmla="*/ 7 w 311"/>
              <a:gd name="T63" fmla="*/ 107 h 428"/>
              <a:gd name="T64" fmla="*/ 7 w 311"/>
              <a:gd name="T65" fmla="*/ 137 h 428"/>
              <a:gd name="T66" fmla="*/ 19 w 311"/>
              <a:gd name="T67" fmla="*/ 175 h 428"/>
              <a:gd name="T68" fmla="*/ 42 w 311"/>
              <a:gd name="T69" fmla="*/ 203 h 428"/>
              <a:gd name="T70" fmla="*/ 73 w 311"/>
              <a:gd name="T71" fmla="*/ 223 h 428"/>
              <a:gd name="T72" fmla="*/ 119 w 311"/>
              <a:gd name="T73" fmla="*/ 243 h 428"/>
              <a:gd name="T74" fmla="*/ 171 w 311"/>
              <a:gd name="T75" fmla="*/ 261 h 428"/>
              <a:gd name="T76" fmla="*/ 205 w 311"/>
              <a:gd name="T77" fmla="*/ 280 h 428"/>
              <a:gd name="T78" fmla="*/ 216 w 311"/>
              <a:gd name="T79" fmla="*/ 296 h 428"/>
              <a:gd name="T80" fmla="*/ 217 w 311"/>
              <a:gd name="T81" fmla="*/ 306 h 428"/>
              <a:gd name="T82" fmla="*/ 212 w 311"/>
              <a:gd name="T83" fmla="*/ 328 h 428"/>
              <a:gd name="T84" fmla="*/ 202 w 311"/>
              <a:gd name="T85" fmla="*/ 340 h 428"/>
              <a:gd name="T86" fmla="*/ 184 w 311"/>
              <a:gd name="T87" fmla="*/ 348 h 428"/>
              <a:gd name="T88" fmla="*/ 158 w 311"/>
              <a:gd name="T89" fmla="*/ 353 h 428"/>
              <a:gd name="T90" fmla="*/ 113 w 311"/>
              <a:gd name="T91" fmla="*/ 354 h 428"/>
              <a:gd name="T92" fmla="*/ 28 w 311"/>
              <a:gd name="T93" fmla="*/ 344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11" h="428">
                <a:moveTo>
                  <a:pt x="0" y="413"/>
                </a:moveTo>
                <a:lnTo>
                  <a:pt x="0" y="413"/>
                </a:lnTo>
                <a:lnTo>
                  <a:pt x="11" y="415"/>
                </a:lnTo>
                <a:lnTo>
                  <a:pt x="39" y="420"/>
                </a:lnTo>
                <a:lnTo>
                  <a:pt x="60" y="423"/>
                </a:lnTo>
                <a:lnTo>
                  <a:pt x="83" y="425"/>
                </a:lnTo>
                <a:lnTo>
                  <a:pt x="110" y="427"/>
                </a:lnTo>
                <a:lnTo>
                  <a:pt x="138" y="428"/>
                </a:lnTo>
                <a:lnTo>
                  <a:pt x="138" y="428"/>
                </a:lnTo>
                <a:lnTo>
                  <a:pt x="154" y="427"/>
                </a:lnTo>
                <a:lnTo>
                  <a:pt x="168" y="426"/>
                </a:lnTo>
                <a:lnTo>
                  <a:pt x="183" y="425"/>
                </a:lnTo>
                <a:lnTo>
                  <a:pt x="198" y="422"/>
                </a:lnTo>
                <a:lnTo>
                  <a:pt x="213" y="419"/>
                </a:lnTo>
                <a:lnTo>
                  <a:pt x="227" y="414"/>
                </a:lnTo>
                <a:lnTo>
                  <a:pt x="241" y="408"/>
                </a:lnTo>
                <a:lnTo>
                  <a:pt x="254" y="402"/>
                </a:lnTo>
                <a:lnTo>
                  <a:pt x="265" y="394"/>
                </a:lnTo>
                <a:lnTo>
                  <a:pt x="276" y="385"/>
                </a:lnTo>
                <a:lnTo>
                  <a:pt x="286" y="375"/>
                </a:lnTo>
                <a:lnTo>
                  <a:pt x="295" y="363"/>
                </a:lnTo>
                <a:lnTo>
                  <a:pt x="302" y="350"/>
                </a:lnTo>
                <a:lnTo>
                  <a:pt x="307" y="334"/>
                </a:lnTo>
                <a:lnTo>
                  <a:pt x="310" y="318"/>
                </a:lnTo>
                <a:lnTo>
                  <a:pt x="311" y="300"/>
                </a:lnTo>
                <a:lnTo>
                  <a:pt x="311" y="300"/>
                </a:lnTo>
                <a:lnTo>
                  <a:pt x="310" y="288"/>
                </a:lnTo>
                <a:lnTo>
                  <a:pt x="309" y="277"/>
                </a:lnTo>
                <a:lnTo>
                  <a:pt x="306" y="266"/>
                </a:lnTo>
                <a:lnTo>
                  <a:pt x="302" y="256"/>
                </a:lnTo>
                <a:lnTo>
                  <a:pt x="297" y="248"/>
                </a:lnTo>
                <a:lnTo>
                  <a:pt x="291" y="239"/>
                </a:lnTo>
                <a:lnTo>
                  <a:pt x="283" y="231"/>
                </a:lnTo>
                <a:lnTo>
                  <a:pt x="276" y="224"/>
                </a:lnTo>
                <a:lnTo>
                  <a:pt x="267" y="217"/>
                </a:lnTo>
                <a:lnTo>
                  <a:pt x="257" y="211"/>
                </a:lnTo>
                <a:lnTo>
                  <a:pt x="247" y="204"/>
                </a:lnTo>
                <a:lnTo>
                  <a:pt x="234" y="199"/>
                </a:lnTo>
                <a:lnTo>
                  <a:pt x="209" y="187"/>
                </a:lnTo>
                <a:lnTo>
                  <a:pt x="180" y="176"/>
                </a:lnTo>
                <a:lnTo>
                  <a:pt x="180" y="176"/>
                </a:lnTo>
                <a:lnTo>
                  <a:pt x="149" y="164"/>
                </a:lnTo>
                <a:lnTo>
                  <a:pt x="135" y="157"/>
                </a:lnTo>
                <a:lnTo>
                  <a:pt x="123" y="151"/>
                </a:lnTo>
                <a:lnTo>
                  <a:pt x="113" y="144"/>
                </a:lnTo>
                <a:lnTo>
                  <a:pt x="109" y="140"/>
                </a:lnTo>
                <a:lnTo>
                  <a:pt x="106" y="136"/>
                </a:lnTo>
                <a:lnTo>
                  <a:pt x="103" y="132"/>
                </a:lnTo>
                <a:lnTo>
                  <a:pt x="101" y="127"/>
                </a:lnTo>
                <a:lnTo>
                  <a:pt x="100" y="121"/>
                </a:lnTo>
                <a:lnTo>
                  <a:pt x="100" y="116"/>
                </a:lnTo>
                <a:lnTo>
                  <a:pt x="100" y="116"/>
                </a:lnTo>
                <a:lnTo>
                  <a:pt x="100" y="110"/>
                </a:lnTo>
                <a:lnTo>
                  <a:pt x="102" y="104"/>
                </a:lnTo>
                <a:lnTo>
                  <a:pt x="106" y="97"/>
                </a:lnTo>
                <a:lnTo>
                  <a:pt x="112" y="90"/>
                </a:lnTo>
                <a:lnTo>
                  <a:pt x="116" y="86"/>
                </a:lnTo>
                <a:lnTo>
                  <a:pt x="120" y="83"/>
                </a:lnTo>
                <a:lnTo>
                  <a:pt x="126" y="81"/>
                </a:lnTo>
                <a:lnTo>
                  <a:pt x="132" y="78"/>
                </a:lnTo>
                <a:lnTo>
                  <a:pt x="139" y="76"/>
                </a:lnTo>
                <a:lnTo>
                  <a:pt x="147" y="75"/>
                </a:lnTo>
                <a:lnTo>
                  <a:pt x="156" y="74"/>
                </a:lnTo>
                <a:lnTo>
                  <a:pt x="166" y="74"/>
                </a:lnTo>
                <a:lnTo>
                  <a:pt x="166" y="74"/>
                </a:lnTo>
                <a:lnTo>
                  <a:pt x="185" y="75"/>
                </a:lnTo>
                <a:lnTo>
                  <a:pt x="205" y="77"/>
                </a:lnTo>
                <a:lnTo>
                  <a:pt x="222" y="81"/>
                </a:lnTo>
                <a:lnTo>
                  <a:pt x="238" y="85"/>
                </a:lnTo>
                <a:lnTo>
                  <a:pt x="262" y="94"/>
                </a:lnTo>
                <a:lnTo>
                  <a:pt x="271" y="98"/>
                </a:lnTo>
                <a:lnTo>
                  <a:pt x="295" y="30"/>
                </a:lnTo>
                <a:lnTo>
                  <a:pt x="295" y="30"/>
                </a:lnTo>
                <a:lnTo>
                  <a:pt x="276" y="22"/>
                </a:lnTo>
                <a:lnTo>
                  <a:pt x="263" y="16"/>
                </a:lnTo>
                <a:lnTo>
                  <a:pt x="247" y="12"/>
                </a:lnTo>
                <a:lnTo>
                  <a:pt x="228" y="7"/>
                </a:lnTo>
                <a:lnTo>
                  <a:pt x="207" y="4"/>
                </a:lnTo>
                <a:lnTo>
                  <a:pt x="183" y="1"/>
                </a:lnTo>
                <a:lnTo>
                  <a:pt x="158" y="0"/>
                </a:lnTo>
                <a:lnTo>
                  <a:pt x="158" y="0"/>
                </a:lnTo>
                <a:lnTo>
                  <a:pt x="143" y="1"/>
                </a:lnTo>
                <a:lnTo>
                  <a:pt x="129" y="2"/>
                </a:lnTo>
                <a:lnTo>
                  <a:pt x="115" y="4"/>
                </a:lnTo>
                <a:lnTo>
                  <a:pt x="102" y="8"/>
                </a:lnTo>
                <a:lnTo>
                  <a:pt x="88" y="12"/>
                </a:lnTo>
                <a:lnTo>
                  <a:pt x="76" y="17"/>
                </a:lnTo>
                <a:lnTo>
                  <a:pt x="64" y="24"/>
                </a:lnTo>
                <a:lnTo>
                  <a:pt x="53" y="31"/>
                </a:lnTo>
                <a:lnTo>
                  <a:pt x="42" y="39"/>
                </a:lnTo>
                <a:lnTo>
                  <a:pt x="33" y="47"/>
                </a:lnTo>
                <a:lnTo>
                  <a:pt x="25" y="58"/>
                </a:lnTo>
                <a:lnTo>
                  <a:pt x="19" y="69"/>
                </a:lnTo>
                <a:lnTo>
                  <a:pt x="13" y="80"/>
                </a:lnTo>
                <a:lnTo>
                  <a:pt x="9" y="94"/>
                </a:lnTo>
                <a:lnTo>
                  <a:pt x="7" y="107"/>
                </a:lnTo>
                <a:lnTo>
                  <a:pt x="6" y="122"/>
                </a:lnTo>
                <a:lnTo>
                  <a:pt x="6" y="122"/>
                </a:lnTo>
                <a:lnTo>
                  <a:pt x="7" y="137"/>
                </a:lnTo>
                <a:lnTo>
                  <a:pt x="9" y="150"/>
                </a:lnTo>
                <a:lnTo>
                  <a:pt x="13" y="164"/>
                </a:lnTo>
                <a:lnTo>
                  <a:pt x="19" y="175"/>
                </a:lnTo>
                <a:lnTo>
                  <a:pt x="25" y="185"/>
                </a:lnTo>
                <a:lnTo>
                  <a:pt x="33" y="194"/>
                </a:lnTo>
                <a:lnTo>
                  <a:pt x="42" y="203"/>
                </a:lnTo>
                <a:lnTo>
                  <a:pt x="51" y="210"/>
                </a:lnTo>
                <a:lnTo>
                  <a:pt x="62" y="217"/>
                </a:lnTo>
                <a:lnTo>
                  <a:pt x="73" y="223"/>
                </a:lnTo>
                <a:lnTo>
                  <a:pt x="84" y="229"/>
                </a:lnTo>
                <a:lnTo>
                  <a:pt x="95" y="235"/>
                </a:lnTo>
                <a:lnTo>
                  <a:pt x="119" y="243"/>
                </a:lnTo>
                <a:lnTo>
                  <a:pt x="142" y="251"/>
                </a:lnTo>
                <a:lnTo>
                  <a:pt x="142" y="251"/>
                </a:lnTo>
                <a:lnTo>
                  <a:pt x="171" y="261"/>
                </a:lnTo>
                <a:lnTo>
                  <a:pt x="184" y="266"/>
                </a:lnTo>
                <a:lnTo>
                  <a:pt x="196" y="273"/>
                </a:lnTo>
                <a:lnTo>
                  <a:pt x="205" y="280"/>
                </a:lnTo>
                <a:lnTo>
                  <a:pt x="211" y="287"/>
                </a:lnTo>
                <a:lnTo>
                  <a:pt x="214" y="291"/>
                </a:lnTo>
                <a:lnTo>
                  <a:pt x="216" y="296"/>
                </a:lnTo>
                <a:lnTo>
                  <a:pt x="217" y="300"/>
                </a:lnTo>
                <a:lnTo>
                  <a:pt x="217" y="306"/>
                </a:lnTo>
                <a:lnTo>
                  <a:pt x="217" y="306"/>
                </a:lnTo>
                <a:lnTo>
                  <a:pt x="217" y="315"/>
                </a:lnTo>
                <a:lnTo>
                  <a:pt x="214" y="324"/>
                </a:lnTo>
                <a:lnTo>
                  <a:pt x="212" y="328"/>
                </a:lnTo>
                <a:lnTo>
                  <a:pt x="209" y="332"/>
                </a:lnTo>
                <a:lnTo>
                  <a:pt x="206" y="335"/>
                </a:lnTo>
                <a:lnTo>
                  <a:pt x="202" y="340"/>
                </a:lnTo>
                <a:lnTo>
                  <a:pt x="197" y="343"/>
                </a:lnTo>
                <a:lnTo>
                  <a:pt x="190" y="346"/>
                </a:lnTo>
                <a:lnTo>
                  <a:pt x="184" y="348"/>
                </a:lnTo>
                <a:lnTo>
                  <a:pt x="176" y="350"/>
                </a:lnTo>
                <a:lnTo>
                  <a:pt x="167" y="352"/>
                </a:lnTo>
                <a:lnTo>
                  <a:pt x="158" y="353"/>
                </a:lnTo>
                <a:lnTo>
                  <a:pt x="134" y="354"/>
                </a:lnTo>
                <a:lnTo>
                  <a:pt x="134" y="354"/>
                </a:lnTo>
                <a:lnTo>
                  <a:pt x="113" y="354"/>
                </a:lnTo>
                <a:lnTo>
                  <a:pt x="92" y="352"/>
                </a:lnTo>
                <a:lnTo>
                  <a:pt x="55" y="348"/>
                </a:lnTo>
                <a:lnTo>
                  <a:pt x="28" y="344"/>
                </a:lnTo>
                <a:lnTo>
                  <a:pt x="18" y="342"/>
                </a:lnTo>
                <a:lnTo>
                  <a:pt x="0" y="4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8" name="Freeform 14"/>
          <p:cNvSpPr>
            <a:spLocks/>
          </p:cNvSpPr>
          <p:nvPr/>
        </p:nvSpPr>
        <p:spPr bwMode="auto">
          <a:xfrm>
            <a:off x="8287398" y="6512553"/>
            <a:ext cx="60473" cy="119285"/>
          </a:xfrm>
          <a:custGeom>
            <a:avLst/>
            <a:gdLst>
              <a:gd name="T0" fmla="*/ 0 w 194"/>
              <a:gd name="T1" fmla="*/ 7 h 282"/>
              <a:gd name="T2" fmla="*/ 0 w 194"/>
              <a:gd name="T3" fmla="*/ 7 h 282"/>
              <a:gd name="T4" fmla="*/ 14 w 194"/>
              <a:gd name="T5" fmla="*/ 4 h 282"/>
              <a:gd name="T6" fmla="*/ 31 w 194"/>
              <a:gd name="T7" fmla="*/ 2 h 282"/>
              <a:gd name="T8" fmla="*/ 52 w 194"/>
              <a:gd name="T9" fmla="*/ 0 h 282"/>
              <a:gd name="T10" fmla="*/ 73 w 194"/>
              <a:gd name="T11" fmla="*/ 0 h 282"/>
              <a:gd name="T12" fmla="*/ 73 w 194"/>
              <a:gd name="T13" fmla="*/ 0 h 282"/>
              <a:gd name="T14" fmla="*/ 87 w 194"/>
              <a:gd name="T15" fmla="*/ 0 h 282"/>
              <a:gd name="T16" fmla="*/ 98 w 194"/>
              <a:gd name="T17" fmla="*/ 1 h 282"/>
              <a:gd name="T18" fmla="*/ 110 w 194"/>
              <a:gd name="T19" fmla="*/ 4 h 282"/>
              <a:gd name="T20" fmla="*/ 121 w 194"/>
              <a:gd name="T21" fmla="*/ 7 h 282"/>
              <a:gd name="T22" fmla="*/ 132 w 194"/>
              <a:gd name="T23" fmla="*/ 11 h 282"/>
              <a:gd name="T24" fmla="*/ 141 w 194"/>
              <a:gd name="T25" fmla="*/ 17 h 282"/>
              <a:gd name="T26" fmla="*/ 151 w 194"/>
              <a:gd name="T27" fmla="*/ 24 h 282"/>
              <a:gd name="T28" fmla="*/ 159 w 194"/>
              <a:gd name="T29" fmla="*/ 31 h 282"/>
              <a:gd name="T30" fmla="*/ 166 w 194"/>
              <a:gd name="T31" fmla="*/ 40 h 282"/>
              <a:gd name="T32" fmla="*/ 174 w 194"/>
              <a:gd name="T33" fmla="*/ 49 h 282"/>
              <a:gd name="T34" fmla="*/ 180 w 194"/>
              <a:gd name="T35" fmla="*/ 61 h 282"/>
              <a:gd name="T36" fmla="*/ 185 w 194"/>
              <a:gd name="T37" fmla="*/ 74 h 282"/>
              <a:gd name="T38" fmla="*/ 189 w 194"/>
              <a:gd name="T39" fmla="*/ 88 h 282"/>
              <a:gd name="T40" fmla="*/ 192 w 194"/>
              <a:gd name="T41" fmla="*/ 103 h 282"/>
              <a:gd name="T42" fmla="*/ 193 w 194"/>
              <a:gd name="T43" fmla="*/ 119 h 282"/>
              <a:gd name="T44" fmla="*/ 194 w 194"/>
              <a:gd name="T45" fmla="*/ 138 h 282"/>
              <a:gd name="T46" fmla="*/ 194 w 194"/>
              <a:gd name="T47" fmla="*/ 138 h 282"/>
              <a:gd name="T48" fmla="*/ 194 w 194"/>
              <a:gd name="T49" fmla="*/ 155 h 282"/>
              <a:gd name="T50" fmla="*/ 193 w 194"/>
              <a:gd name="T51" fmla="*/ 172 h 282"/>
              <a:gd name="T52" fmla="*/ 191 w 194"/>
              <a:gd name="T53" fmla="*/ 187 h 282"/>
              <a:gd name="T54" fmla="*/ 188 w 194"/>
              <a:gd name="T55" fmla="*/ 202 h 282"/>
              <a:gd name="T56" fmla="*/ 185 w 194"/>
              <a:gd name="T57" fmla="*/ 215 h 282"/>
              <a:gd name="T58" fmla="*/ 181 w 194"/>
              <a:gd name="T59" fmla="*/ 226 h 282"/>
              <a:gd name="T60" fmla="*/ 175 w 194"/>
              <a:gd name="T61" fmla="*/ 238 h 282"/>
              <a:gd name="T62" fmla="*/ 168 w 194"/>
              <a:gd name="T63" fmla="*/ 247 h 282"/>
              <a:gd name="T64" fmla="*/ 160 w 194"/>
              <a:gd name="T65" fmla="*/ 255 h 282"/>
              <a:gd name="T66" fmla="*/ 151 w 194"/>
              <a:gd name="T67" fmla="*/ 262 h 282"/>
              <a:gd name="T68" fmla="*/ 141 w 194"/>
              <a:gd name="T69" fmla="*/ 269 h 282"/>
              <a:gd name="T70" fmla="*/ 129 w 194"/>
              <a:gd name="T71" fmla="*/ 274 h 282"/>
              <a:gd name="T72" fmla="*/ 115 w 194"/>
              <a:gd name="T73" fmla="*/ 277 h 282"/>
              <a:gd name="T74" fmla="*/ 100 w 194"/>
              <a:gd name="T75" fmla="*/ 280 h 282"/>
              <a:gd name="T76" fmla="*/ 84 w 194"/>
              <a:gd name="T77" fmla="*/ 282 h 282"/>
              <a:gd name="T78" fmla="*/ 65 w 194"/>
              <a:gd name="T79" fmla="*/ 282 h 282"/>
              <a:gd name="T80" fmla="*/ 65 w 194"/>
              <a:gd name="T81" fmla="*/ 282 h 282"/>
              <a:gd name="T82" fmla="*/ 42 w 194"/>
              <a:gd name="T83" fmla="*/ 281 h 282"/>
              <a:gd name="T84" fmla="*/ 20 w 194"/>
              <a:gd name="T85" fmla="*/ 280 h 282"/>
              <a:gd name="T86" fmla="*/ 0 w 194"/>
              <a:gd name="T87" fmla="*/ 278 h 282"/>
              <a:gd name="T88" fmla="*/ 0 w 194"/>
              <a:gd name="T89" fmla="*/ 7 h 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94" h="282">
                <a:moveTo>
                  <a:pt x="0" y="7"/>
                </a:moveTo>
                <a:lnTo>
                  <a:pt x="0" y="7"/>
                </a:lnTo>
                <a:lnTo>
                  <a:pt x="14" y="4"/>
                </a:lnTo>
                <a:lnTo>
                  <a:pt x="31" y="2"/>
                </a:lnTo>
                <a:lnTo>
                  <a:pt x="52" y="0"/>
                </a:lnTo>
                <a:lnTo>
                  <a:pt x="73" y="0"/>
                </a:lnTo>
                <a:lnTo>
                  <a:pt x="73" y="0"/>
                </a:lnTo>
                <a:lnTo>
                  <a:pt x="87" y="0"/>
                </a:lnTo>
                <a:lnTo>
                  <a:pt x="98" y="1"/>
                </a:lnTo>
                <a:lnTo>
                  <a:pt x="110" y="4"/>
                </a:lnTo>
                <a:lnTo>
                  <a:pt x="121" y="7"/>
                </a:lnTo>
                <a:lnTo>
                  <a:pt x="132" y="11"/>
                </a:lnTo>
                <a:lnTo>
                  <a:pt x="141" y="17"/>
                </a:lnTo>
                <a:lnTo>
                  <a:pt x="151" y="24"/>
                </a:lnTo>
                <a:lnTo>
                  <a:pt x="159" y="31"/>
                </a:lnTo>
                <a:lnTo>
                  <a:pt x="166" y="40"/>
                </a:lnTo>
                <a:lnTo>
                  <a:pt x="174" y="49"/>
                </a:lnTo>
                <a:lnTo>
                  <a:pt x="180" y="61"/>
                </a:lnTo>
                <a:lnTo>
                  <a:pt x="185" y="74"/>
                </a:lnTo>
                <a:lnTo>
                  <a:pt x="189" y="88"/>
                </a:lnTo>
                <a:lnTo>
                  <a:pt x="192" y="103"/>
                </a:lnTo>
                <a:lnTo>
                  <a:pt x="193" y="119"/>
                </a:lnTo>
                <a:lnTo>
                  <a:pt x="194" y="138"/>
                </a:lnTo>
                <a:lnTo>
                  <a:pt x="194" y="138"/>
                </a:lnTo>
                <a:lnTo>
                  <a:pt x="194" y="155"/>
                </a:lnTo>
                <a:lnTo>
                  <a:pt x="193" y="172"/>
                </a:lnTo>
                <a:lnTo>
                  <a:pt x="191" y="187"/>
                </a:lnTo>
                <a:lnTo>
                  <a:pt x="188" y="202"/>
                </a:lnTo>
                <a:lnTo>
                  <a:pt x="185" y="215"/>
                </a:lnTo>
                <a:lnTo>
                  <a:pt x="181" y="226"/>
                </a:lnTo>
                <a:lnTo>
                  <a:pt x="175" y="238"/>
                </a:lnTo>
                <a:lnTo>
                  <a:pt x="168" y="247"/>
                </a:lnTo>
                <a:lnTo>
                  <a:pt x="160" y="255"/>
                </a:lnTo>
                <a:lnTo>
                  <a:pt x="151" y="262"/>
                </a:lnTo>
                <a:lnTo>
                  <a:pt x="141" y="269"/>
                </a:lnTo>
                <a:lnTo>
                  <a:pt x="129" y="274"/>
                </a:lnTo>
                <a:lnTo>
                  <a:pt x="115" y="277"/>
                </a:lnTo>
                <a:lnTo>
                  <a:pt x="100" y="280"/>
                </a:lnTo>
                <a:lnTo>
                  <a:pt x="84" y="282"/>
                </a:lnTo>
                <a:lnTo>
                  <a:pt x="65" y="282"/>
                </a:lnTo>
                <a:lnTo>
                  <a:pt x="65" y="282"/>
                </a:lnTo>
                <a:lnTo>
                  <a:pt x="42" y="281"/>
                </a:lnTo>
                <a:lnTo>
                  <a:pt x="20" y="280"/>
                </a:lnTo>
                <a:lnTo>
                  <a:pt x="0" y="278"/>
                </a:lnTo>
                <a:lnTo>
                  <a:pt x="0" y="7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9" name="Freeform 15"/>
          <p:cNvSpPr>
            <a:spLocks/>
          </p:cNvSpPr>
          <p:nvPr/>
        </p:nvSpPr>
        <p:spPr bwMode="auto">
          <a:xfrm>
            <a:off x="8257162" y="6482312"/>
            <a:ext cx="122206" cy="179767"/>
          </a:xfrm>
          <a:custGeom>
            <a:avLst/>
            <a:gdLst>
              <a:gd name="T0" fmla="*/ 171 w 385"/>
              <a:gd name="T1" fmla="*/ 0 h 428"/>
              <a:gd name="T2" fmla="*/ 171 w 385"/>
              <a:gd name="T3" fmla="*/ 0 h 428"/>
              <a:gd name="T4" fmla="*/ 150 w 385"/>
              <a:gd name="T5" fmla="*/ 1 h 428"/>
              <a:gd name="T6" fmla="*/ 129 w 385"/>
              <a:gd name="T7" fmla="*/ 2 h 428"/>
              <a:gd name="T8" fmla="*/ 106 w 385"/>
              <a:gd name="T9" fmla="*/ 4 h 428"/>
              <a:gd name="T10" fmla="*/ 83 w 385"/>
              <a:gd name="T11" fmla="*/ 7 h 428"/>
              <a:gd name="T12" fmla="*/ 60 w 385"/>
              <a:gd name="T13" fmla="*/ 10 h 428"/>
              <a:gd name="T14" fmla="*/ 39 w 385"/>
              <a:gd name="T15" fmla="*/ 14 h 428"/>
              <a:gd name="T16" fmla="*/ 18 w 385"/>
              <a:gd name="T17" fmla="*/ 20 h 428"/>
              <a:gd name="T18" fmla="*/ 0 w 385"/>
              <a:gd name="T19" fmla="*/ 26 h 428"/>
              <a:gd name="T20" fmla="*/ 0 w 385"/>
              <a:gd name="T21" fmla="*/ 415 h 428"/>
              <a:gd name="T22" fmla="*/ 0 w 385"/>
              <a:gd name="T23" fmla="*/ 415 h 428"/>
              <a:gd name="T24" fmla="*/ 15 w 385"/>
              <a:gd name="T25" fmla="*/ 418 h 428"/>
              <a:gd name="T26" fmla="*/ 34 w 385"/>
              <a:gd name="T27" fmla="*/ 420 h 428"/>
              <a:gd name="T28" fmla="*/ 73 w 385"/>
              <a:gd name="T29" fmla="*/ 424 h 428"/>
              <a:gd name="T30" fmla="*/ 116 w 385"/>
              <a:gd name="T31" fmla="*/ 427 h 428"/>
              <a:gd name="T32" fmla="*/ 155 w 385"/>
              <a:gd name="T33" fmla="*/ 428 h 428"/>
              <a:gd name="T34" fmla="*/ 155 w 385"/>
              <a:gd name="T35" fmla="*/ 428 h 428"/>
              <a:gd name="T36" fmla="*/ 186 w 385"/>
              <a:gd name="T37" fmla="*/ 427 h 428"/>
              <a:gd name="T38" fmla="*/ 212 w 385"/>
              <a:gd name="T39" fmla="*/ 425 h 428"/>
              <a:gd name="T40" fmla="*/ 238 w 385"/>
              <a:gd name="T41" fmla="*/ 421 h 428"/>
              <a:gd name="T42" fmla="*/ 261 w 385"/>
              <a:gd name="T43" fmla="*/ 415 h 428"/>
              <a:gd name="T44" fmla="*/ 282 w 385"/>
              <a:gd name="T45" fmla="*/ 408 h 428"/>
              <a:gd name="T46" fmla="*/ 301 w 385"/>
              <a:gd name="T47" fmla="*/ 399 h 428"/>
              <a:gd name="T48" fmla="*/ 309 w 385"/>
              <a:gd name="T49" fmla="*/ 394 h 428"/>
              <a:gd name="T50" fmla="*/ 318 w 385"/>
              <a:gd name="T51" fmla="*/ 389 h 428"/>
              <a:gd name="T52" fmla="*/ 326 w 385"/>
              <a:gd name="T53" fmla="*/ 383 h 428"/>
              <a:gd name="T54" fmla="*/ 333 w 385"/>
              <a:gd name="T55" fmla="*/ 377 h 428"/>
              <a:gd name="T56" fmla="*/ 339 w 385"/>
              <a:gd name="T57" fmla="*/ 369 h 428"/>
              <a:gd name="T58" fmla="*/ 345 w 385"/>
              <a:gd name="T59" fmla="*/ 362 h 428"/>
              <a:gd name="T60" fmla="*/ 351 w 385"/>
              <a:gd name="T61" fmla="*/ 355 h 428"/>
              <a:gd name="T62" fmla="*/ 356 w 385"/>
              <a:gd name="T63" fmla="*/ 347 h 428"/>
              <a:gd name="T64" fmla="*/ 361 w 385"/>
              <a:gd name="T65" fmla="*/ 337 h 428"/>
              <a:gd name="T66" fmla="*/ 366 w 385"/>
              <a:gd name="T67" fmla="*/ 329 h 428"/>
              <a:gd name="T68" fmla="*/ 373 w 385"/>
              <a:gd name="T69" fmla="*/ 309 h 428"/>
              <a:gd name="T70" fmla="*/ 378 w 385"/>
              <a:gd name="T71" fmla="*/ 287 h 428"/>
              <a:gd name="T72" fmla="*/ 382 w 385"/>
              <a:gd name="T73" fmla="*/ 264 h 428"/>
              <a:gd name="T74" fmla="*/ 384 w 385"/>
              <a:gd name="T75" fmla="*/ 239 h 428"/>
              <a:gd name="T76" fmla="*/ 385 w 385"/>
              <a:gd name="T77" fmla="*/ 211 h 428"/>
              <a:gd name="T78" fmla="*/ 385 w 385"/>
              <a:gd name="T79" fmla="*/ 211 h 428"/>
              <a:gd name="T80" fmla="*/ 384 w 385"/>
              <a:gd name="T81" fmla="*/ 187 h 428"/>
              <a:gd name="T82" fmla="*/ 381 w 385"/>
              <a:gd name="T83" fmla="*/ 164 h 428"/>
              <a:gd name="T84" fmla="*/ 377 w 385"/>
              <a:gd name="T85" fmla="*/ 143 h 428"/>
              <a:gd name="T86" fmla="*/ 371 w 385"/>
              <a:gd name="T87" fmla="*/ 122 h 428"/>
              <a:gd name="T88" fmla="*/ 363 w 385"/>
              <a:gd name="T89" fmla="*/ 104 h 428"/>
              <a:gd name="T90" fmla="*/ 352 w 385"/>
              <a:gd name="T91" fmla="*/ 86 h 428"/>
              <a:gd name="T92" fmla="*/ 341 w 385"/>
              <a:gd name="T93" fmla="*/ 71 h 428"/>
              <a:gd name="T94" fmla="*/ 328 w 385"/>
              <a:gd name="T95" fmla="*/ 57 h 428"/>
              <a:gd name="T96" fmla="*/ 314 w 385"/>
              <a:gd name="T97" fmla="*/ 43 h 428"/>
              <a:gd name="T98" fmla="*/ 297 w 385"/>
              <a:gd name="T99" fmla="*/ 32 h 428"/>
              <a:gd name="T100" fmla="*/ 280 w 385"/>
              <a:gd name="T101" fmla="*/ 23 h 428"/>
              <a:gd name="T102" fmla="*/ 260 w 385"/>
              <a:gd name="T103" fmla="*/ 14 h 428"/>
              <a:gd name="T104" fmla="*/ 240 w 385"/>
              <a:gd name="T105" fmla="*/ 8 h 428"/>
              <a:gd name="T106" fmla="*/ 218 w 385"/>
              <a:gd name="T107" fmla="*/ 4 h 428"/>
              <a:gd name="T108" fmla="*/ 195 w 385"/>
              <a:gd name="T109" fmla="*/ 1 h 428"/>
              <a:gd name="T110" fmla="*/ 171 w 385"/>
              <a:gd name="T111" fmla="*/ 0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85" h="428">
                <a:moveTo>
                  <a:pt x="171" y="0"/>
                </a:moveTo>
                <a:lnTo>
                  <a:pt x="171" y="0"/>
                </a:lnTo>
                <a:lnTo>
                  <a:pt x="150" y="1"/>
                </a:lnTo>
                <a:lnTo>
                  <a:pt x="129" y="2"/>
                </a:lnTo>
                <a:lnTo>
                  <a:pt x="106" y="4"/>
                </a:lnTo>
                <a:lnTo>
                  <a:pt x="83" y="7"/>
                </a:lnTo>
                <a:lnTo>
                  <a:pt x="60" y="10"/>
                </a:lnTo>
                <a:lnTo>
                  <a:pt x="39" y="14"/>
                </a:lnTo>
                <a:lnTo>
                  <a:pt x="18" y="20"/>
                </a:lnTo>
                <a:lnTo>
                  <a:pt x="0" y="26"/>
                </a:lnTo>
                <a:lnTo>
                  <a:pt x="0" y="415"/>
                </a:lnTo>
                <a:lnTo>
                  <a:pt x="0" y="415"/>
                </a:lnTo>
                <a:lnTo>
                  <a:pt x="15" y="418"/>
                </a:lnTo>
                <a:lnTo>
                  <a:pt x="34" y="420"/>
                </a:lnTo>
                <a:lnTo>
                  <a:pt x="73" y="424"/>
                </a:lnTo>
                <a:lnTo>
                  <a:pt x="116" y="427"/>
                </a:lnTo>
                <a:lnTo>
                  <a:pt x="155" y="428"/>
                </a:lnTo>
                <a:lnTo>
                  <a:pt x="155" y="428"/>
                </a:lnTo>
                <a:lnTo>
                  <a:pt x="186" y="427"/>
                </a:lnTo>
                <a:lnTo>
                  <a:pt x="212" y="425"/>
                </a:lnTo>
                <a:lnTo>
                  <a:pt x="238" y="421"/>
                </a:lnTo>
                <a:lnTo>
                  <a:pt x="261" y="415"/>
                </a:lnTo>
                <a:lnTo>
                  <a:pt x="282" y="408"/>
                </a:lnTo>
                <a:lnTo>
                  <a:pt x="301" y="399"/>
                </a:lnTo>
                <a:lnTo>
                  <a:pt x="309" y="394"/>
                </a:lnTo>
                <a:lnTo>
                  <a:pt x="318" y="389"/>
                </a:lnTo>
                <a:lnTo>
                  <a:pt x="326" y="383"/>
                </a:lnTo>
                <a:lnTo>
                  <a:pt x="333" y="377"/>
                </a:lnTo>
                <a:lnTo>
                  <a:pt x="339" y="369"/>
                </a:lnTo>
                <a:lnTo>
                  <a:pt x="345" y="362"/>
                </a:lnTo>
                <a:lnTo>
                  <a:pt x="351" y="355"/>
                </a:lnTo>
                <a:lnTo>
                  <a:pt x="356" y="347"/>
                </a:lnTo>
                <a:lnTo>
                  <a:pt x="361" y="337"/>
                </a:lnTo>
                <a:lnTo>
                  <a:pt x="366" y="329"/>
                </a:lnTo>
                <a:lnTo>
                  <a:pt x="373" y="309"/>
                </a:lnTo>
                <a:lnTo>
                  <a:pt x="378" y="287"/>
                </a:lnTo>
                <a:lnTo>
                  <a:pt x="382" y="264"/>
                </a:lnTo>
                <a:lnTo>
                  <a:pt x="384" y="239"/>
                </a:lnTo>
                <a:lnTo>
                  <a:pt x="385" y="211"/>
                </a:lnTo>
                <a:lnTo>
                  <a:pt x="385" y="211"/>
                </a:lnTo>
                <a:lnTo>
                  <a:pt x="384" y="187"/>
                </a:lnTo>
                <a:lnTo>
                  <a:pt x="381" y="164"/>
                </a:lnTo>
                <a:lnTo>
                  <a:pt x="377" y="143"/>
                </a:lnTo>
                <a:lnTo>
                  <a:pt x="371" y="122"/>
                </a:lnTo>
                <a:lnTo>
                  <a:pt x="363" y="104"/>
                </a:lnTo>
                <a:lnTo>
                  <a:pt x="352" y="86"/>
                </a:lnTo>
                <a:lnTo>
                  <a:pt x="341" y="71"/>
                </a:lnTo>
                <a:lnTo>
                  <a:pt x="328" y="57"/>
                </a:lnTo>
                <a:lnTo>
                  <a:pt x="314" y="43"/>
                </a:lnTo>
                <a:lnTo>
                  <a:pt x="297" y="32"/>
                </a:lnTo>
                <a:lnTo>
                  <a:pt x="280" y="23"/>
                </a:lnTo>
                <a:lnTo>
                  <a:pt x="260" y="14"/>
                </a:lnTo>
                <a:lnTo>
                  <a:pt x="240" y="8"/>
                </a:lnTo>
                <a:lnTo>
                  <a:pt x="218" y="4"/>
                </a:lnTo>
                <a:lnTo>
                  <a:pt x="195" y="1"/>
                </a:lnTo>
                <a:lnTo>
                  <a:pt x="17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grpSp>
        <p:nvGrpSpPr>
          <p:cNvPr id="60" name="Group 4"/>
          <p:cNvGrpSpPr>
            <a:grpSpLocks noChangeAspect="1"/>
          </p:cNvGrpSpPr>
          <p:nvPr/>
        </p:nvGrpSpPr>
        <p:grpSpPr bwMode="auto">
          <a:xfrm>
            <a:off x="7790558" y="6524917"/>
            <a:ext cx="1003300" cy="132209"/>
            <a:chOff x="4649" y="3974"/>
            <a:chExt cx="812" cy="107"/>
          </a:xfrm>
        </p:grpSpPr>
        <p:sp>
          <p:nvSpPr>
            <p:cNvPr id="61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4649" y="3974"/>
              <a:ext cx="812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4649" y="3974"/>
              <a:ext cx="812" cy="107"/>
            </a:xfrm>
            <a:custGeom>
              <a:avLst/>
              <a:gdLst>
                <a:gd name="T0" fmla="*/ 2293 w 3248"/>
                <a:gd name="T1" fmla="*/ 424 h 428"/>
                <a:gd name="T2" fmla="*/ 2209 w 3248"/>
                <a:gd name="T3" fmla="*/ 355 h 428"/>
                <a:gd name="T4" fmla="*/ 2159 w 3248"/>
                <a:gd name="T5" fmla="*/ 76 h 428"/>
                <a:gd name="T6" fmla="*/ 2306 w 3248"/>
                <a:gd name="T7" fmla="*/ 5 h 428"/>
                <a:gd name="T8" fmla="*/ 2042 w 3248"/>
                <a:gd name="T9" fmla="*/ 407 h 428"/>
                <a:gd name="T10" fmla="*/ 611 w 3248"/>
                <a:gd name="T11" fmla="*/ 11 h 428"/>
                <a:gd name="T12" fmla="*/ 672 w 3248"/>
                <a:gd name="T13" fmla="*/ 353 h 428"/>
                <a:gd name="T14" fmla="*/ 737 w 3248"/>
                <a:gd name="T15" fmla="*/ 376 h 428"/>
                <a:gd name="T16" fmla="*/ 909 w 3248"/>
                <a:gd name="T17" fmla="*/ 1 h 428"/>
                <a:gd name="T18" fmla="*/ 261 w 3248"/>
                <a:gd name="T19" fmla="*/ 332 h 428"/>
                <a:gd name="T20" fmla="*/ 114 w 3248"/>
                <a:gd name="T21" fmla="*/ 347 h 428"/>
                <a:gd name="T22" fmla="*/ 94 w 3248"/>
                <a:gd name="T23" fmla="*/ 277 h 428"/>
                <a:gd name="T24" fmla="*/ 261 w 3248"/>
                <a:gd name="T25" fmla="*/ 332 h 428"/>
                <a:gd name="T26" fmla="*/ 52 w 3248"/>
                <a:gd name="T27" fmla="*/ 102 h 428"/>
                <a:gd name="T28" fmla="*/ 234 w 3248"/>
                <a:gd name="T29" fmla="*/ 90 h 428"/>
                <a:gd name="T30" fmla="*/ 179 w 3248"/>
                <a:gd name="T31" fmla="*/ 176 h 428"/>
                <a:gd name="T32" fmla="*/ 9 w 3248"/>
                <a:gd name="T33" fmla="*/ 257 h 428"/>
                <a:gd name="T34" fmla="*/ 35 w 3248"/>
                <a:gd name="T35" fmla="*/ 394 h 428"/>
                <a:gd name="T36" fmla="*/ 164 w 3248"/>
                <a:gd name="T37" fmla="*/ 426 h 428"/>
                <a:gd name="T38" fmla="*/ 284 w 3248"/>
                <a:gd name="T39" fmla="*/ 404 h 428"/>
                <a:gd name="T40" fmla="*/ 331 w 3248"/>
                <a:gd name="T41" fmla="*/ 45 h 428"/>
                <a:gd name="T42" fmla="*/ 1319 w 3248"/>
                <a:gd name="T43" fmla="*/ 332 h 428"/>
                <a:gd name="T44" fmla="*/ 1168 w 3248"/>
                <a:gd name="T45" fmla="*/ 344 h 428"/>
                <a:gd name="T46" fmla="*/ 1155 w 3248"/>
                <a:gd name="T47" fmla="*/ 272 h 428"/>
                <a:gd name="T48" fmla="*/ 1264 w 3248"/>
                <a:gd name="T49" fmla="*/ 0 h 428"/>
                <a:gd name="T50" fmla="*/ 1122 w 3248"/>
                <a:gd name="T51" fmla="*/ 98 h 428"/>
                <a:gd name="T52" fmla="*/ 1298 w 3248"/>
                <a:gd name="T53" fmla="*/ 94 h 428"/>
                <a:gd name="T54" fmla="*/ 1212 w 3248"/>
                <a:gd name="T55" fmla="*/ 177 h 428"/>
                <a:gd name="T56" fmla="*/ 1064 w 3248"/>
                <a:gd name="T57" fmla="*/ 270 h 428"/>
                <a:gd name="T58" fmla="*/ 1102 w 3248"/>
                <a:gd name="T59" fmla="*/ 401 h 428"/>
                <a:gd name="T60" fmla="*/ 1246 w 3248"/>
                <a:gd name="T61" fmla="*/ 423 h 428"/>
                <a:gd name="T62" fmla="*/ 1354 w 3248"/>
                <a:gd name="T63" fmla="*/ 407 h 428"/>
                <a:gd name="T64" fmla="*/ 1381 w 3248"/>
                <a:gd name="T65" fmla="*/ 36 h 428"/>
                <a:gd name="T66" fmla="*/ 2714 w 3248"/>
                <a:gd name="T67" fmla="*/ 326 h 428"/>
                <a:gd name="T68" fmla="*/ 2576 w 3248"/>
                <a:gd name="T69" fmla="*/ 337 h 428"/>
                <a:gd name="T70" fmla="*/ 2533 w 3248"/>
                <a:gd name="T71" fmla="*/ 4 h 428"/>
                <a:gd name="T72" fmla="*/ 2468 w 3248"/>
                <a:gd name="T73" fmla="*/ 364 h 428"/>
                <a:gd name="T74" fmla="*/ 2611 w 3248"/>
                <a:gd name="T75" fmla="*/ 427 h 428"/>
                <a:gd name="T76" fmla="*/ 2761 w 3248"/>
                <a:gd name="T77" fmla="*/ 403 h 428"/>
                <a:gd name="T78" fmla="*/ 2937 w 3248"/>
                <a:gd name="T79" fmla="*/ 413 h 428"/>
                <a:gd name="T80" fmla="*/ 3135 w 3248"/>
                <a:gd name="T81" fmla="*/ 422 h 428"/>
                <a:gd name="T82" fmla="*/ 3248 w 3248"/>
                <a:gd name="T83" fmla="*/ 300 h 428"/>
                <a:gd name="T84" fmla="*/ 3184 w 3248"/>
                <a:gd name="T85" fmla="*/ 204 h 428"/>
                <a:gd name="T86" fmla="*/ 3038 w 3248"/>
                <a:gd name="T87" fmla="*/ 127 h 428"/>
                <a:gd name="T88" fmla="*/ 3076 w 3248"/>
                <a:gd name="T89" fmla="*/ 76 h 428"/>
                <a:gd name="T90" fmla="*/ 3232 w 3248"/>
                <a:gd name="T91" fmla="*/ 30 h 428"/>
                <a:gd name="T92" fmla="*/ 3039 w 3248"/>
                <a:gd name="T93" fmla="*/ 8 h 428"/>
                <a:gd name="T94" fmla="*/ 2943 w 3248"/>
                <a:gd name="T95" fmla="*/ 122 h 428"/>
                <a:gd name="T96" fmla="*/ 3021 w 3248"/>
                <a:gd name="T97" fmla="*/ 229 h 428"/>
                <a:gd name="T98" fmla="*/ 3154 w 3248"/>
                <a:gd name="T99" fmla="*/ 300 h 428"/>
                <a:gd name="T100" fmla="*/ 3113 w 3248"/>
                <a:gd name="T101" fmla="*/ 350 h 428"/>
                <a:gd name="T102" fmla="*/ 1639 w 3248"/>
                <a:gd name="T103" fmla="*/ 80 h 428"/>
                <a:gd name="T104" fmla="*/ 1790 w 3248"/>
                <a:gd name="T105" fmla="*/ 97 h 428"/>
                <a:gd name="T106" fmla="*/ 1832 w 3248"/>
                <a:gd name="T107" fmla="*/ 245 h 428"/>
                <a:gd name="T108" fmla="*/ 1739 w 3248"/>
                <a:gd name="T109" fmla="*/ 353 h 428"/>
                <a:gd name="T110" fmla="*/ 1652 w 3248"/>
                <a:gd name="T111" fmla="*/ 4 h 428"/>
                <a:gd name="T112" fmla="*/ 1701 w 3248"/>
                <a:gd name="T113" fmla="*/ 428 h 428"/>
                <a:gd name="T114" fmla="*/ 1885 w 3248"/>
                <a:gd name="T115" fmla="*/ 369 h 428"/>
                <a:gd name="T116" fmla="*/ 1930 w 3248"/>
                <a:gd name="T117" fmla="*/ 187 h 428"/>
                <a:gd name="T118" fmla="*/ 1786 w 3248"/>
                <a:gd name="T119" fmla="*/ 8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48" h="428">
                  <a:moveTo>
                    <a:pt x="2042" y="407"/>
                  </a:moveTo>
                  <a:lnTo>
                    <a:pt x="2042" y="407"/>
                  </a:lnTo>
                  <a:lnTo>
                    <a:pt x="2055" y="411"/>
                  </a:lnTo>
                  <a:lnTo>
                    <a:pt x="2089" y="418"/>
                  </a:lnTo>
                  <a:lnTo>
                    <a:pt x="2113" y="421"/>
                  </a:lnTo>
                  <a:lnTo>
                    <a:pt x="2140" y="425"/>
                  </a:lnTo>
                  <a:lnTo>
                    <a:pt x="2171" y="427"/>
                  </a:lnTo>
                  <a:lnTo>
                    <a:pt x="2205" y="428"/>
                  </a:lnTo>
                  <a:lnTo>
                    <a:pt x="2205" y="428"/>
                  </a:lnTo>
                  <a:lnTo>
                    <a:pt x="2239" y="427"/>
                  </a:lnTo>
                  <a:lnTo>
                    <a:pt x="2268" y="426"/>
                  </a:lnTo>
                  <a:lnTo>
                    <a:pt x="2293" y="424"/>
                  </a:lnTo>
                  <a:lnTo>
                    <a:pt x="2312" y="422"/>
                  </a:lnTo>
                  <a:lnTo>
                    <a:pt x="2339" y="419"/>
                  </a:lnTo>
                  <a:lnTo>
                    <a:pt x="2347" y="417"/>
                  </a:lnTo>
                  <a:lnTo>
                    <a:pt x="2347" y="346"/>
                  </a:lnTo>
                  <a:lnTo>
                    <a:pt x="2347" y="346"/>
                  </a:lnTo>
                  <a:lnTo>
                    <a:pt x="2339" y="347"/>
                  </a:lnTo>
                  <a:lnTo>
                    <a:pt x="2314" y="351"/>
                  </a:lnTo>
                  <a:lnTo>
                    <a:pt x="2277" y="354"/>
                  </a:lnTo>
                  <a:lnTo>
                    <a:pt x="2255" y="355"/>
                  </a:lnTo>
                  <a:lnTo>
                    <a:pt x="2230" y="355"/>
                  </a:lnTo>
                  <a:lnTo>
                    <a:pt x="2230" y="355"/>
                  </a:lnTo>
                  <a:lnTo>
                    <a:pt x="2209" y="355"/>
                  </a:lnTo>
                  <a:lnTo>
                    <a:pt x="2191" y="354"/>
                  </a:lnTo>
                  <a:lnTo>
                    <a:pt x="2160" y="351"/>
                  </a:lnTo>
                  <a:lnTo>
                    <a:pt x="2141" y="349"/>
                  </a:lnTo>
                  <a:lnTo>
                    <a:pt x="2134" y="348"/>
                  </a:lnTo>
                  <a:lnTo>
                    <a:pt x="2134" y="247"/>
                  </a:lnTo>
                  <a:lnTo>
                    <a:pt x="2318" y="247"/>
                  </a:lnTo>
                  <a:lnTo>
                    <a:pt x="2318" y="175"/>
                  </a:lnTo>
                  <a:lnTo>
                    <a:pt x="2134" y="175"/>
                  </a:lnTo>
                  <a:lnTo>
                    <a:pt x="2134" y="79"/>
                  </a:lnTo>
                  <a:lnTo>
                    <a:pt x="2134" y="79"/>
                  </a:lnTo>
                  <a:lnTo>
                    <a:pt x="2141" y="78"/>
                  </a:lnTo>
                  <a:lnTo>
                    <a:pt x="2159" y="76"/>
                  </a:lnTo>
                  <a:lnTo>
                    <a:pt x="2187" y="74"/>
                  </a:lnTo>
                  <a:lnTo>
                    <a:pt x="2224" y="73"/>
                  </a:lnTo>
                  <a:lnTo>
                    <a:pt x="2224" y="73"/>
                  </a:lnTo>
                  <a:lnTo>
                    <a:pt x="2247" y="73"/>
                  </a:lnTo>
                  <a:lnTo>
                    <a:pt x="2268" y="74"/>
                  </a:lnTo>
                  <a:lnTo>
                    <a:pt x="2305" y="77"/>
                  </a:lnTo>
                  <a:lnTo>
                    <a:pt x="2331" y="80"/>
                  </a:lnTo>
                  <a:lnTo>
                    <a:pt x="2340" y="82"/>
                  </a:lnTo>
                  <a:lnTo>
                    <a:pt x="2340" y="10"/>
                  </a:lnTo>
                  <a:lnTo>
                    <a:pt x="2340" y="10"/>
                  </a:lnTo>
                  <a:lnTo>
                    <a:pt x="2331" y="9"/>
                  </a:lnTo>
                  <a:lnTo>
                    <a:pt x="2306" y="5"/>
                  </a:lnTo>
                  <a:lnTo>
                    <a:pt x="2266" y="2"/>
                  </a:lnTo>
                  <a:lnTo>
                    <a:pt x="2242" y="1"/>
                  </a:lnTo>
                  <a:lnTo>
                    <a:pt x="2214" y="0"/>
                  </a:lnTo>
                  <a:lnTo>
                    <a:pt x="2214" y="0"/>
                  </a:lnTo>
                  <a:lnTo>
                    <a:pt x="2176" y="1"/>
                  </a:lnTo>
                  <a:lnTo>
                    <a:pt x="2144" y="3"/>
                  </a:lnTo>
                  <a:lnTo>
                    <a:pt x="2114" y="6"/>
                  </a:lnTo>
                  <a:lnTo>
                    <a:pt x="2089" y="9"/>
                  </a:lnTo>
                  <a:lnTo>
                    <a:pt x="2069" y="13"/>
                  </a:lnTo>
                  <a:lnTo>
                    <a:pt x="2055" y="15"/>
                  </a:lnTo>
                  <a:lnTo>
                    <a:pt x="2042" y="19"/>
                  </a:lnTo>
                  <a:lnTo>
                    <a:pt x="2042" y="407"/>
                  </a:lnTo>
                  <a:close/>
                  <a:moveTo>
                    <a:pt x="726" y="246"/>
                  </a:moveTo>
                  <a:lnTo>
                    <a:pt x="726" y="246"/>
                  </a:lnTo>
                  <a:lnTo>
                    <a:pt x="722" y="257"/>
                  </a:lnTo>
                  <a:lnTo>
                    <a:pt x="719" y="270"/>
                  </a:lnTo>
                  <a:lnTo>
                    <a:pt x="719" y="270"/>
                  </a:lnTo>
                  <a:lnTo>
                    <a:pt x="715" y="257"/>
                  </a:lnTo>
                  <a:lnTo>
                    <a:pt x="712" y="246"/>
                  </a:lnTo>
                  <a:lnTo>
                    <a:pt x="630" y="39"/>
                  </a:lnTo>
                  <a:lnTo>
                    <a:pt x="630" y="39"/>
                  </a:lnTo>
                  <a:lnTo>
                    <a:pt x="624" y="28"/>
                  </a:lnTo>
                  <a:lnTo>
                    <a:pt x="618" y="19"/>
                  </a:lnTo>
                  <a:lnTo>
                    <a:pt x="611" y="11"/>
                  </a:lnTo>
                  <a:lnTo>
                    <a:pt x="603" y="7"/>
                  </a:lnTo>
                  <a:lnTo>
                    <a:pt x="593" y="3"/>
                  </a:lnTo>
                  <a:lnTo>
                    <a:pt x="581" y="1"/>
                  </a:lnTo>
                  <a:lnTo>
                    <a:pt x="569" y="1"/>
                  </a:lnTo>
                  <a:lnTo>
                    <a:pt x="555" y="0"/>
                  </a:lnTo>
                  <a:lnTo>
                    <a:pt x="555" y="0"/>
                  </a:lnTo>
                  <a:lnTo>
                    <a:pt x="529" y="1"/>
                  </a:lnTo>
                  <a:lnTo>
                    <a:pt x="513" y="2"/>
                  </a:lnTo>
                  <a:lnTo>
                    <a:pt x="471" y="422"/>
                  </a:lnTo>
                  <a:lnTo>
                    <a:pt x="564" y="422"/>
                  </a:lnTo>
                  <a:lnTo>
                    <a:pt x="584" y="140"/>
                  </a:lnTo>
                  <a:lnTo>
                    <a:pt x="672" y="353"/>
                  </a:lnTo>
                  <a:lnTo>
                    <a:pt x="672" y="353"/>
                  </a:lnTo>
                  <a:lnTo>
                    <a:pt x="675" y="359"/>
                  </a:lnTo>
                  <a:lnTo>
                    <a:pt x="679" y="364"/>
                  </a:lnTo>
                  <a:lnTo>
                    <a:pt x="684" y="368"/>
                  </a:lnTo>
                  <a:lnTo>
                    <a:pt x="689" y="371"/>
                  </a:lnTo>
                  <a:lnTo>
                    <a:pt x="695" y="373"/>
                  </a:lnTo>
                  <a:lnTo>
                    <a:pt x="702" y="376"/>
                  </a:lnTo>
                  <a:lnTo>
                    <a:pt x="710" y="377"/>
                  </a:lnTo>
                  <a:lnTo>
                    <a:pt x="719" y="377"/>
                  </a:lnTo>
                  <a:lnTo>
                    <a:pt x="719" y="377"/>
                  </a:lnTo>
                  <a:lnTo>
                    <a:pt x="728" y="377"/>
                  </a:lnTo>
                  <a:lnTo>
                    <a:pt x="737" y="376"/>
                  </a:lnTo>
                  <a:lnTo>
                    <a:pt x="744" y="373"/>
                  </a:lnTo>
                  <a:lnTo>
                    <a:pt x="750" y="371"/>
                  </a:lnTo>
                  <a:lnTo>
                    <a:pt x="755" y="368"/>
                  </a:lnTo>
                  <a:lnTo>
                    <a:pt x="759" y="364"/>
                  </a:lnTo>
                  <a:lnTo>
                    <a:pt x="762" y="359"/>
                  </a:lnTo>
                  <a:lnTo>
                    <a:pt x="765" y="353"/>
                  </a:lnTo>
                  <a:lnTo>
                    <a:pt x="853" y="140"/>
                  </a:lnTo>
                  <a:lnTo>
                    <a:pt x="874" y="422"/>
                  </a:lnTo>
                  <a:lnTo>
                    <a:pt x="967" y="422"/>
                  </a:lnTo>
                  <a:lnTo>
                    <a:pt x="925" y="2"/>
                  </a:lnTo>
                  <a:lnTo>
                    <a:pt x="925" y="2"/>
                  </a:lnTo>
                  <a:lnTo>
                    <a:pt x="909" y="1"/>
                  </a:lnTo>
                  <a:lnTo>
                    <a:pt x="883" y="0"/>
                  </a:lnTo>
                  <a:lnTo>
                    <a:pt x="883" y="0"/>
                  </a:lnTo>
                  <a:lnTo>
                    <a:pt x="868" y="1"/>
                  </a:lnTo>
                  <a:lnTo>
                    <a:pt x="856" y="1"/>
                  </a:lnTo>
                  <a:lnTo>
                    <a:pt x="845" y="3"/>
                  </a:lnTo>
                  <a:lnTo>
                    <a:pt x="836" y="7"/>
                  </a:lnTo>
                  <a:lnTo>
                    <a:pt x="827" y="11"/>
                  </a:lnTo>
                  <a:lnTo>
                    <a:pt x="819" y="19"/>
                  </a:lnTo>
                  <a:lnTo>
                    <a:pt x="813" y="28"/>
                  </a:lnTo>
                  <a:lnTo>
                    <a:pt x="808" y="39"/>
                  </a:lnTo>
                  <a:lnTo>
                    <a:pt x="726" y="246"/>
                  </a:lnTo>
                  <a:close/>
                  <a:moveTo>
                    <a:pt x="261" y="332"/>
                  </a:moveTo>
                  <a:lnTo>
                    <a:pt x="261" y="332"/>
                  </a:lnTo>
                  <a:lnTo>
                    <a:pt x="241" y="338"/>
                  </a:lnTo>
                  <a:lnTo>
                    <a:pt x="215" y="347"/>
                  </a:lnTo>
                  <a:lnTo>
                    <a:pt x="200" y="350"/>
                  </a:lnTo>
                  <a:lnTo>
                    <a:pt x="186" y="353"/>
                  </a:lnTo>
                  <a:lnTo>
                    <a:pt x="172" y="355"/>
                  </a:lnTo>
                  <a:lnTo>
                    <a:pt x="157" y="355"/>
                  </a:lnTo>
                  <a:lnTo>
                    <a:pt x="157" y="355"/>
                  </a:lnTo>
                  <a:lnTo>
                    <a:pt x="144" y="355"/>
                  </a:lnTo>
                  <a:lnTo>
                    <a:pt x="131" y="353"/>
                  </a:lnTo>
                  <a:lnTo>
                    <a:pt x="120" y="349"/>
                  </a:lnTo>
                  <a:lnTo>
                    <a:pt x="114" y="347"/>
                  </a:lnTo>
                  <a:lnTo>
                    <a:pt x="109" y="344"/>
                  </a:lnTo>
                  <a:lnTo>
                    <a:pt x="105" y="340"/>
                  </a:lnTo>
                  <a:lnTo>
                    <a:pt x="101" y="336"/>
                  </a:lnTo>
                  <a:lnTo>
                    <a:pt x="98" y="331"/>
                  </a:lnTo>
                  <a:lnTo>
                    <a:pt x="95" y="326"/>
                  </a:lnTo>
                  <a:lnTo>
                    <a:pt x="93" y="321"/>
                  </a:lnTo>
                  <a:lnTo>
                    <a:pt x="92" y="315"/>
                  </a:lnTo>
                  <a:lnTo>
                    <a:pt x="91" y="308"/>
                  </a:lnTo>
                  <a:lnTo>
                    <a:pt x="90" y="300"/>
                  </a:lnTo>
                  <a:lnTo>
                    <a:pt x="90" y="300"/>
                  </a:lnTo>
                  <a:lnTo>
                    <a:pt x="91" y="288"/>
                  </a:lnTo>
                  <a:lnTo>
                    <a:pt x="94" y="277"/>
                  </a:lnTo>
                  <a:lnTo>
                    <a:pt x="96" y="272"/>
                  </a:lnTo>
                  <a:lnTo>
                    <a:pt x="99" y="266"/>
                  </a:lnTo>
                  <a:lnTo>
                    <a:pt x="103" y="262"/>
                  </a:lnTo>
                  <a:lnTo>
                    <a:pt x="106" y="258"/>
                  </a:lnTo>
                  <a:lnTo>
                    <a:pt x="111" y="255"/>
                  </a:lnTo>
                  <a:lnTo>
                    <a:pt x="116" y="252"/>
                  </a:lnTo>
                  <a:lnTo>
                    <a:pt x="123" y="249"/>
                  </a:lnTo>
                  <a:lnTo>
                    <a:pt x="129" y="247"/>
                  </a:lnTo>
                  <a:lnTo>
                    <a:pt x="145" y="244"/>
                  </a:lnTo>
                  <a:lnTo>
                    <a:pt x="162" y="242"/>
                  </a:lnTo>
                  <a:lnTo>
                    <a:pt x="261" y="239"/>
                  </a:lnTo>
                  <a:lnTo>
                    <a:pt x="261" y="332"/>
                  </a:lnTo>
                  <a:close/>
                  <a:moveTo>
                    <a:pt x="205" y="0"/>
                  </a:moveTo>
                  <a:lnTo>
                    <a:pt x="205" y="0"/>
                  </a:lnTo>
                  <a:lnTo>
                    <a:pt x="176" y="1"/>
                  </a:lnTo>
                  <a:lnTo>
                    <a:pt x="147" y="4"/>
                  </a:lnTo>
                  <a:lnTo>
                    <a:pt x="121" y="7"/>
                  </a:lnTo>
                  <a:lnTo>
                    <a:pt x="97" y="12"/>
                  </a:lnTo>
                  <a:lnTo>
                    <a:pt x="77" y="17"/>
                  </a:lnTo>
                  <a:lnTo>
                    <a:pt x="58" y="23"/>
                  </a:lnTo>
                  <a:lnTo>
                    <a:pt x="44" y="28"/>
                  </a:lnTo>
                  <a:lnTo>
                    <a:pt x="33" y="33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63" y="98"/>
                  </a:lnTo>
                  <a:lnTo>
                    <a:pt x="92" y="91"/>
                  </a:lnTo>
                  <a:lnTo>
                    <a:pt x="111" y="86"/>
                  </a:lnTo>
                  <a:lnTo>
                    <a:pt x="133" y="82"/>
                  </a:lnTo>
                  <a:lnTo>
                    <a:pt x="155" y="80"/>
                  </a:lnTo>
                  <a:lnTo>
                    <a:pt x="179" y="79"/>
                  </a:lnTo>
                  <a:lnTo>
                    <a:pt x="179" y="79"/>
                  </a:lnTo>
                  <a:lnTo>
                    <a:pt x="197" y="80"/>
                  </a:lnTo>
                  <a:lnTo>
                    <a:pt x="214" y="82"/>
                  </a:lnTo>
                  <a:lnTo>
                    <a:pt x="221" y="84"/>
                  </a:lnTo>
                  <a:lnTo>
                    <a:pt x="228" y="86"/>
                  </a:lnTo>
                  <a:lnTo>
                    <a:pt x="234" y="90"/>
                  </a:lnTo>
                  <a:lnTo>
                    <a:pt x="239" y="94"/>
                  </a:lnTo>
                  <a:lnTo>
                    <a:pt x="244" y="98"/>
                  </a:lnTo>
                  <a:lnTo>
                    <a:pt x="248" y="102"/>
                  </a:lnTo>
                  <a:lnTo>
                    <a:pt x="251" y="108"/>
                  </a:lnTo>
                  <a:lnTo>
                    <a:pt x="254" y="114"/>
                  </a:lnTo>
                  <a:lnTo>
                    <a:pt x="256" y="120"/>
                  </a:lnTo>
                  <a:lnTo>
                    <a:pt x="258" y="129"/>
                  </a:lnTo>
                  <a:lnTo>
                    <a:pt x="260" y="137"/>
                  </a:lnTo>
                  <a:lnTo>
                    <a:pt x="260" y="146"/>
                  </a:lnTo>
                  <a:lnTo>
                    <a:pt x="260" y="176"/>
                  </a:lnTo>
                  <a:lnTo>
                    <a:pt x="179" y="176"/>
                  </a:lnTo>
                  <a:lnTo>
                    <a:pt x="179" y="176"/>
                  </a:lnTo>
                  <a:lnTo>
                    <a:pt x="154" y="177"/>
                  </a:lnTo>
                  <a:lnTo>
                    <a:pt x="132" y="179"/>
                  </a:lnTo>
                  <a:lnTo>
                    <a:pt x="111" y="182"/>
                  </a:lnTo>
                  <a:lnTo>
                    <a:pt x="93" y="187"/>
                  </a:lnTo>
                  <a:lnTo>
                    <a:pt x="77" y="192"/>
                  </a:lnTo>
                  <a:lnTo>
                    <a:pt x="61" y="200"/>
                  </a:lnTo>
                  <a:lnTo>
                    <a:pt x="49" y="207"/>
                  </a:lnTo>
                  <a:lnTo>
                    <a:pt x="38" y="216"/>
                  </a:lnTo>
                  <a:lnTo>
                    <a:pt x="29" y="225"/>
                  </a:lnTo>
                  <a:lnTo>
                    <a:pt x="20" y="236"/>
                  </a:lnTo>
                  <a:lnTo>
                    <a:pt x="14" y="246"/>
                  </a:lnTo>
                  <a:lnTo>
                    <a:pt x="9" y="257"/>
                  </a:lnTo>
                  <a:lnTo>
                    <a:pt x="5" y="270"/>
                  </a:lnTo>
                  <a:lnTo>
                    <a:pt x="2" y="282"/>
                  </a:lnTo>
                  <a:lnTo>
                    <a:pt x="1" y="294"/>
                  </a:lnTo>
                  <a:lnTo>
                    <a:pt x="0" y="307"/>
                  </a:lnTo>
                  <a:lnTo>
                    <a:pt x="0" y="307"/>
                  </a:lnTo>
                  <a:lnTo>
                    <a:pt x="1" y="323"/>
                  </a:lnTo>
                  <a:lnTo>
                    <a:pt x="3" y="338"/>
                  </a:lnTo>
                  <a:lnTo>
                    <a:pt x="7" y="352"/>
                  </a:lnTo>
                  <a:lnTo>
                    <a:pt x="12" y="364"/>
                  </a:lnTo>
                  <a:lnTo>
                    <a:pt x="19" y="376"/>
                  </a:lnTo>
                  <a:lnTo>
                    <a:pt x="27" y="386"/>
                  </a:lnTo>
                  <a:lnTo>
                    <a:pt x="35" y="394"/>
                  </a:lnTo>
                  <a:lnTo>
                    <a:pt x="45" y="401"/>
                  </a:lnTo>
                  <a:lnTo>
                    <a:pt x="54" y="408"/>
                  </a:lnTo>
                  <a:lnTo>
                    <a:pt x="65" y="414"/>
                  </a:lnTo>
                  <a:lnTo>
                    <a:pt x="77" y="418"/>
                  </a:lnTo>
                  <a:lnTo>
                    <a:pt x="89" y="422"/>
                  </a:lnTo>
                  <a:lnTo>
                    <a:pt x="101" y="424"/>
                  </a:lnTo>
                  <a:lnTo>
                    <a:pt x="113" y="426"/>
                  </a:lnTo>
                  <a:lnTo>
                    <a:pt x="126" y="427"/>
                  </a:lnTo>
                  <a:lnTo>
                    <a:pt x="138" y="428"/>
                  </a:lnTo>
                  <a:lnTo>
                    <a:pt x="138" y="428"/>
                  </a:lnTo>
                  <a:lnTo>
                    <a:pt x="151" y="427"/>
                  </a:lnTo>
                  <a:lnTo>
                    <a:pt x="164" y="426"/>
                  </a:lnTo>
                  <a:lnTo>
                    <a:pt x="189" y="423"/>
                  </a:lnTo>
                  <a:lnTo>
                    <a:pt x="209" y="418"/>
                  </a:lnTo>
                  <a:lnTo>
                    <a:pt x="227" y="412"/>
                  </a:lnTo>
                  <a:lnTo>
                    <a:pt x="241" y="406"/>
                  </a:lnTo>
                  <a:lnTo>
                    <a:pt x="252" y="401"/>
                  </a:lnTo>
                  <a:lnTo>
                    <a:pt x="260" y="397"/>
                  </a:lnTo>
                  <a:lnTo>
                    <a:pt x="264" y="396"/>
                  </a:lnTo>
                  <a:lnTo>
                    <a:pt x="264" y="396"/>
                  </a:lnTo>
                  <a:lnTo>
                    <a:pt x="266" y="397"/>
                  </a:lnTo>
                  <a:lnTo>
                    <a:pt x="270" y="398"/>
                  </a:lnTo>
                  <a:lnTo>
                    <a:pt x="276" y="401"/>
                  </a:lnTo>
                  <a:lnTo>
                    <a:pt x="284" y="404"/>
                  </a:lnTo>
                  <a:lnTo>
                    <a:pt x="295" y="407"/>
                  </a:lnTo>
                  <a:lnTo>
                    <a:pt x="311" y="411"/>
                  </a:lnTo>
                  <a:lnTo>
                    <a:pt x="329" y="412"/>
                  </a:lnTo>
                  <a:lnTo>
                    <a:pt x="352" y="413"/>
                  </a:lnTo>
                  <a:lnTo>
                    <a:pt x="352" y="122"/>
                  </a:lnTo>
                  <a:lnTo>
                    <a:pt x="352" y="122"/>
                  </a:lnTo>
                  <a:lnTo>
                    <a:pt x="352" y="106"/>
                  </a:lnTo>
                  <a:lnTo>
                    <a:pt x="350" y="92"/>
                  </a:lnTo>
                  <a:lnTo>
                    <a:pt x="347" y="78"/>
                  </a:lnTo>
                  <a:lnTo>
                    <a:pt x="343" y="66"/>
                  </a:lnTo>
                  <a:lnTo>
                    <a:pt x="337" y="56"/>
                  </a:lnTo>
                  <a:lnTo>
                    <a:pt x="331" y="45"/>
                  </a:lnTo>
                  <a:lnTo>
                    <a:pt x="323" y="36"/>
                  </a:lnTo>
                  <a:lnTo>
                    <a:pt x="314" y="29"/>
                  </a:lnTo>
                  <a:lnTo>
                    <a:pt x="304" y="22"/>
                  </a:lnTo>
                  <a:lnTo>
                    <a:pt x="293" y="15"/>
                  </a:lnTo>
                  <a:lnTo>
                    <a:pt x="281" y="11"/>
                  </a:lnTo>
                  <a:lnTo>
                    <a:pt x="268" y="7"/>
                  </a:lnTo>
                  <a:lnTo>
                    <a:pt x="253" y="4"/>
                  </a:lnTo>
                  <a:lnTo>
                    <a:pt x="238" y="2"/>
                  </a:lnTo>
                  <a:lnTo>
                    <a:pt x="223" y="1"/>
                  </a:lnTo>
                  <a:lnTo>
                    <a:pt x="205" y="0"/>
                  </a:lnTo>
                  <a:close/>
                  <a:moveTo>
                    <a:pt x="1319" y="332"/>
                  </a:moveTo>
                  <a:lnTo>
                    <a:pt x="1319" y="332"/>
                  </a:lnTo>
                  <a:lnTo>
                    <a:pt x="1300" y="338"/>
                  </a:lnTo>
                  <a:lnTo>
                    <a:pt x="1273" y="347"/>
                  </a:lnTo>
                  <a:lnTo>
                    <a:pt x="1259" y="350"/>
                  </a:lnTo>
                  <a:lnTo>
                    <a:pt x="1243" y="353"/>
                  </a:lnTo>
                  <a:lnTo>
                    <a:pt x="1229" y="355"/>
                  </a:lnTo>
                  <a:lnTo>
                    <a:pt x="1216" y="355"/>
                  </a:lnTo>
                  <a:lnTo>
                    <a:pt x="1216" y="355"/>
                  </a:lnTo>
                  <a:lnTo>
                    <a:pt x="1202" y="355"/>
                  </a:lnTo>
                  <a:lnTo>
                    <a:pt x="1189" y="353"/>
                  </a:lnTo>
                  <a:lnTo>
                    <a:pt x="1177" y="349"/>
                  </a:lnTo>
                  <a:lnTo>
                    <a:pt x="1172" y="347"/>
                  </a:lnTo>
                  <a:lnTo>
                    <a:pt x="1168" y="344"/>
                  </a:lnTo>
                  <a:lnTo>
                    <a:pt x="1164" y="340"/>
                  </a:lnTo>
                  <a:lnTo>
                    <a:pt x="1160" y="336"/>
                  </a:lnTo>
                  <a:lnTo>
                    <a:pt x="1157" y="331"/>
                  </a:lnTo>
                  <a:lnTo>
                    <a:pt x="1154" y="326"/>
                  </a:lnTo>
                  <a:lnTo>
                    <a:pt x="1151" y="321"/>
                  </a:lnTo>
                  <a:lnTo>
                    <a:pt x="1149" y="315"/>
                  </a:lnTo>
                  <a:lnTo>
                    <a:pt x="1148" y="308"/>
                  </a:lnTo>
                  <a:lnTo>
                    <a:pt x="1148" y="300"/>
                  </a:lnTo>
                  <a:lnTo>
                    <a:pt x="1148" y="300"/>
                  </a:lnTo>
                  <a:lnTo>
                    <a:pt x="1149" y="288"/>
                  </a:lnTo>
                  <a:lnTo>
                    <a:pt x="1152" y="277"/>
                  </a:lnTo>
                  <a:lnTo>
                    <a:pt x="1155" y="272"/>
                  </a:lnTo>
                  <a:lnTo>
                    <a:pt x="1158" y="266"/>
                  </a:lnTo>
                  <a:lnTo>
                    <a:pt x="1161" y="262"/>
                  </a:lnTo>
                  <a:lnTo>
                    <a:pt x="1165" y="258"/>
                  </a:lnTo>
                  <a:lnTo>
                    <a:pt x="1170" y="255"/>
                  </a:lnTo>
                  <a:lnTo>
                    <a:pt x="1175" y="252"/>
                  </a:lnTo>
                  <a:lnTo>
                    <a:pt x="1181" y="249"/>
                  </a:lnTo>
                  <a:lnTo>
                    <a:pt x="1187" y="247"/>
                  </a:lnTo>
                  <a:lnTo>
                    <a:pt x="1203" y="244"/>
                  </a:lnTo>
                  <a:lnTo>
                    <a:pt x="1221" y="242"/>
                  </a:lnTo>
                  <a:lnTo>
                    <a:pt x="1319" y="239"/>
                  </a:lnTo>
                  <a:lnTo>
                    <a:pt x="1319" y="332"/>
                  </a:lnTo>
                  <a:close/>
                  <a:moveTo>
                    <a:pt x="1264" y="0"/>
                  </a:moveTo>
                  <a:lnTo>
                    <a:pt x="1264" y="0"/>
                  </a:lnTo>
                  <a:lnTo>
                    <a:pt x="1233" y="1"/>
                  </a:lnTo>
                  <a:lnTo>
                    <a:pt x="1206" y="4"/>
                  </a:lnTo>
                  <a:lnTo>
                    <a:pt x="1179" y="7"/>
                  </a:lnTo>
                  <a:lnTo>
                    <a:pt x="1156" y="12"/>
                  </a:lnTo>
                  <a:lnTo>
                    <a:pt x="1135" y="17"/>
                  </a:lnTo>
                  <a:lnTo>
                    <a:pt x="1117" y="23"/>
                  </a:lnTo>
                  <a:lnTo>
                    <a:pt x="1102" y="28"/>
                  </a:lnTo>
                  <a:lnTo>
                    <a:pt x="1091" y="33"/>
                  </a:lnTo>
                  <a:lnTo>
                    <a:pt x="1111" y="102"/>
                  </a:lnTo>
                  <a:lnTo>
                    <a:pt x="1111" y="102"/>
                  </a:lnTo>
                  <a:lnTo>
                    <a:pt x="1122" y="98"/>
                  </a:lnTo>
                  <a:lnTo>
                    <a:pt x="1150" y="91"/>
                  </a:lnTo>
                  <a:lnTo>
                    <a:pt x="1169" y="86"/>
                  </a:lnTo>
                  <a:lnTo>
                    <a:pt x="1190" y="82"/>
                  </a:lnTo>
                  <a:lnTo>
                    <a:pt x="1213" y="80"/>
                  </a:lnTo>
                  <a:lnTo>
                    <a:pt x="1236" y="79"/>
                  </a:lnTo>
                  <a:lnTo>
                    <a:pt x="1236" y="79"/>
                  </a:lnTo>
                  <a:lnTo>
                    <a:pt x="1256" y="80"/>
                  </a:lnTo>
                  <a:lnTo>
                    <a:pt x="1272" y="82"/>
                  </a:lnTo>
                  <a:lnTo>
                    <a:pt x="1279" y="84"/>
                  </a:lnTo>
                  <a:lnTo>
                    <a:pt x="1285" y="86"/>
                  </a:lnTo>
                  <a:lnTo>
                    <a:pt x="1291" y="90"/>
                  </a:lnTo>
                  <a:lnTo>
                    <a:pt x="1298" y="94"/>
                  </a:lnTo>
                  <a:lnTo>
                    <a:pt x="1302" y="98"/>
                  </a:lnTo>
                  <a:lnTo>
                    <a:pt x="1306" y="102"/>
                  </a:lnTo>
                  <a:lnTo>
                    <a:pt x="1310" y="108"/>
                  </a:lnTo>
                  <a:lnTo>
                    <a:pt x="1313" y="114"/>
                  </a:lnTo>
                  <a:lnTo>
                    <a:pt x="1315" y="120"/>
                  </a:lnTo>
                  <a:lnTo>
                    <a:pt x="1316" y="129"/>
                  </a:lnTo>
                  <a:lnTo>
                    <a:pt x="1317" y="137"/>
                  </a:lnTo>
                  <a:lnTo>
                    <a:pt x="1318" y="146"/>
                  </a:lnTo>
                  <a:lnTo>
                    <a:pt x="1318" y="176"/>
                  </a:lnTo>
                  <a:lnTo>
                    <a:pt x="1236" y="176"/>
                  </a:lnTo>
                  <a:lnTo>
                    <a:pt x="1236" y="176"/>
                  </a:lnTo>
                  <a:lnTo>
                    <a:pt x="1212" y="177"/>
                  </a:lnTo>
                  <a:lnTo>
                    <a:pt x="1189" y="179"/>
                  </a:lnTo>
                  <a:lnTo>
                    <a:pt x="1169" y="182"/>
                  </a:lnTo>
                  <a:lnTo>
                    <a:pt x="1150" y="187"/>
                  </a:lnTo>
                  <a:lnTo>
                    <a:pt x="1134" y="192"/>
                  </a:lnTo>
                  <a:lnTo>
                    <a:pt x="1120" y="200"/>
                  </a:lnTo>
                  <a:lnTo>
                    <a:pt x="1108" y="207"/>
                  </a:lnTo>
                  <a:lnTo>
                    <a:pt x="1096" y="216"/>
                  </a:lnTo>
                  <a:lnTo>
                    <a:pt x="1086" y="225"/>
                  </a:lnTo>
                  <a:lnTo>
                    <a:pt x="1079" y="236"/>
                  </a:lnTo>
                  <a:lnTo>
                    <a:pt x="1072" y="246"/>
                  </a:lnTo>
                  <a:lnTo>
                    <a:pt x="1067" y="257"/>
                  </a:lnTo>
                  <a:lnTo>
                    <a:pt x="1064" y="270"/>
                  </a:lnTo>
                  <a:lnTo>
                    <a:pt x="1061" y="282"/>
                  </a:lnTo>
                  <a:lnTo>
                    <a:pt x="1058" y="294"/>
                  </a:lnTo>
                  <a:lnTo>
                    <a:pt x="1058" y="307"/>
                  </a:lnTo>
                  <a:lnTo>
                    <a:pt x="1058" y="307"/>
                  </a:lnTo>
                  <a:lnTo>
                    <a:pt x="1060" y="323"/>
                  </a:lnTo>
                  <a:lnTo>
                    <a:pt x="1062" y="338"/>
                  </a:lnTo>
                  <a:lnTo>
                    <a:pt x="1066" y="352"/>
                  </a:lnTo>
                  <a:lnTo>
                    <a:pt x="1071" y="364"/>
                  </a:lnTo>
                  <a:lnTo>
                    <a:pt x="1077" y="376"/>
                  </a:lnTo>
                  <a:lnTo>
                    <a:pt x="1085" y="386"/>
                  </a:lnTo>
                  <a:lnTo>
                    <a:pt x="1093" y="394"/>
                  </a:lnTo>
                  <a:lnTo>
                    <a:pt x="1102" y="401"/>
                  </a:lnTo>
                  <a:lnTo>
                    <a:pt x="1113" y="408"/>
                  </a:lnTo>
                  <a:lnTo>
                    <a:pt x="1124" y="414"/>
                  </a:lnTo>
                  <a:lnTo>
                    <a:pt x="1135" y="418"/>
                  </a:lnTo>
                  <a:lnTo>
                    <a:pt x="1146" y="422"/>
                  </a:lnTo>
                  <a:lnTo>
                    <a:pt x="1159" y="424"/>
                  </a:lnTo>
                  <a:lnTo>
                    <a:pt x="1171" y="426"/>
                  </a:lnTo>
                  <a:lnTo>
                    <a:pt x="1183" y="427"/>
                  </a:lnTo>
                  <a:lnTo>
                    <a:pt x="1195" y="428"/>
                  </a:lnTo>
                  <a:lnTo>
                    <a:pt x="1195" y="428"/>
                  </a:lnTo>
                  <a:lnTo>
                    <a:pt x="1210" y="427"/>
                  </a:lnTo>
                  <a:lnTo>
                    <a:pt x="1223" y="426"/>
                  </a:lnTo>
                  <a:lnTo>
                    <a:pt x="1246" y="423"/>
                  </a:lnTo>
                  <a:lnTo>
                    <a:pt x="1268" y="418"/>
                  </a:lnTo>
                  <a:lnTo>
                    <a:pt x="1285" y="412"/>
                  </a:lnTo>
                  <a:lnTo>
                    <a:pt x="1300" y="406"/>
                  </a:lnTo>
                  <a:lnTo>
                    <a:pt x="1311" y="401"/>
                  </a:lnTo>
                  <a:lnTo>
                    <a:pt x="1318" y="397"/>
                  </a:lnTo>
                  <a:lnTo>
                    <a:pt x="1322" y="396"/>
                  </a:lnTo>
                  <a:lnTo>
                    <a:pt x="1322" y="396"/>
                  </a:lnTo>
                  <a:lnTo>
                    <a:pt x="1324" y="397"/>
                  </a:lnTo>
                  <a:lnTo>
                    <a:pt x="1327" y="398"/>
                  </a:lnTo>
                  <a:lnTo>
                    <a:pt x="1333" y="401"/>
                  </a:lnTo>
                  <a:lnTo>
                    <a:pt x="1341" y="404"/>
                  </a:lnTo>
                  <a:lnTo>
                    <a:pt x="1354" y="407"/>
                  </a:lnTo>
                  <a:lnTo>
                    <a:pt x="1368" y="411"/>
                  </a:lnTo>
                  <a:lnTo>
                    <a:pt x="1387" y="412"/>
                  </a:lnTo>
                  <a:lnTo>
                    <a:pt x="1411" y="413"/>
                  </a:lnTo>
                  <a:lnTo>
                    <a:pt x="1411" y="122"/>
                  </a:lnTo>
                  <a:lnTo>
                    <a:pt x="1411" y="122"/>
                  </a:lnTo>
                  <a:lnTo>
                    <a:pt x="1411" y="106"/>
                  </a:lnTo>
                  <a:lnTo>
                    <a:pt x="1409" y="92"/>
                  </a:lnTo>
                  <a:lnTo>
                    <a:pt x="1406" y="78"/>
                  </a:lnTo>
                  <a:lnTo>
                    <a:pt x="1401" y="66"/>
                  </a:lnTo>
                  <a:lnTo>
                    <a:pt x="1396" y="56"/>
                  </a:lnTo>
                  <a:lnTo>
                    <a:pt x="1388" y="45"/>
                  </a:lnTo>
                  <a:lnTo>
                    <a:pt x="1381" y="36"/>
                  </a:lnTo>
                  <a:lnTo>
                    <a:pt x="1372" y="29"/>
                  </a:lnTo>
                  <a:lnTo>
                    <a:pt x="1362" y="22"/>
                  </a:lnTo>
                  <a:lnTo>
                    <a:pt x="1351" y="15"/>
                  </a:lnTo>
                  <a:lnTo>
                    <a:pt x="1339" y="11"/>
                  </a:lnTo>
                  <a:lnTo>
                    <a:pt x="1326" y="7"/>
                  </a:lnTo>
                  <a:lnTo>
                    <a:pt x="1312" y="4"/>
                  </a:lnTo>
                  <a:lnTo>
                    <a:pt x="1297" y="2"/>
                  </a:lnTo>
                  <a:lnTo>
                    <a:pt x="1280" y="1"/>
                  </a:lnTo>
                  <a:lnTo>
                    <a:pt x="1264" y="0"/>
                  </a:lnTo>
                  <a:close/>
                  <a:moveTo>
                    <a:pt x="2735" y="317"/>
                  </a:moveTo>
                  <a:lnTo>
                    <a:pt x="2735" y="317"/>
                  </a:lnTo>
                  <a:lnTo>
                    <a:pt x="2714" y="326"/>
                  </a:lnTo>
                  <a:lnTo>
                    <a:pt x="2700" y="331"/>
                  </a:lnTo>
                  <a:lnTo>
                    <a:pt x="2686" y="335"/>
                  </a:lnTo>
                  <a:lnTo>
                    <a:pt x="2671" y="340"/>
                  </a:lnTo>
                  <a:lnTo>
                    <a:pt x="2654" y="343"/>
                  </a:lnTo>
                  <a:lnTo>
                    <a:pt x="2638" y="345"/>
                  </a:lnTo>
                  <a:lnTo>
                    <a:pt x="2621" y="346"/>
                  </a:lnTo>
                  <a:lnTo>
                    <a:pt x="2621" y="346"/>
                  </a:lnTo>
                  <a:lnTo>
                    <a:pt x="2609" y="346"/>
                  </a:lnTo>
                  <a:lnTo>
                    <a:pt x="2599" y="345"/>
                  </a:lnTo>
                  <a:lnTo>
                    <a:pt x="2590" y="343"/>
                  </a:lnTo>
                  <a:lnTo>
                    <a:pt x="2583" y="341"/>
                  </a:lnTo>
                  <a:lnTo>
                    <a:pt x="2576" y="337"/>
                  </a:lnTo>
                  <a:lnTo>
                    <a:pt x="2570" y="333"/>
                  </a:lnTo>
                  <a:lnTo>
                    <a:pt x="2564" y="328"/>
                  </a:lnTo>
                  <a:lnTo>
                    <a:pt x="2560" y="323"/>
                  </a:lnTo>
                  <a:lnTo>
                    <a:pt x="2556" y="317"/>
                  </a:lnTo>
                  <a:lnTo>
                    <a:pt x="2553" y="311"/>
                  </a:lnTo>
                  <a:lnTo>
                    <a:pt x="2551" y="302"/>
                  </a:lnTo>
                  <a:lnTo>
                    <a:pt x="2549" y="294"/>
                  </a:lnTo>
                  <a:lnTo>
                    <a:pt x="2547" y="275"/>
                  </a:lnTo>
                  <a:lnTo>
                    <a:pt x="2547" y="252"/>
                  </a:lnTo>
                  <a:lnTo>
                    <a:pt x="2547" y="4"/>
                  </a:lnTo>
                  <a:lnTo>
                    <a:pt x="2533" y="4"/>
                  </a:lnTo>
                  <a:lnTo>
                    <a:pt x="2533" y="4"/>
                  </a:lnTo>
                  <a:lnTo>
                    <a:pt x="2513" y="4"/>
                  </a:lnTo>
                  <a:lnTo>
                    <a:pt x="2490" y="6"/>
                  </a:lnTo>
                  <a:lnTo>
                    <a:pt x="2467" y="8"/>
                  </a:lnTo>
                  <a:lnTo>
                    <a:pt x="2454" y="10"/>
                  </a:lnTo>
                  <a:lnTo>
                    <a:pt x="2454" y="263"/>
                  </a:lnTo>
                  <a:lnTo>
                    <a:pt x="2454" y="263"/>
                  </a:lnTo>
                  <a:lnTo>
                    <a:pt x="2454" y="284"/>
                  </a:lnTo>
                  <a:lnTo>
                    <a:pt x="2455" y="302"/>
                  </a:lnTo>
                  <a:lnTo>
                    <a:pt x="2457" y="320"/>
                  </a:lnTo>
                  <a:lnTo>
                    <a:pt x="2459" y="336"/>
                  </a:lnTo>
                  <a:lnTo>
                    <a:pt x="2463" y="351"/>
                  </a:lnTo>
                  <a:lnTo>
                    <a:pt x="2468" y="364"/>
                  </a:lnTo>
                  <a:lnTo>
                    <a:pt x="2475" y="377"/>
                  </a:lnTo>
                  <a:lnTo>
                    <a:pt x="2482" y="387"/>
                  </a:lnTo>
                  <a:lnTo>
                    <a:pt x="2490" y="397"/>
                  </a:lnTo>
                  <a:lnTo>
                    <a:pt x="2500" y="405"/>
                  </a:lnTo>
                  <a:lnTo>
                    <a:pt x="2512" y="412"/>
                  </a:lnTo>
                  <a:lnTo>
                    <a:pt x="2525" y="418"/>
                  </a:lnTo>
                  <a:lnTo>
                    <a:pt x="2540" y="422"/>
                  </a:lnTo>
                  <a:lnTo>
                    <a:pt x="2556" y="425"/>
                  </a:lnTo>
                  <a:lnTo>
                    <a:pt x="2575" y="427"/>
                  </a:lnTo>
                  <a:lnTo>
                    <a:pt x="2595" y="428"/>
                  </a:lnTo>
                  <a:lnTo>
                    <a:pt x="2595" y="428"/>
                  </a:lnTo>
                  <a:lnTo>
                    <a:pt x="2611" y="427"/>
                  </a:lnTo>
                  <a:lnTo>
                    <a:pt x="2626" y="426"/>
                  </a:lnTo>
                  <a:lnTo>
                    <a:pt x="2640" y="425"/>
                  </a:lnTo>
                  <a:lnTo>
                    <a:pt x="2653" y="422"/>
                  </a:lnTo>
                  <a:lnTo>
                    <a:pt x="2677" y="417"/>
                  </a:lnTo>
                  <a:lnTo>
                    <a:pt x="2697" y="411"/>
                  </a:lnTo>
                  <a:lnTo>
                    <a:pt x="2714" y="404"/>
                  </a:lnTo>
                  <a:lnTo>
                    <a:pt x="2725" y="399"/>
                  </a:lnTo>
                  <a:lnTo>
                    <a:pt x="2737" y="394"/>
                  </a:lnTo>
                  <a:lnTo>
                    <a:pt x="2737" y="394"/>
                  </a:lnTo>
                  <a:lnTo>
                    <a:pt x="2743" y="397"/>
                  </a:lnTo>
                  <a:lnTo>
                    <a:pt x="2750" y="400"/>
                  </a:lnTo>
                  <a:lnTo>
                    <a:pt x="2761" y="403"/>
                  </a:lnTo>
                  <a:lnTo>
                    <a:pt x="2773" y="406"/>
                  </a:lnTo>
                  <a:lnTo>
                    <a:pt x="2788" y="409"/>
                  </a:lnTo>
                  <a:lnTo>
                    <a:pt x="2807" y="412"/>
                  </a:lnTo>
                  <a:lnTo>
                    <a:pt x="2828" y="413"/>
                  </a:lnTo>
                  <a:lnTo>
                    <a:pt x="2828" y="10"/>
                  </a:lnTo>
                  <a:lnTo>
                    <a:pt x="2828" y="10"/>
                  </a:lnTo>
                  <a:lnTo>
                    <a:pt x="2796" y="6"/>
                  </a:lnTo>
                  <a:lnTo>
                    <a:pt x="2774" y="5"/>
                  </a:lnTo>
                  <a:lnTo>
                    <a:pt x="2753" y="4"/>
                  </a:lnTo>
                  <a:lnTo>
                    <a:pt x="2735" y="4"/>
                  </a:lnTo>
                  <a:lnTo>
                    <a:pt x="2735" y="317"/>
                  </a:lnTo>
                  <a:close/>
                  <a:moveTo>
                    <a:pt x="2937" y="413"/>
                  </a:moveTo>
                  <a:lnTo>
                    <a:pt x="2937" y="413"/>
                  </a:lnTo>
                  <a:lnTo>
                    <a:pt x="2948" y="415"/>
                  </a:lnTo>
                  <a:lnTo>
                    <a:pt x="2976" y="420"/>
                  </a:lnTo>
                  <a:lnTo>
                    <a:pt x="2997" y="423"/>
                  </a:lnTo>
                  <a:lnTo>
                    <a:pt x="3020" y="425"/>
                  </a:lnTo>
                  <a:lnTo>
                    <a:pt x="3047" y="427"/>
                  </a:lnTo>
                  <a:lnTo>
                    <a:pt x="3075" y="428"/>
                  </a:lnTo>
                  <a:lnTo>
                    <a:pt x="3075" y="428"/>
                  </a:lnTo>
                  <a:lnTo>
                    <a:pt x="3091" y="427"/>
                  </a:lnTo>
                  <a:lnTo>
                    <a:pt x="3105" y="426"/>
                  </a:lnTo>
                  <a:lnTo>
                    <a:pt x="3120" y="425"/>
                  </a:lnTo>
                  <a:lnTo>
                    <a:pt x="3135" y="422"/>
                  </a:lnTo>
                  <a:lnTo>
                    <a:pt x="3150" y="419"/>
                  </a:lnTo>
                  <a:lnTo>
                    <a:pt x="3164" y="414"/>
                  </a:lnTo>
                  <a:lnTo>
                    <a:pt x="3178" y="408"/>
                  </a:lnTo>
                  <a:lnTo>
                    <a:pt x="3191" y="402"/>
                  </a:lnTo>
                  <a:lnTo>
                    <a:pt x="3202" y="394"/>
                  </a:lnTo>
                  <a:lnTo>
                    <a:pt x="3213" y="385"/>
                  </a:lnTo>
                  <a:lnTo>
                    <a:pt x="3223" y="375"/>
                  </a:lnTo>
                  <a:lnTo>
                    <a:pt x="3232" y="363"/>
                  </a:lnTo>
                  <a:lnTo>
                    <a:pt x="3239" y="350"/>
                  </a:lnTo>
                  <a:lnTo>
                    <a:pt x="3244" y="334"/>
                  </a:lnTo>
                  <a:lnTo>
                    <a:pt x="3247" y="318"/>
                  </a:lnTo>
                  <a:lnTo>
                    <a:pt x="3248" y="300"/>
                  </a:lnTo>
                  <a:lnTo>
                    <a:pt x="3248" y="300"/>
                  </a:lnTo>
                  <a:lnTo>
                    <a:pt x="3247" y="288"/>
                  </a:lnTo>
                  <a:lnTo>
                    <a:pt x="3246" y="277"/>
                  </a:lnTo>
                  <a:lnTo>
                    <a:pt x="3243" y="266"/>
                  </a:lnTo>
                  <a:lnTo>
                    <a:pt x="3239" y="256"/>
                  </a:lnTo>
                  <a:lnTo>
                    <a:pt x="3234" y="248"/>
                  </a:lnTo>
                  <a:lnTo>
                    <a:pt x="3228" y="239"/>
                  </a:lnTo>
                  <a:lnTo>
                    <a:pt x="3220" y="231"/>
                  </a:lnTo>
                  <a:lnTo>
                    <a:pt x="3213" y="224"/>
                  </a:lnTo>
                  <a:lnTo>
                    <a:pt x="3204" y="217"/>
                  </a:lnTo>
                  <a:lnTo>
                    <a:pt x="3194" y="211"/>
                  </a:lnTo>
                  <a:lnTo>
                    <a:pt x="3184" y="204"/>
                  </a:lnTo>
                  <a:lnTo>
                    <a:pt x="3171" y="199"/>
                  </a:lnTo>
                  <a:lnTo>
                    <a:pt x="3146" y="187"/>
                  </a:lnTo>
                  <a:lnTo>
                    <a:pt x="3117" y="176"/>
                  </a:lnTo>
                  <a:lnTo>
                    <a:pt x="3117" y="176"/>
                  </a:lnTo>
                  <a:lnTo>
                    <a:pt x="3086" y="164"/>
                  </a:lnTo>
                  <a:lnTo>
                    <a:pt x="3072" y="157"/>
                  </a:lnTo>
                  <a:lnTo>
                    <a:pt x="3060" y="151"/>
                  </a:lnTo>
                  <a:lnTo>
                    <a:pt x="3050" y="144"/>
                  </a:lnTo>
                  <a:lnTo>
                    <a:pt x="3046" y="140"/>
                  </a:lnTo>
                  <a:lnTo>
                    <a:pt x="3043" y="136"/>
                  </a:lnTo>
                  <a:lnTo>
                    <a:pt x="3040" y="132"/>
                  </a:lnTo>
                  <a:lnTo>
                    <a:pt x="3038" y="127"/>
                  </a:lnTo>
                  <a:lnTo>
                    <a:pt x="3037" y="121"/>
                  </a:lnTo>
                  <a:lnTo>
                    <a:pt x="3037" y="116"/>
                  </a:lnTo>
                  <a:lnTo>
                    <a:pt x="3037" y="116"/>
                  </a:lnTo>
                  <a:lnTo>
                    <a:pt x="3037" y="110"/>
                  </a:lnTo>
                  <a:lnTo>
                    <a:pt x="3039" y="104"/>
                  </a:lnTo>
                  <a:lnTo>
                    <a:pt x="3043" y="97"/>
                  </a:lnTo>
                  <a:lnTo>
                    <a:pt x="3049" y="90"/>
                  </a:lnTo>
                  <a:lnTo>
                    <a:pt x="3053" y="86"/>
                  </a:lnTo>
                  <a:lnTo>
                    <a:pt x="3057" y="83"/>
                  </a:lnTo>
                  <a:lnTo>
                    <a:pt x="3063" y="81"/>
                  </a:lnTo>
                  <a:lnTo>
                    <a:pt x="3069" y="78"/>
                  </a:lnTo>
                  <a:lnTo>
                    <a:pt x="3076" y="76"/>
                  </a:lnTo>
                  <a:lnTo>
                    <a:pt x="3084" y="75"/>
                  </a:lnTo>
                  <a:lnTo>
                    <a:pt x="3093" y="74"/>
                  </a:lnTo>
                  <a:lnTo>
                    <a:pt x="3103" y="74"/>
                  </a:lnTo>
                  <a:lnTo>
                    <a:pt x="3103" y="74"/>
                  </a:lnTo>
                  <a:lnTo>
                    <a:pt x="3122" y="75"/>
                  </a:lnTo>
                  <a:lnTo>
                    <a:pt x="3142" y="77"/>
                  </a:lnTo>
                  <a:lnTo>
                    <a:pt x="3159" y="81"/>
                  </a:lnTo>
                  <a:lnTo>
                    <a:pt x="3175" y="85"/>
                  </a:lnTo>
                  <a:lnTo>
                    <a:pt x="3199" y="94"/>
                  </a:lnTo>
                  <a:lnTo>
                    <a:pt x="3208" y="98"/>
                  </a:lnTo>
                  <a:lnTo>
                    <a:pt x="3232" y="30"/>
                  </a:lnTo>
                  <a:lnTo>
                    <a:pt x="3232" y="30"/>
                  </a:lnTo>
                  <a:lnTo>
                    <a:pt x="3213" y="22"/>
                  </a:lnTo>
                  <a:lnTo>
                    <a:pt x="3200" y="16"/>
                  </a:lnTo>
                  <a:lnTo>
                    <a:pt x="3184" y="12"/>
                  </a:lnTo>
                  <a:lnTo>
                    <a:pt x="3165" y="7"/>
                  </a:lnTo>
                  <a:lnTo>
                    <a:pt x="3144" y="4"/>
                  </a:lnTo>
                  <a:lnTo>
                    <a:pt x="3120" y="1"/>
                  </a:lnTo>
                  <a:lnTo>
                    <a:pt x="3095" y="0"/>
                  </a:lnTo>
                  <a:lnTo>
                    <a:pt x="3095" y="0"/>
                  </a:lnTo>
                  <a:lnTo>
                    <a:pt x="3080" y="1"/>
                  </a:lnTo>
                  <a:lnTo>
                    <a:pt x="3066" y="2"/>
                  </a:lnTo>
                  <a:lnTo>
                    <a:pt x="3052" y="4"/>
                  </a:lnTo>
                  <a:lnTo>
                    <a:pt x="3039" y="8"/>
                  </a:lnTo>
                  <a:lnTo>
                    <a:pt x="3025" y="12"/>
                  </a:lnTo>
                  <a:lnTo>
                    <a:pt x="3013" y="17"/>
                  </a:lnTo>
                  <a:lnTo>
                    <a:pt x="3001" y="24"/>
                  </a:lnTo>
                  <a:lnTo>
                    <a:pt x="2990" y="31"/>
                  </a:lnTo>
                  <a:lnTo>
                    <a:pt x="2979" y="39"/>
                  </a:lnTo>
                  <a:lnTo>
                    <a:pt x="2970" y="47"/>
                  </a:lnTo>
                  <a:lnTo>
                    <a:pt x="2962" y="58"/>
                  </a:lnTo>
                  <a:lnTo>
                    <a:pt x="2956" y="69"/>
                  </a:lnTo>
                  <a:lnTo>
                    <a:pt x="2950" y="80"/>
                  </a:lnTo>
                  <a:lnTo>
                    <a:pt x="2946" y="94"/>
                  </a:lnTo>
                  <a:lnTo>
                    <a:pt x="2944" y="107"/>
                  </a:lnTo>
                  <a:lnTo>
                    <a:pt x="2943" y="122"/>
                  </a:lnTo>
                  <a:lnTo>
                    <a:pt x="2943" y="122"/>
                  </a:lnTo>
                  <a:lnTo>
                    <a:pt x="2944" y="137"/>
                  </a:lnTo>
                  <a:lnTo>
                    <a:pt x="2946" y="150"/>
                  </a:lnTo>
                  <a:lnTo>
                    <a:pt x="2950" y="164"/>
                  </a:lnTo>
                  <a:lnTo>
                    <a:pt x="2956" y="175"/>
                  </a:lnTo>
                  <a:lnTo>
                    <a:pt x="2962" y="185"/>
                  </a:lnTo>
                  <a:lnTo>
                    <a:pt x="2970" y="194"/>
                  </a:lnTo>
                  <a:lnTo>
                    <a:pt x="2979" y="203"/>
                  </a:lnTo>
                  <a:lnTo>
                    <a:pt x="2988" y="210"/>
                  </a:lnTo>
                  <a:lnTo>
                    <a:pt x="2999" y="217"/>
                  </a:lnTo>
                  <a:lnTo>
                    <a:pt x="3010" y="223"/>
                  </a:lnTo>
                  <a:lnTo>
                    <a:pt x="3021" y="229"/>
                  </a:lnTo>
                  <a:lnTo>
                    <a:pt x="3032" y="235"/>
                  </a:lnTo>
                  <a:lnTo>
                    <a:pt x="3056" y="243"/>
                  </a:lnTo>
                  <a:lnTo>
                    <a:pt x="3079" y="251"/>
                  </a:lnTo>
                  <a:lnTo>
                    <a:pt x="3079" y="251"/>
                  </a:lnTo>
                  <a:lnTo>
                    <a:pt x="3108" y="261"/>
                  </a:lnTo>
                  <a:lnTo>
                    <a:pt x="3121" y="266"/>
                  </a:lnTo>
                  <a:lnTo>
                    <a:pt x="3133" y="273"/>
                  </a:lnTo>
                  <a:lnTo>
                    <a:pt x="3142" y="280"/>
                  </a:lnTo>
                  <a:lnTo>
                    <a:pt x="3148" y="287"/>
                  </a:lnTo>
                  <a:lnTo>
                    <a:pt x="3151" y="291"/>
                  </a:lnTo>
                  <a:lnTo>
                    <a:pt x="3153" y="296"/>
                  </a:lnTo>
                  <a:lnTo>
                    <a:pt x="3154" y="300"/>
                  </a:lnTo>
                  <a:lnTo>
                    <a:pt x="3154" y="306"/>
                  </a:lnTo>
                  <a:lnTo>
                    <a:pt x="3154" y="306"/>
                  </a:lnTo>
                  <a:lnTo>
                    <a:pt x="3154" y="315"/>
                  </a:lnTo>
                  <a:lnTo>
                    <a:pt x="3151" y="324"/>
                  </a:lnTo>
                  <a:lnTo>
                    <a:pt x="3149" y="328"/>
                  </a:lnTo>
                  <a:lnTo>
                    <a:pt x="3146" y="332"/>
                  </a:lnTo>
                  <a:lnTo>
                    <a:pt x="3143" y="335"/>
                  </a:lnTo>
                  <a:lnTo>
                    <a:pt x="3139" y="340"/>
                  </a:lnTo>
                  <a:lnTo>
                    <a:pt x="3134" y="343"/>
                  </a:lnTo>
                  <a:lnTo>
                    <a:pt x="3127" y="346"/>
                  </a:lnTo>
                  <a:lnTo>
                    <a:pt x="3121" y="348"/>
                  </a:lnTo>
                  <a:lnTo>
                    <a:pt x="3113" y="350"/>
                  </a:lnTo>
                  <a:lnTo>
                    <a:pt x="3104" y="352"/>
                  </a:lnTo>
                  <a:lnTo>
                    <a:pt x="3095" y="353"/>
                  </a:lnTo>
                  <a:lnTo>
                    <a:pt x="3071" y="354"/>
                  </a:lnTo>
                  <a:lnTo>
                    <a:pt x="3071" y="354"/>
                  </a:lnTo>
                  <a:lnTo>
                    <a:pt x="3050" y="354"/>
                  </a:lnTo>
                  <a:lnTo>
                    <a:pt x="3029" y="352"/>
                  </a:lnTo>
                  <a:lnTo>
                    <a:pt x="2992" y="348"/>
                  </a:lnTo>
                  <a:lnTo>
                    <a:pt x="2965" y="344"/>
                  </a:lnTo>
                  <a:lnTo>
                    <a:pt x="2955" y="342"/>
                  </a:lnTo>
                  <a:lnTo>
                    <a:pt x="2937" y="413"/>
                  </a:lnTo>
                  <a:close/>
                  <a:moveTo>
                    <a:pt x="1639" y="80"/>
                  </a:moveTo>
                  <a:lnTo>
                    <a:pt x="1639" y="80"/>
                  </a:lnTo>
                  <a:lnTo>
                    <a:pt x="1653" y="77"/>
                  </a:lnTo>
                  <a:lnTo>
                    <a:pt x="1670" y="75"/>
                  </a:lnTo>
                  <a:lnTo>
                    <a:pt x="1691" y="73"/>
                  </a:lnTo>
                  <a:lnTo>
                    <a:pt x="1712" y="73"/>
                  </a:lnTo>
                  <a:lnTo>
                    <a:pt x="1712" y="73"/>
                  </a:lnTo>
                  <a:lnTo>
                    <a:pt x="1726" y="73"/>
                  </a:lnTo>
                  <a:lnTo>
                    <a:pt x="1737" y="74"/>
                  </a:lnTo>
                  <a:lnTo>
                    <a:pt x="1749" y="77"/>
                  </a:lnTo>
                  <a:lnTo>
                    <a:pt x="1760" y="80"/>
                  </a:lnTo>
                  <a:lnTo>
                    <a:pt x="1771" y="84"/>
                  </a:lnTo>
                  <a:lnTo>
                    <a:pt x="1780" y="90"/>
                  </a:lnTo>
                  <a:lnTo>
                    <a:pt x="1790" y="97"/>
                  </a:lnTo>
                  <a:lnTo>
                    <a:pt x="1798" y="104"/>
                  </a:lnTo>
                  <a:lnTo>
                    <a:pt x="1805" y="113"/>
                  </a:lnTo>
                  <a:lnTo>
                    <a:pt x="1813" y="122"/>
                  </a:lnTo>
                  <a:lnTo>
                    <a:pt x="1819" y="134"/>
                  </a:lnTo>
                  <a:lnTo>
                    <a:pt x="1824" y="147"/>
                  </a:lnTo>
                  <a:lnTo>
                    <a:pt x="1828" y="161"/>
                  </a:lnTo>
                  <a:lnTo>
                    <a:pt x="1831" y="176"/>
                  </a:lnTo>
                  <a:lnTo>
                    <a:pt x="1832" y="192"/>
                  </a:lnTo>
                  <a:lnTo>
                    <a:pt x="1833" y="211"/>
                  </a:lnTo>
                  <a:lnTo>
                    <a:pt x="1833" y="211"/>
                  </a:lnTo>
                  <a:lnTo>
                    <a:pt x="1833" y="228"/>
                  </a:lnTo>
                  <a:lnTo>
                    <a:pt x="1832" y="245"/>
                  </a:lnTo>
                  <a:lnTo>
                    <a:pt x="1830" y="260"/>
                  </a:lnTo>
                  <a:lnTo>
                    <a:pt x="1827" y="275"/>
                  </a:lnTo>
                  <a:lnTo>
                    <a:pt x="1824" y="288"/>
                  </a:lnTo>
                  <a:lnTo>
                    <a:pt x="1820" y="299"/>
                  </a:lnTo>
                  <a:lnTo>
                    <a:pt x="1814" y="311"/>
                  </a:lnTo>
                  <a:lnTo>
                    <a:pt x="1807" y="320"/>
                  </a:lnTo>
                  <a:lnTo>
                    <a:pt x="1799" y="328"/>
                  </a:lnTo>
                  <a:lnTo>
                    <a:pt x="1790" y="335"/>
                  </a:lnTo>
                  <a:lnTo>
                    <a:pt x="1780" y="342"/>
                  </a:lnTo>
                  <a:lnTo>
                    <a:pt x="1768" y="347"/>
                  </a:lnTo>
                  <a:lnTo>
                    <a:pt x="1754" y="350"/>
                  </a:lnTo>
                  <a:lnTo>
                    <a:pt x="1739" y="353"/>
                  </a:lnTo>
                  <a:lnTo>
                    <a:pt x="1723" y="355"/>
                  </a:lnTo>
                  <a:lnTo>
                    <a:pt x="1704" y="355"/>
                  </a:lnTo>
                  <a:lnTo>
                    <a:pt x="1704" y="355"/>
                  </a:lnTo>
                  <a:lnTo>
                    <a:pt x="1681" y="354"/>
                  </a:lnTo>
                  <a:lnTo>
                    <a:pt x="1659" y="353"/>
                  </a:lnTo>
                  <a:lnTo>
                    <a:pt x="1639" y="351"/>
                  </a:lnTo>
                  <a:lnTo>
                    <a:pt x="1639" y="80"/>
                  </a:lnTo>
                  <a:close/>
                  <a:moveTo>
                    <a:pt x="1717" y="0"/>
                  </a:moveTo>
                  <a:lnTo>
                    <a:pt x="1717" y="0"/>
                  </a:lnTo>
                  <a:lnTo>
                    <a:pt x="1696" y="1"/>
                  </a:lnTo>
                  <a:lnTo>
                    <a:pt x="1675" y="2"/>
                  </a:lnTo>
                  <a:lnTo>
                    <a:pt x="1652" y="4"/>
                  </a:lnTo>
                  <a:lnTo>
                    <a:pt x="1629" y="7"/>
                  </a:lnTo>
                  <a:lnTo>
                    <a:pt x="1606" y="10"/>
                  </a:lnTo>
                  <a:lnTo>
                    <a:pt x="1585" y="14"/>
                  </a:lnTo>
                  <a:lnTo>
                    <a:pt x="1564" y="20"/>
                  </a:lnTo>
                  <a:lnTo>
                    <a:pt x="1546" y="26"/>
                  </a:lnTo>
                  <a:lnTo>
                    <a:pt x="1546" y="415"/>
                  </a:lnTo>
                  <a:lnTo>
                    <a:pt x="1546" y="415"/>
                  </a:lnTo>
                  <a:lnTo>
                    <a:pt x="1561" y="418"/>
                  </a:lnTo>
                  <a:lnTo>
                    <a:pt x="1580" y="420"/>
                  </a:lnTo>
                  <a:lnTo>
                    <a:pt x="1619" y="424"/>
                  </a:lnTo>
                  <a:lnTo>
                    <a:pt x="1662" y="427"/>
                  </a:lnTo>
                  <a:lnTo>
                    <a:pt x="1701" y="428"/>
                  </a:lnTo>
                  <a:lnTo>
                    <a:pt x="1701" y="428"/>
                  </a:lnTo>
                  <a:lnTo>
                    <a:pt x="1732" y="427"/>
                  </a:lnTo>
                  <a:lnTo>
                    <a:pt x="1758" y="425"/>
                  </a:lnTo>
                  <a:lnTo>
                    <a:pt x="1784" y="421"/>
                  </a:lnTo>
                  <a:lnTo>
                    <a:pt x="1807" y="415"/>
                  </a:lnTo>
                  <a:lnTo>
                    <a:pt x="1828" y="408"/>
                  </a:lnTo>
                  <a:lnTo>
                    <a:pt x="1847" y="399"/>
                  </a:lnTo>
                  <a:lnTo>
                    <a:pt x="1855" y="394"/>
                  </a:lnTo>
                  <a:lnTo>
                    <a:pt x="1864" y="389"/>
                  </a:lnTo>
                  <a:lnTo>
                    <a:pt x="1872" y="383"/>
                  </a:lnTo>
                  <a:lnTo>
                    <a:pt x="1879" y="377"/>
                  </a:lnTo>
                  <a:lnTo>
                    <a:pt x="1885" y="369"/>
                  </a:lnTo>
                  <a:lnTo>
                    <a:pt x="1891" y="362"/>
                  </a:lnTo>
                  <a:lnTo>
                    <a:pt x="1897" y="355"/>
                  </a:lnTo>
                  <a:lnTo>
                    <a:pt x="1902" y="347"/>
                  </a:lnTo>
                  <a:lnTo>
                    <a:pt x="1907" y="337"/>
                  </a:lnTo>
                  <a:lnTo>
                    <a:pt x="1912" y="329"/>
                  </a:lnTo>
                  <a:lnTo>
                    <a:pt x="1919" y="309"/>
                  </a:lnTo>
                  <a:lnTo>
                    <a:pt x="1924" y="287"/>
                  </a:lnTo>
                  <a:lnTo>
                    <a:pt x="1928" y="264"/>
                  </a:lnTo>
                  <a:lnTo>
                    <a:pt x="1930" y="239"/>
                  </a:lnTo>
                  <a:lnTo>
                    <a:pt x="1931" y="211"/>
                  </a:lnTo>
                  <a:lnTo>
                    <a:pt x="1931" y="211"/>
                  </a:lnTo>
                  <a:lnTo>
                    <a:pt x="1930" y="187"/>
                  </a:lnTo>
                  <a:lnTo>
                    <a:pt x="1927" y="164"/>
                  </a:lnTo>
                  <a:lnTo>
                    <a:pt x="1923" y="143"/>
                  </a:lnTo>
                  <a:lnTo>
                    <a:pt x="1917" y="122"/>
                  </a:lnTo>
                  <a:lnTo>
                    <a:pt x="1909" y="104"/>
                  </a:lnTo>
                  <a:lnTo>
                    <a:pt x="1898" y="86"/>
                  </a:lnTo>
                  <a:lnTo>
                    <a:pt x="1887" y="71"/>
                  </a:lnTo>
                  <a:lnTo>
                    <a:pt x="1874" y="57"/>
                  </a:lnTo>
                  <a:lnTo>
                    <a:pt x="1860" y="43"/>
                  </a:lnTo>
                  <a:lnTo>
                    <a:pt x="1843" y="32"/>
                  </a:lnTo>
                  <a:lnTo>
                    <a:pt x="1826" y="23"/>
                  </a:lnTo>
                  <a:lnTo>
                    <a:pt x="1806" y="14"/>
                  </a:lnTo>
                  <a:lnTo>
                    <a:pt x="1786" y="8"/>
                  </a:lnTo>
                  <a:lnTo>
                    <a:pt x="1764" y="4"/>
                  </a:lnTo>
                  <a:lnTo>
                    <a:pt x="1741" y="1"/>
                  </a:lnTo>
                  <a:lnTo>
                    <a:pt x="1717" y="0"/>
                  </a:lnTo>
                  <a:close/>
                </a:path>
              </a:pathLst>
            </a:custGeom>
            <a:solidFill>
              <a:srgbClr val="005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5160" y="3974"/>
              <a:ext cx="76" cy="107"/>
            </a:xfrm>
            <a:custGeom>
              <a:avLst/>
              <a:gdLst>
                <a:gd name="T0" fmla="*/ 0 w 305"/>
                <a:gd name="T1" fmla="*/ 407 h 428"/>
                <a:gd name="T2" fmla="*/ 0 w 305"/>
                <a:gd name="T3" fmla="*/ 407 h 428"/>
                <a:gd name="T4" fmla="*/ 13 w 305"/>
                <a:gd name="T5" fmla="*/ 411 h 428"/>
                <a:gd name="T6" fmla="*/ 47 w 305"/>
                <a:gd name="T7" fmla="*/ 418 h 428"/>
                <a:gd name="T8" fmla="*/ 71 w 305"/>
                <a:gd name="T9" fmla="*/ 421 h 428"/>
                <a:gd name="T10" fmla="*/ 98 w 305"/>
                <a:gd name="T11" fmla="*/ 425 h 428"/>
                <a:gd name="T12" fmla="*/ 129 w 305"/>
                <a:gd name="T13" fmla="*/ 427 h 428"/>
                <a:gd name="T14" fmla="*/ 163 w 305"/>
                <a:gd name="T15" fmla="*/ 428 h 428"/>
                <a:gd name="T16" fmla="*/ 163 w 305"/>
                <a:gd name="T17" fmla="*/ 428 h 428"/>
                <a:gd name="T18" fmla="*/ 197 w 305"/>
                <a:gd name="T19" fmla="*/ 427 h 428"/>
                <a:gd name="T20" fmla="*/ 226 w 305"/>
                <a:gd name="T21" fmla="*/ 426 h 428"/>
                <a:gd name="T22" fmla="*/ 251 w 305"/>
                <a:gd name="T23" fmla="*/ 424 h 428"/>
                <a:gd name="T24" fmla="*/ 270 w 305"/>
                <a:gd name="T25" fmla="*/ 422 h 428"/>
                <a:gd name="T26" fmla="*/ 297 w 305"/>
                <a:gd name="T27" fmla="*/ 419 h 428"/>
                <a:gd name="T28" fmla="*/ 305 w 305"/>
                <a:gd name="T29" fmla="*/ 417 h 428"/>
                <a:gd name="T30" fmla="*/ 305 w 305"/>
                <a:gd name="T31" fmla="*/ 346 h 428"/>
                <a:gd name="T32" fmla="*/ 305 w 305"/>
                <a:gd name="T33" fmla="*/ 346 h 428"/>
                <a:gd name="T34" fmla="*/ 297 w 305"/>
                <a:gd name="T35" fmla="*/ 347 h 428"/>
                <a:gd name="T36" fmla="*/ 272 w 305"/>
                <a:gd name="T37" fmla="*/ 351 h 428"/>
                <a:gd name="T38" fmla="*/ 235 w 305"/>
                <a:gd name="T39" fmla="*/ 354 h 428"/>
                <a:gd name="T40" fmla="*/ 213 w 305"/>
                <a:gd name="T41" fmla="*/ 355 h 428"/>
                <a:gd name="T42" fmla="*/ 188 w 305"/>
                <a:gd name="T43" fmla="*/ 355 h 428"/>
                <a:gd name="T44" fmla="*/ 188 w 305"/>
                <a:gd name="T45" fmla="*/ 355 h 428"/>
                <a:gd name="T46" fmla="*/ 167 w 305"/>
                <a:gd name="T47" fmla="*/ 355 h 428"/>
                <a:gd name="T48" fmla="*/ 149 w 305"/>
                <a:gd name="T49" fmla="*/ 354 h 428"/>
                <a:gd name="T50" fmla="*/ 118 w 305"/>
                <a:gd name="T51" fmla="*/ 351 h 428"/>
                <a:gd name="T52" fmla="*/ 99 w 305"/>
                <a:gd name="T53" fmla="*/ 349 h 428"/>
                <a:gd name="T54" fmla="*/ 92 w 305"/>
                <a:gd name="T55" fmla="*/ 348 h 428"/>
                <a:gd name="T56" fmla="*/ 92 w 305"/>
                <a:gd name="T57" fmla="*/ 247 h 428"/>
                <a:gd name="T58" fmla="*/ 276 w 305"/>
                <a:gd name="T59" fmla="*/ 247 h 428"/>
                <a:gd name="T60" fmla="*/ 276 w 305"/>
                <a:gd name="T61" fmla="*/ 175 h 428"/>
                <a:gd name="T62" fmla="*/ 92 w 305"/>
                <a:gd name="T63" fmla="*/ 175 h 428"/>
                <a:gd name="T64" fmla="*/ 92 w 305"/>
                <a:gd name="T65" fmla="*/ 79 h 428"/>
                <a:gd name="T66" fmla="*/ 92 w 305"/>
                <a:gd name="T67" fmla="*/ 79 h 428"/>
                <a:gd name="T68" fmla="*/ 99 w 305"/>
                <a:gd name="T69" fmla="*/ 78 h 428"/>
                <a:gd name="T70" fmla="*/ 117 w 305"/>
                <a:gd name="T71" fmla="*/ 76 h 428"/>
                <a:gd name="T72" fmla="*/ 145 w 305"/>
                <a:gd name="T73" fmla="*/ 74 h 428"/>
                <a:gd name="T74" fmla="*/ 182 w 305"/>
                <a:gd name="T75" fmla="*/ 73 h 428"/>
                <a:gd name="T76" fmla="*/ 182 w 305"/>
                <a:gd name="T77" fmla="*/ 73 h 428"/>
                <a:gd name="T78" fmla="*/ 205 w 305"/>
                <a:gd name="T79" fmla="*/ 73 h 428"/>
                <a:gd name="T80" fmla="*/ 226 w 305"/>
                <a:gd name="T81" fmla="*/ 74 h 428"/>
                <a:gd name="T82" fmla="*/ 263 w 305"/>
                <a:gd name="T83" fmla="*/ 77 h 428"/>
                <a:gd name="T84" fmla="*/ 289 w 305"/>
                <a:gd name="T85" fmla="*/ 80 h 428"/>
                <a:gd name="T86" fmla="*/ 298 w 305"/>
                <a:gd name="T87" fmla="*/ 82 h 428"/>
                <a:gd name="T88" fmla="*/ 298 w 305"/>
                <a:gd name="T89" fmla="*/ 10 h 428"/>
                <a:gd name="T90" fmla="*/ 298 w 305"/>
                <a:gd name="T91" fmla="*/ 10 h 428"/>
                <a:gd name="T92" fmla="*/ 289 w 305"/>
                <a:gd name="T93" fmla="*/ 9 h 428"/>
                <a:gd name="T94" fmla="*/ 264 w 305"/>
                <a:gd name="T95" fmla="*/ 5 h 428"/>
                <a:gd name="T96" fmla="*/ 224 w 305"/>
                <a:gd name="T97" fmla="*/ 2 h 428"/>
                <a:gd name="T98" fmla="*/ 200 w 305"/>
                <a:gd name="T99" fmla="*/ 1 h 428"/>
                <a:gd name="T100" fmla="*/ 172 w 305"/>
                <a:gd name="T101" fmla="*/ 0 h 428"/>
                <a:gd name="T102" fmla="*/ 172 w 305"/>
                <a:gd name="T103" fmla="*/ 0 h 428"/>
                <a:gd name="T104" fmla="*/ 134 w 305"/>
                <a:gd name="T105" fmla="*/ 1 h 428"/>
                <a:gd name="T106" fmla="*/ 102 w 305"/>
                <a:gd name="T107" fmla="*/ 3 h 428"/>
                <a:gd name="T108" fmla="*/ 72 w 305"/>
                <a:gd name="T109" fmla="*/ 6 h 428"/>
                <a:gd name="T110" fmla="*/ 47 w 305"/>
                <a:gd name="T111" fmla="*/ 9 h 428"/>
                <a:gd name="T112" fmla="*/ 27 w 305"/>
                <a:gd name="T113" fmla="*/ 13 h 428"/>
                <a:gd name="T114" fmla="*/ 13 w 305"/>
                <a:gd name="T115" fmla="*/ 15 h 428"/>
                <a:gd name="T116" fmla="*/ 0 w 305"/>
                <a:gd name="T117" fmla="*/ 19 h 428"/>
                <a:gd name="T118" fmla="*/ 0 w 305"/>
                <a:gd name="T119" fmla="*/ 407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05" h="428">
                  <a:moveTo>
                    <a:pt x="0" y="407"/>
                  </a:moveTo>
                  <a:lnTo>
                    <a:pt x="0" y="407"/>
                  </a:lnTo>
                  <a:lnTo>
                    <a:pt x="13" y="411"/>
                  </a:lnTo>
                  <a:lnTo>
                    <a:pt x="47" y="418"/>
                  </a:lnTo>
                  <a:lnTo>
                    <a:pt x="71" y="421"/>
                  </a:lnTo>
                  <a:lnTo>
                    <a:pt x="98" y="425"/>
                  </a:lnTo>
                  <a:lnTo>
                    <a:pt x="129" y="427"/>
                  </a:lnTo>
                  <a:lnTo>
                    <a:pt x="163" y="428"/>
                  </a:lnTo>
                  <a:lnTo>
                    <a:pt x="163" y="428"/>
                  </a:lnTo>
                  <a:lnTo>
                    <a:pt x="197" y="427"/>
                  </a:lnTo>
                  <a:lnTo>
                    <a:pt x="226" y="426"/>
                  </a:lnTo>
                  <a:lnTo>
                    <a:pt x="251" y="424"/>
                  </a:lnTo>
                  <a:lnTo>
                    <a:pt x="270" y="422"/>
                  </a:lnTo>
                  <a:lnTo>
                    <a:pt x="297" y="419"/>
                  </a:lnTo>
                  <a:lnTo>
                    <a:pt x="305" y="417"/>
                  </a:lnTo>
                  <a:lnTo>
                    <a:pt x="305" y="346"/>
                  </a:lnTo>
                  <a:lnTo>
                    <a:pt x="305" y="346"/>
                  </a:lnTo>
                  <a:lnTo>
                    <a:pt x="297" y="347"/>
                  </a:lnTo>
                  <a:lnTo>
                    <a:pt x="272" y="351"/>
                  </a:lnTo>
                  <a:lnTo>
                    <a:pt x="235" y="354"/>
                  </a:lnTo>
                  <a:lnTo>
                    <a:pt x="213" y="355"/>
                  </a:lnTo>
                  <a:lnTo>
                    <a:pt x="188" y="355"/>
                  </a:lnTo>
                  <a:lnTo>
                    <a:pt x="188" y="355"/>
                  </a:lnTo>
                  <a:lnTo>
                    <a:pt x="167" y="355"/>
                  </a:lnTo>
                  <a:lnTo>
                    <a:pt x="149" y="354"/>
                  </a:lnTo>
                  <a:lnTo>
                    <a:pt x="118" y="351"/>
                  </a:lnTo>
                  <a:lnTo>
                    <a:pt x="99" y="349"/>
                  </a:lnTo>
                  <a:lnTo>
                    <a:pt x="92" y="348"/>
                  </a:lnTo>
                  <a:lnTo>
                    <a:pt x="92" y="247"/>
                  </a:lnTo>
                  <a:lnTo>
                    <a:pt x="276" y="247"/>
                  </a:lnTo>
                  <a:lnTo>
                    <a:pt x="276" y="175"/>
                  </a:lnTo>
                  <a:lnTo>
                    <a:pt x="92" y="175"/>
                  </a:lnTo>
                  <a:lnTo>
                    <a:pt x="92" y="79"/>
                  </a:lnTo>
                  <a:lnTo>
                    <a:pt x="92" y="79"/>
                  </a:lnTo>
                  <a:lnTo>
                    <a:pt x="99" y="78"/>
                  </a:lnTo>
                  <a:lnTo>
                    <a:pt x="117" y="76"/>
                  </a:lnTo>
                  <a:lnTo>
                    <a:pt x="145" y="74"/>
                  </a:lnTo>
                  <a:lnTo>
                    <a:pt x="182" y="73"/>
                  </a:lnTo>
                  <a:lnTo>
                    <a:pt x="182" y="73"/>
                  </a:lnTo>
                  <a:lnTo>
                    <a:pt x="205" y="73"/>
                  </a:lnTo>
                  <a:lnTo>
                    <a:pt x="226" y="74"/>
                  </a:lnTo>
                  <a:lnTo>
                    <a:pt x="263" y="77"/>
                  </a:lnTo>
                  <a:lnTo>
                    <a:pt x="289" y="80"/>
                  </a:lnTo>
                  <a:lnTo>
                    <a:pt x="298" y="82"/>
                  </a:lnTo>
                  <a:lnTo>
                    <a:pt x="298" y="10"/>
                  </a:lnTo>
                  <a:lnTo>
                    <a:pt x="298" y="10"/>
                  </a:lnTo>
                  <a:lnTo>
                    <a:pt x="289" y="9"/>
                  </a:lnTo>
                  <a:lnTo>
                    <a:pt x="264" y="5"/>
                  </a:lnTo>
                  <a:lnTo>
                    <a:pt x="224" y="2"/>
                  </a:lnTo>
                  <a:lnTo>
                    <a:pt x="200" y="1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34" y="1"/>
                  </a:lnTo>
                  <a:lnTo>
                    <a:pt x="102" y="3"/>
                  </a:lnTo>
                  <a:lnTo>
                    <a:pt x="72" y="6"/>
                  </a:lnTo>
                  <a:lnTo>
                    <a:pt x="47" y="9"/>
                  </a:lnTo>
                  <a:lnTo>
                    <a:pt x="27" y="13"/>
                  </a:lnTo>
                  <a:lnTo>
                    <a:pt x="13" y="15"/>
                  </a:lnTo>
                  <a:lnTo>
                    <a:pt x="0" y="19"/>
                  </a:lnTo>
                  <a:lnTo>
                    <a:pt x="0" y="40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4" name="Freeform 63"/>
            <p:cNvSpPr>
              <a:spLocks/>
            </p:cNvSpPr>
            <p:nvPr userDrawn="1"/>
          </p:nvSpPr>
          <p:spPr bwMode="auto">
            <a:xfrm>
              <a:off x="4767" y="3974"/>
              <a:ext cx="124" cy="105"/>
            </a:xfrm>
            <a:custGeom>
              <a:avLst/>
              <a:gdLst>
                <a:gd name="T0" fmla="*/ 255 w 496"/>
                <a:gd name="T1" fmla="*/ 246 h 422"/>
                <a:gd name="T2" fmla="*/ 255 w 496"/>
                <a:gd name="T3" fmla="*/ 246 h 422"/>
                <a:gd name="T4" fmla="*/ 251 w 496"/>
                <a:gd name="T5" fmla="*/ 257 h 422"/>
                <a:gd name="T6" fmla="*/ 248 w 496"/>
                <a:gd name="T7" fmla="*/ 270 h 422"/>
                <a:gd name="T8" fmla="*/ 248 w 496"/>
                <a:gd name="T9" fmla="*/ 270 h 422"/>
                <a:gd name="T10" fmla="*/ 244 w 496"/>
                <a:gd name="T11" fmla="*/ 257 h 422"/>
                <a:gd name="T12" fmla="*/ 241 w 496"/>
                <a:gd name="T13" fmla="*/ 246 h 422"/>
                <a:gd name="T14" fmla="*/ 159 w 496"/>
                <a:gd name="T15" fmla="*/ 39 h 422"/>
                <a:gd name="T16" fmla="*/ 159 w 496"/>
                <a:gd name="T17" fmla="*/ 39 h 422"/>
                <a:gd name="T18" fmla="*/ 153 w 496"/>
                <a:gd name="T19" fmla="*/ 28 h 422"/>
                <a:gd name="T20" fmla="*/ 147 w 496"/>
                <a:gd name="T21" fmla="*/ 19 h 422"/>
                <a:gd name="T22" fmla="*/ 140 w 496"/>
                <a:gd name="T23" fmla="*/ 11 h 422"/>
                <a:gd name="T24" fmla="*/ 132 w 496"/>
                <a:gd name="T25" fmla="*/ 7 h 422"/>
                <a:gd name="T26" fmla="*/ 122 w 496"/>
                <a:gd name="T27" fmla="*/ 3 h 422"/>
                <a:gd name="T28" fmla="*/ 110 w 496"/>
                <a:gd name="T29" fmla="*/ 1 h 422"/>
                <a:gd name="T30" fmla="*/ 98 w 496"/>
                <a:gd name="T31" fmla="*/ 1 h 422"/>
                <a:gd name="T32" fmla="*/ 84 w 496"/>
                <a:gd name="T33" fmla="*/ 0 h 422"/>
                <a:gd name="T34" fmla="*/ 84 w 496"/>
                <a:gd name="T35" fmla="*/ 0 h 422"/>
                <a:gd name="T36" fmla="*/ 58 w 496"/>
                <a:gd name="T37" fmla="*/ 1 h 422"/>
                <a:gd name="T38" fmla="*/ 42 w 496"/>
                <a:gd name="T39" fmla="*/ 2 h 422"/>
                <a:gd name="T40" fmla="*/ 0 w 496"/>
                <a:gd name="T41" fmla="*/ 422 h 422"/>
                <a:gd name="T42" fmla="*/ 93 w 496"/>
                <a:gd name="T43" fmla="*/ 422 h 422"/>
                <a:gd name="T44" fmla="*/ 113 w 496"/>
                <a:gd name="T45" fmla="*/ 140 h 422"/>
                <a:gd name="T46" fmla="*/ 201 w 496"/>
                <a:gd name="T47" fmla="*/ 353 h 422"/>
                <a:gd name="T48" fmla="*/ 201 w 496"/>
                <a:gd name="T49" fmla="*/ 353 h 422"/>
                <a:gd name="T50" fmla="*/ 204 w 496"/>
                <a:gd name="T51" fmla="*/ 359 h 422"/>
                <a:gd name="T52" fmla="*/ 208 w 496"/>
                <a:gd name="T53" fmla="*/ 364 h 422"/>
                <a:gd name="T54" fmla="*/ 213 w 496"/>
                <a:gd name="T55" fmla="*/ 368 h 422"/>
                <a:gd name="T56" fmla="*/ 218 w 496"/>
                <a:gd name="T57" fmla="*/ 371 h 422"/>
                <a:gd name="T58" fmla="*/ 224 w 496"/>
                <a:gd name="T59" fmla="*/ 373 h 422"/>
                <a:gd name="T60" fmla="*/ 231 w 496"/>
                <a:gd name="T61" fmla="*/ 376 h 422"/>
                <a:gd name="T62" fmla="*/ 239 w 496"/>
                <a:gd name="T63" fmla="*/ 377 h 422"/>
                <a:gd name="T64" fmla="*/ 248 w 496"/>
                <a:gd name="T65" fmla="*/ 377 h 422"/>
                <a:gd name="T66" fmla="*/ 248 w 496"/>
                <a:gd name="T67" fmla="*/ 377 h 422"/>
                <a:gd name="T68" fmla="*/ 257 w 496"/>
                <a:gd name="T69" fmla="*/ 377 h 422"/>
                <a:gd name="T70" fmla="*/ 266 w 496"/>
                <a:gd name="T71" fmla="*/ 376 h 422"/>
                <a:gd name="T72" fmla="*/ 273 w 496"/>
                <a:gd name="T73" fmla="*/ 373 h 422"/>
                <a:gd name="T74" fmla="*/ 279 w 496"/>
                <a:gd name="T75" fmla="*/ 371 h 422"/>
                <a:gd name="T76" fmla="*/ 284 w 496"/>
                <a:gd name="T77" fmla="*/ 368 h 422"/>
                <a:gd name="T78" fmla="*/ 288 w 496"/>
                <a:gd name="T79" fmla="*/ 364 h 422"/>
                <a:gd name="T80" fmla="*/ 291 w 496"/>
                <a:gd name="T81" fmla="*/ 359 h 422"/>
                <a:gd name="T82" fmla="*/ 294 w 496"/>
                <a:gd name="T83" fmla="*/ 353 h 422"/>
                <a:gd name="T84" fmla="*/ 382 w 496"/>
                <a:gd name="T85" fmla="*/ 140 h 422"/>
                <a:gd name="T86" fmla="*/ 403 w 496"/>
                <a:gd name="T87" fmla="*/ 422 h 422"/>
                <a:gd name="T88" fmla="*/ 496 w 496"/>
                <a:gd name="T89" fmla="*/ 422 h 422"/>
                <a:gd name="T90" fmla="*/ 454 w 496"/>
                <a:gd name="T91" fmla="*/ 2 h 422"/>
                <a:gd name="T92" fmla="*/ 454 w 496"/>
                <a:gd name="T93" fmla="*/ 2 h 422"/>
                <a:gd name="T94" fmla="*/ 438 w 496"/>
                <a:gd name="T95" fmla="*/ 1 h 422"/>
                <a:gd name="T96" fmla="*/ 412 w 496"/>
                <a:gd name="T97" fmla="*/ 0 h 422"/>
                <a:gd name="T98" fmla="*/ 412 w 496"/>
                <a:gd name="T99" fmla="*/ 0 h 422"/>
                <a:gd name="T100" fmla="*/ 397 w 496"/>
                <a:gd name="T101" fmla="*/ 1 h 422"/>
                <a:gd name="T102" fmla="*/ 385 w 496"/>
                <a:gd name="T103" fmla="*/ 1 h 422"/>
                <a:gd name="T104" fmla="*/ 374 w 496"/>
                <a:gd name="T105" fmla="*/ 3 h 422"/>
                <a:gd name="T106" fmla="*/ 365 w 496"/>
                <a:gd name="T107" fmla="*/ 7 h 422"/>
                <a:gd name="T108" fmla="*/ 356 w 496"/>
                <a:gd name="T109" fmla="*/ 11 h 422"/>
                <a:gd name="T110" fmla="*/ 348 w 496"/>
                <a:gd name="T111" fmla="*/ 19 h 422"/>
                <a:gd name="T112" fmla="*/ 342 w 496"/>
                <a:gd name="T113" fmla="*/ 28 h 422"/>
                <a:gd name="T114" fmla="*/ 337 w 496"/>
                <a:gd name="T115" fmla="*/ 39 h 422"/>
                <a:gd name="T116" fmla="*/ 255 w 496"/>
                <a:gd name="T117" fmla="*/ 246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" h="422">
                  <a:moveTo>
                    <a:pt x="255" y="246"/>
                  </a:moveTo>
                  <a:lnTo>
                    <a:pt x="255" y="246"/>
                  </a:lnTo>
                  <a:lnTo>
                    <a:pt x="251" y="257"/>
                  </a:lnTo>
                  <a:lnTo>
                    <a:pt x="248" y="270"/>
                  </a:lnTo>
                  <a:lnTo>
                    <a:pt x="248" y="270"/>
                  </a:lnTo>
                  <a:lnTo>
                    <a:pt x="244" y="257"/>
                  </a:lnTo>
                  <a:lnTo>
                    <a:pt x="241" y="246"/>
                  </a:lnTo>
                  <a:lnTo>
                    <a:pt x="159" y="39"/>
                  </a:lnTo>
                  <a:lnTo>
                    <a:pt x="159" y="39"/>
                  </a:lnTo>
                  <a:lnTo>
                    <a:pt x="153" y="28"/>
                  </a:lnTo>
                  <a:lnTo>
                    <a:pt x="147" y="19"/>
                  </a:lnTo>
                  <a:lnTo>
                    <a:pt x="140" y="11"/>
                  </a:lnTo>
                  <a:lnTo>
                    <a:pt x="132" y="7"/>
                  </a:lnTo>
                  <a:lnTo>
                    <a:pt x="122" y="3"/>
                  </a:lnTo>
                  <a:lnTo>
                    <a:pt x="110" y="1"/>
                  </a:lnTo>
                  <a:lnTo>
                    <a:pt x="98" y="1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58" y="1"/>
                  </a:lnTo>
                  <a:lnTo>
                    <a:pt x="42" y="2"/>
                  </a:lnTo>
                  <a:lnTo>
                    <a:pt x="0" y="422"/>
                  </a:lnTo>
                  <a:lnTo>
                    <a:pt x="93" y="422"/>
                  </a:lnTo>
                  <a:lnTo>
                    <a:pt x="113" y="140"/>
                  </a:lnTo>
                  <a:lnTo>
                    <a:pt x="201" y="353"/>
                  </a:lnTo>
                  <a:lnTo>
                    <a:pt x="201" y="353"/>
                  </a:lnTo>
                  <a:lnTo>
                    <a:pt x="204" y="359"/>
                  </a:lnTo>
                  <a:lnTo>
                    <a:pt x="208" y="364"/>
                  </a:lnTo>
                  <a:lnTo>
                    <a:pt x="213" y="368"/>
                  </a:lnTo>
                  <a:lnTo>
                    <a:pt x="218" y="371"/>
                  </a:lnTo>
                  <a:lnTo>
                    <a:pt x="224" y="373"/>
                  </a:lnTo>
                  <a:lnTo>
                    <a:pt x="231" y="376"/>
                  </a:lnTo>
                  <a:lnTo>
                    <a:pt x="239" y="377"/>
                  </a:lnTo>
                  <a:lnTo>
                    <a:pt x="248" y="377"/>
                  </a:lnTo>
                  <a:lnTo>
                    <a:pt x="248" y="377"/>
                  </a:lnTo>
                  <a:lnTo>
                    <a:pt x="257" y="377"/>
                  </a:lnTo>
                  <a:lnTo>
                    <a:pt x="266" y="376"/>
                  </a:lnTo>
                  <a:lnTo>
                    <a:pt x="273" y="373"/>
                  </a:lnTo>
                  <a:lnTo>
                    <a:pt x="279" y="371"/>
                  </a:lnTo>
                  <a:lnTo>
                    <a:pt x="284" y="368"/>
                  </a:lnTo>
                  <a:lnTo>
                    <a:pt x="288" y="364"/>
                  </a:lnTo>
                  <a:lnTo>
                    <a:pt x="291" y="359"/>
                  </a:lnTo>
                  <a:lnTo>
                    <a:pt x="294" y="353"/>
                  </a:lnTo>
                  <a:lnTo>
                    <a:pt x="382" y="140"/>
                  </a:lnTo>
                  <a:lnTo>
                    <a:pt x="403" y="422"/>
                  </a:lnTo>
                  <a:lnTo>
                    <a:pt x="496" y="422"/>
                  </a:lnTo>
                  <a:lnTo>
                    <a:pt x="454" y="2"/>
                  </a:lnTo>
                  <a:lnTo>
                    <a:pt x="454" y="2"/>
                  </a:lnTo>
                  <a:lnTo>
                    <a:pt x="438" y="1"/>
                  </a:lnTo>
                  <a:lnTo>
                    <a:pt x="412" y="0"/>
                  </a:lnTo>
                  <a:lnTo>
                    <a:pt x="412" y="0"/>
                  </a:lnTo>
                  <a:lnTo>
                    <a:pt x="397" y="1"/>
                  </a:lnTo>
                  <a:lnTo>
                    <a:pt x="385" y="1"/>
                  </a:lnTo>
                  <a:lnTo>
                    <a:pt x="374" y="3"/>
                  </a:lnTo>
                  <a:lnTo>
                    <a:pt x="365" y="7"/>
                  </a:lnTo>
                  <a:lnTo>
                    <a:pt x="356" y="11"/>
                  </a:lnTo>
                  <a:lnTo>
                    <a:pt x="348" y="19"/>
                  </a:lnTo>
                  <a:lnTo>
                    <a:pt x="342" y="28"/>
                  </a:lnTo>
                  <a:lnTo>
                    <a:pt x="337" y="39"/>
                  </a:lnTo>
                  <a:lnTo>
                    <a:pt x="255" y="24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5" name="Freeform 64"/>
            <p:cNvSpPr>
              <a:spLocks/>
            </p:cNvSpPr>
            <p:nvPr userDrawn="1"/>
          </p:nvSpPr>
          <p:spPr bwMode="auto">
            <a:xfrm>
              <a:off x="4671" y="4034"/>
              <a:ext cx="43" cy="29"/>
            </a:xfrm>
            <a:custGeom>
              <a:avLst/>
              <a:gdLst>
                <a:gd name="T0" fmla="*/ 171 w 171"/>
                <a:gd name="T1" fmla="*/ 93 h 116"/>
                <a:gd name="T2" fmla="*/ 171 w 171"/>
                <a:gd name="T3" fmla="*/ 93 h 116"/>
                <a:gd name="T4" fmla="*/ 151 w 171"/>
                <a:gd name="T5" fmla="*/ 99 h 116"/>
                <a:gd name="T6" fmla="*/ 125 w 171"/>
                <a:gd name="T7" fmla="*/ 108 h 116"/>
                <a:gd name="T8" fmla="*/ 110 w 171"/>
                <a:gd name="T9" fmla="*/ 111 h 116"/>
                <a:gd name="T10" fmla="*/ 96 w 171"/>
                <a:gd name="T11" fmla="*/ 114 h 116"/>
                <a:gd name="T12" fmla="*/ 82 w 171"/>
                <a:gd name="T13" fmla="*/ 116 h 116"/>
                <a:gd name="T14" fmla="*/ 67 w 171"/>
                <a:gd name="T15" fmla="*/ 116 h 116"/>
                <a:gd name="T16" fmla="*/ 67 w 171"/>
                <a:gd name="T17" fmla="*/ 116 h 116"/>
                <a:gd name="T18" fmla="*/ 54 w 171"/>
                <a:gd name="T19" fmla="*/ 116 h 116"/>
                <a:gd name="T20" fmla="*/ 41 w 171"/>
                <a:gd name="T21" fmla="*/ 114 h 116"/>
                <a:gd name="T22" fmla="*/ 30 w 171"/>
                <a:gd name="T23" fmla="*/ 110 h 116"/>
                <a:gd name="T24" fmla="*/ 24 w 171"/>
                <a:gd name="T25" fmla="*/ 108 h 116"/>
                <a:gd name="T26" fmla="*/ 19 w 171"/>
                <a:gd name="T27" fmla="*/ 105 h 116"/>
                <a:gd name="T28" fmla="*/ 15 w 171"/>
                <a:gd name="T29" fmla="*/ 101 h 116"/>
                <a:gd name="T30" fmla="*/ 11 w 171"/>
                <a:gd name="T31" fmla="*/ 97 h 116"/>
                <a:gd name="T32" fmla="*/ 8 w 171"/>
                <a:gd name="T33" fmla="*/ 92 h 116"/>
                <a:gd name="T34" fmla="*/ 5 w 171"/>
                <a:gd name="T35" fmla="*/ 87 h 116"/>
                <a:gd name="T36" fmla="*/ 3 w 171"/>
                <a:gd name="T37" fmla="*/ 82 h 116"/>
                <a:gd name="T38" fmla="*/ 2 w 171"/>
                <a:gd name="T39" fmla="*/ 76 h 116"/>
                <a:gd name="T40" fmla="*/ 1 w 171"/>
                <a:gd name="T41" fmla="*/ 69 h 116"/>
                <a:gd name="T42" fmla="*/ 0 w 171"/>
                <a:gd name="T43" fmla="*/ 61 h 116"/>
                <a:gd name="T44" fmla="*/ 0 w 171"/>
                <a:gd name="T45" fmla="*/ 61 h 116"/>
                <a:gd name="T46" fmla="*/ 1 w 171"/>
                <a:gd name="T47" fmla="*/ 49 h 116"/>
                <a:gd name="T48" fmla="*/ 4 w 171"/>
                <a:gd name="T49" fmla="*/ 38 h 116"/>
                <a:gd name="T50" fmla="*/ 6 w 171"/>
                <a:gd name="T51" fmla="*/ 33 h 116"/>
                <a:gd name="T52" fmla="*/ 9 w 171"/>
                <a:gd name="T53" fmla="*/ 27 h 116"/>
                <a:gd name="T54" fmla="*/ 13 w 171"/>
                <a:gd name="T55" fmla="*/ 23 h 116"/>
                <a:gd name="T56" fmla="*/ 16 w 171"/>
                <a:gd name="T57" fmla="*/ 19 h 116"/>
                <a:gd name="T58" fmla="*/ 21 w 171"/>
                <a:gd name="T59" fmla="*/ 16 h 116"/>
                <a:gd name="T60" fmla="*/ 26 w 171"/>
                <a:gd name="T61" fmla="*/ 13 h 116"/>
                <a:gd name="T62" fmla="*/ 33 w 171"/>
                <a:gd name="T63" fmla="*/ 10 h 116"/>
                <a:gd name="T64" fmla="*/ 39 w 171"/>
                <a:gd name="T65" fmla="*/ 8 h 116"/>
                <a:gd name="T66" fmla="*/ 55 w 171"/>
                <a:gd name="T67" fmla="*/ 5 h 116"/>
                <a:gd name="T68" fmla="*/ 72 w 171"/>
                <a:gd name="T69" fmla="*/ 3 h 116"/>
                <a:gd name="T70" fmla="*/ 171 w 171"/>
                <a:gd name="T71" fmla="*/ 0 h 116"/>
                <a:gd name="T72" fmla="*/ 171 w 171"/>
                <a:gd name="T73" fmla="*/ 93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1" h="116">
                  <a:moveTo>
                    <a:pt x="171" y="93"/>
                  </a:moveTo>
                  <a:lnTo>
                    <a:pt x="171" y="93"/>
                  </a:lnTo>
                  <a:lnTo>
                    <a:pt x="151" y="99"/>
                  </a:lnTo>
                  <a:lnTo>
                    <a:pt x="125" y="108"/>
                  </a:lnTo>
                  <a:lnTo>
                    <a:pt x="110" y="111"/>
                  </a:lnTo>
                  <a:lnTo>
                    <a:pt x="96" y="114"/>
                  </a:lnTo>
                  <a:lnTo>
                    <a:pt x="82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54" y="116"/>
                  </a:lnTo>
                  <a:lnTo>
                    <a:pt x="41" y="114"/>
                  </a:lnTo>
                  <a:lnTo>
                    <a:pt x="30" y="110"/>
                  </a:lnTo>
                  <a:lnTo>
                    <a:pt x="24" y="108"/>
                  </a:lnTo>
                  <a:lnTo>
                    <a:pt x="19" y="105"/>
                  </a:lnTo>
                  <a:lnTo>
                    <a:pt x="15" y="101"/>
                  </a:lnTo>
                  <a:lnTo>
                    <a:pt x="11" y="97"/>
                  </a:lnTo>
                  <a:lnTo>
                    <a:pt x="8" y="92"/>
                  </a:lnTo>
                  <a:lnTo>
                    <a:pt x="5" y="87"/>
                  </a:lnTo>
                  <a:lnTo>
                    <a:pt x="3" y="82"/>
                  </a:lnTo>
                  <a:lnTo>
                    <a:pt x="2" y="76"/>
                  </a:lnTo>
                  <a:lnTo>
                    <a:pt x="1" y="69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1" y="49"/>
                  </a:lnTo>
                  <a:lnTo>
                    <a:pt x="4" y="38"/>
                  </a:lnTo>
                  <a:lnTo>
                    <a:pt x="6" y="33"/>
                  </a:lnTo>
                  <a:lnTo>
                    <a:pt x="9" y="27"/>
                  </a:lnTo>
                  <a:lnTo>
                    <a:pt x="13" y="23"/>
                  </a:lnTo>
                  <a:lnTo>
                    <a:pt x="16" y="19"/>
                  </a:lnTo>
                  <a:lnTo>
                    <a:pt x="21" y="16"/>
                  </a:lnTo>
                  <a:lnTo>
                    <a:pt x="26" y="13"/>
                  </a:lnTo>
                  <a:lnTo>
                    <a:pt x="33" y="10"/>
                  </a:lnTo>
                  <a:lnTo>
                    <a:pt x="39" y="8"/>
                  </a:lnTo>
                  <a:lnTo>
                    <a:pt x="55" y="5"/>
                  </a:lnTo>
                  <a:lnTo>
                    <a:pt x="72" y="3"/>
                  </a:lnTo>
                  <a:lnTo>
                    <a:pt x="171" y="0"/>
                  </a:lnTo>
                  <a:lnTo>
                    <a:pt x="171" y="9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6" name="Freeform 65"/>
            <p:cNvSpPr>
              <a:spLocks/>
            </p:cNvSpPr>
            <p:nvPr userDrawn="1"/>
          </p:nvSpPr>
          <p:spPr bwMode="auto">
            <a:xfrm>
              <a:off x="4649" y="3974"/>
              <a:ext cx="88" cy="107"/>
            </a:xfrm>
            <a:custGeom>
              <a:avLst/>
              <a:gdLst>
                <a:gd name="T0" fmla="*/ 205 w 352"/>
                <a:gd name="T1" fmla="*/ 0 h 428"/>
                <a:gd name="T2" fmla="*/ 147 w 352"/>
                <a:gd name="T3" fmla="*/ 4 h 428"/>
                <a:gd name="T4" fmla="*/ 97 w 352"/>
                <a:gd name="T5" fmla="*/ 12 h 428"/>
                <a:gd name="T6" fmla="*/ 58 w 352"/>
                <a:gd name="T7" fmla="*/ 23 h 428"/>
                <a:gd name="T8" fmla="*/ 33 w 352"/>
                <a:gd name="T9" fmla="*/ 33 h 428"/>
                <a:gd name="T10" fmla="*/ 52 w 352"/>
                <a:gd name="T11" fmla="*/ 102 h 428"/>
                <a:gd name="T12" fmla="*/ 92 w 352"/>
                <a:gd name="T13" fmla="*/ 91 h 428"/>
                <a:gd name="T14" fmla="*/ 133 w 352"/>
                <a:gd name="T15" fmla="*/ 82 h 428"/>
                <a:gd name="T16" fmla="*/ 179 w 352"/>
                <a:gd name="T17" fmla="*/ 79 h 428"/>
                <a:gd name="T18" fmla="*/ 197 w 352"/>
                <a:gd name="T19" fmla="*/ 80 h 428"/>
                <a:gd name="T20" fmla="*/ 221 w 352"/>
                <a:gd name="T21" fmla="*/ 84 h 428"/>
                <a:gd name="T22" fmla="*/ 234 w 352"/>
                <a:gd name="T23" fmla="*/ 90 h 428"/>
                <a:gd name="T24" fmla="*/ 244 w 352"/>
                <a:gd name="T25" fmla="*/ 98 h 428"/>
                <a:gd name="T26" fmla="*/ 251 w 352"/>
                <a:gd name="T27" fmla="*/ 108 h 428"/>
                <a:gd name="T28" fmla="*/ 256 w 352"/>
                <a:gd name="T29" fmla="*/ 120 h 428"/>
                <a:gd name="T30" fmla="*/ 260 w 352"/>
                <a:gd name="T31" fmla="*/ 137 h 428"/>
                <a:gd name="T32" fmla="*/ 260 w 352"/>
                <a:gd name="T33" fmla="*/ 176 h 428"/>
                <a:gd name="T34" fmla="*/ 179 w 352"/>
                <a:gd name="T35" fmla="*/ 176 h 428"/>
                <a:gd name="T36" fmla="*/ 132 w 352"/>
                <a:gd name="T37" fmla="*/ 179 h 428"/>
                <a:gd name="T38" fmla="*/ 93 w 352"/>
                <a:gd name="T39" fmla="*/ 187 h 428"/>
                <a:gd name="T40" fmla="*/ 61 w 352"/>
                <a:gd name="T41" fmla="*/ 200 h 428"/>
                <a:gd name="T42" fmla="*/ 38 w 352"/>
                <a:gd name="T43" fmla="*/ 216 h 428"/>
                <a:gd name="T44" fmla="*/ 20 w 352"/>
                <a:gd name="T45" fmla="*/ 236 h 428"/>
                <a:gd name="T46" fmla="*/ 9 w 352"/>
                <a:gd name="T47" fmla="*/ 257 h 428"/>
                <a:gd name="T48" fmla="*/ 2 w 352"/>
                <a:gd name="T49" fmla="*/ 282 h 428"/>
                <a:gd name="T50" fmla="*/ 0 w 352"/>
                <a:gd name="T51" fmla="*/ 307 h 428"/>
                <a:gd name="T52" fmla="*/ 1 w 352"/>
                <a:gd name="T53" fmla="*/ 323 h 428"/>
                <a:gd name="T54" fmla="*/ 7 w 352"/>
                <a:gd name="T55" fmla="*/ 352 h 428"/>
                <a:gd name="T56" fmla="*/ 19 w 352"/>
                <a:gd name="T57" fmla="*/ 376 h 428"/>
                <a:gd name="T58" fmla="*/ 35 w 352"/>
                <a:gd name="T59" fmla="*/ 394 h 428"/>
                <a:gd name="T60" fmla="*/ 54 w 352"/>
                <a:gd name="T61" fmla="*/ 408 h 428"/>
                <a:gd name="T62" fmla="*/ 77 w 352"/>
                <a:gd name="T63" fmla="*/ 418 h 428"/>
                <a:gd name="T64" fmla="*/ 101 w 352"/>
                <a:gd name="T65" fmla="*/ 424 h 428"/>
                <a:gd name="T66" fmla="*/ 126 w 352"/>
                <a:gd name="T67" fmla="*/ 427 h 428"/>
                <a:gd name="T68" fmla="*/ 138 w 352"/>
                <a:gd name="T69" fmla="*/ 428 h 428"/>
                <a:gd name="T70" fmla="*/ 164 w 352"/>
                <a:gd name="T71" fmla="*/ 426 h 428"/>
                <a:gd name="T72" fmla="*/ 209 w 352"/>
                <a:gd name="T73" fmla="*/ 418 h 428"/>
                <a:gd name="T74" fmla="*/ 241 w 352"/>
                <a:gd name="T75" fmla="*/ 406 h 428"/>
                <a:gd name="T76" fmla="*/ 260 w 352"/>
                <a:gd name="T77" fmla="*/ 397 h 428"/>
                <a:gd name="T78" fmla="*/ 264 w 352"/>
                <a:gd name="T79" fmla="*/ 396 h 428"/>
                <a:gd name="T80" fmla="*/ 270 w 352"/>
                <a:gd name="T81" fmla="*/ 398 h 428"/>
                <a:gd name="T82" fmla="*/ 284 w 352"/>
                <a:gd name="T83" fmla="*/ 404 h 428"/>
                <a:gd name="T84" fmla="*/ 311 w 352"/>
                <a:gd name="T85" fmla="*/ 411 h 428"/>
                <a:gd name="T86" fmla="*/ 352 w 352"/>
                <a:gd name="T87" fmla="*/ 413 h 428"/>
                <a:gd name="T88" fmla="*/ 352 w 352"/>
                <a:gd name="T89" fmla="*/ 122 h 428"/>
                <a:gd name="T90" fmla="*/ 350 w 352"/>
                <a:gd name="T91" fmla="*/ 92 h 428"/>
                <a:gd name="T92" fmla="*/ 343 w 352"/>
                <a:gd name="T93" fmla="*/ 66 h 428"/>
                <a:gd name="T94" fmla="*/ 331 w 352"/>
                <a:gd name="T95" fmla="*/ 45 h 428"/>
                <a:gd name="T96" fmla="*/ 314 w 352"/>
                <a:gd name="T97" fmla="*/ 29 h 428"/>
                <a:gd name="T98" fmla="*/ 293 w 352"/>
                <a:gd name="T99" fmla="*/ 15 h 428"/>
                <a:gd name="T100" fmla="*/ 268 w 352"/>
                <a:gd name="T101" fmla="*/ 7 h 428"/>
                <a:gd name="T102" fmla="*/ 238 w 352"/>
                <a:gd name="T103" fmla="*/ 2 h 428"/>
                <a:gd name="T104" fmla="*/ 205 w 352"/>
                <a:gd name="T105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2" h="428">
                  <a:moveTo>
                    <a:pt x="205" y="0"/>
                  </a:moveTo>
                  <a:lnTo>
                    <a:pt x="205" y="0"/>
                  </a:lnTo>
                  <a:lnTo>
                    <a:pt x="176" y="1"/>
                  </a:lnTo>
                  <a:lnTo>
                    <a:pt x="147" y="4"/>
                  </a:lnTo>
                  <a:lnTo>
                    <a:pt x="121" y="7"/>
                  </a:lnTo>
                  <a:lnTo>
                    <a:pt x="97" y="12"/>
                  </a:lnTo>
                  <a:lnTo>
                    <a:pt x="77" y="17"/>
                  </a:lnTo>
                  <a:lnTo>
                    <a:pt x="58" y="23"/>
                  </a:lnTo>
                  <a:lnTo>
                    <a:pt x="44" y="28"/>
                  </a:lnTo>
                  <a:lnTo>
                    <a:pt x="33" y="33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63" y="98"/>
                  </a:lnTo>
                  <a:lnTo>
                    <a:pt x="92" y="91"/>
                  </a:lnTo>
                  <a:lnTo>
                    <a:pt x="111" y="86"/>
                  </a:lnTo>
                  <a:lnTo>
                    <a:pt x="133" y="82"/>
                  </a:lnTo>
                  <a:lnTo>
                    <a:pt x="155" y="80"/>
                  </a:lnTo>
                  <a:lnTo>
                    <a:pt x="179" y="79"/>
                  </a:lnTo>
                  <a:lnTo>
                    <a:pt x="179" y="79"/>
                  </a:lnTo>
                  <a:lnTo>
                    <a:pt x="197" y="80"/>
                  </a:lnTo>
                  <a:lnTo>
                    <a:pt x="214" y="82"/>
                  </a:lnTo>
                  <a:lnTo>
                    <a:pt x="221" y="84"/>
                  </a:lnTo>
                  <a:lnTo>
                    <a:pt x="228" y="86"/>
                  </a:lnTo>
                  <a:lnTo>
                    <a:pt x="234" y="90"/>
                  </a:lnTo>
                  <a:lnTo>
                    <a:pt x="239" y="94"/>
                  </a:lnTo>
                  <a:lnTo>
                    <a:pt x="244" y="98"/>
                  </a:lnTo>
                  <a:lnTo>
                    <a:pt x="248" y="102"/>
                  </a:lnTo>
                  <a:lnTo>
                    <a:pt x="251" y="108"/>
                  </a:lnTo>
                  <a:lnTo>
                    <a:pt x="254" y="114"/>
                  </a:lnTo>
                  <a:lnTo>
                    <a:pt x="256" y="120"/>
                  </a:lnTo>
                  <a:lnTo>
                    <a:pt x="258" y="129"/>
                  </a:lnTo>
                  <a:lnTo>
                    <a:pt x="260" y="137"/>
                  </a:lnTo>
                  <a:lnTo>
                    <a:pt x="260" y="146"/>
                  </a:lnTo>
                  <a:lnTo>
                    <a:pt x="260" y="176"/>
                  </a:lnTo>
                  <a:lnTo>
                    <a:pt x="179" y="176"/>
                  </a:lnTo>
                  <a:lnTo>
                    <a:pt x="179" y="176"/>
                  </a:lnTo>
                  <a:lnTo>
                    <a:pt x="154" y="177"/>
                  </a:lnTo>
                  <a:lnTo>
                    <a:pt x="132" y="179"/>
                  </a:lnTo>
                  <a:lnTo>
                    <a:pt x="111" y="182"/>
                  </a:lnTo>
                  <a:lnTo>
                    <a:pt x="93" y="187"/>
                  </a:lnTo>
                  <a:lnTo>
                    <a:pt x="77" y="192"/>
                  </a:lnTo>
                  <a:lnTo>
                    <a:pt x="61" y="200"/>
                  </a:lnTo>
                  <a:lnTo>
                    <a:pt x="49" y="207"/>
                  </a:lnTo>
                  <a:lnTo>
                    <a:pt x="38" y="216"/>
                  </a:lnTo>
                  <a:lnTo>
                    <a:pt x="29" y="225"/>
                  </a:lnTo>
                  <a:lnTo>
                    <a:pt x="20" y="236"/>
                  </a:lnTo>
                  <a:lnTo>
                    <a:pt x="14" y="246"/>
                  </a:lnTo>
                  <a:lnTo>
                    <a:pt x="9" y="257"/>
                  </a:lnTo>
                  <a:lnTo>
                    <a:pt x="5" y="270"/>
                  </a:lnTo>
                  <a:lnTo>
                    <a:pt x="2" y="282"/>
                  </a:lnTo>
                  <a:lnTo>
                    <a:pt x="1" y="294"/>
                  </a:lnTo>
                  <a:lnTo>
                    <a:pt x="0" y="307"/>
                  </a:lnTo>
                  <a:lnTo>
                    <a:pt x="0" y="307"/>
                  </a:lnTo>
                  <a:lnTo>
                    <a:pt x="1" y="323"/>
                  </a:lnTo>
                  <a:lnTo>
                    <a:pt x="3" y="338"/>
                  </a:lnTo>
                  <a:lnTo>
                    <a:pt x="7" y="352"/>
                  </a:lnTo>
                  <a:lnTo>
                    <a:pt x="12" y="364"/>
                  </a:lnTo>
                  <a:lnTo>
                    <a:pt x="19" y="376"/>
                  </a:lnTo>
                  <a:lnTo>
                    <a:pt x="27" y="386"/>
                  </a:lnTo>
                  <a:lnTo>
                    <a:pt x="35" y="394"/>
                  </a:lnTo>
                  <a:lnTo>
                    <a:pt x="45" y="401"/>
                  </a:lnTo>
                  <a:lnTo>
                    <a:pt x="54" y="408"/>
                  </a:lnTo>
                  <a:lnTo>
                    <a:pt x="65" y="414"/>
                  </a:lnTo>
                  <a:lnTo>
                    <a:pt x="77" y="418"/>
                  </a:lnTo>
                  <a:lnTo>
                    <a:pt x="89" y="422"/>
                  </a:lnTo>
                  <a:lnTo>
                    <a:pt x="101" y="424"/>
                  </a:lnTo>
                  <a:lnTo>
                    <a:pt x="113" y="426"/>
                  </a:lnTo>
                  <a:lnTo>
                    <a:pt x="126" y="427"/>
                  </a:lnTo>
                  <a:lnTo>
                    <a:pt x="138" y="428"/>
                  </a:lnTo>
                  <a:lnTo>
                    <a:pt x="138" y="428"/>
                  </a:lnTo>
                  <a:lnTo>
                    <a:pt x="151" y="427"/>
                  </a:lnTo>
                  <a:lnTo>
                    <a:pt x="164" y="426"/>
                  </a:lnTo>
                  <a:lnTo>
                    <a:pt x="189" y="423"/>
                  </a:lnTo>
                  <a:lnTo>
                    <a:pt x="209" y="418"/>
                  </a:lnTo>
                  <a:lnTo>
                    <a:pt x="227" y="412"/>
                  </a:lnTo>
                  <a:lnTo>
                    <a:pt x="241" y="406"/>
                  </a:lnTo>
                  <a:lnTo>
                    <a:pt x="252" y="401"/>
                  </a:lnTo>
                  <a:lnTo>
                    <a:pt x="260" y="397"/>
                  </a:lnTo>
                  <a:lnTo>
                    <a:pt x="264" y="396"/>
                  </a:lnTo>
                  <a:lnTo>
                    <a:pt x="264" y="396"/>
                  </a:lnTo>
                  <a:lnTo>
                    <a:pt x="266" y="397"/>
                  </a:lnTo>
                  <a:lnTo>
                    <a:pt x="270" y="398"/>
                  </a:lnTo>
                  <a:lnTo>
                    <a:pt x="276" y="401"/>
                  </a:lnTo>
                  <a:lnTo>
                    <a:pt x="284" y="404"/>
                  </a:lnTo>
                  <a:lnTo>
                    <a:pt x="295" y="407"/>
                  </a:lnTo>
                  <a:lnTo>
                    <a:pt x="311" y="411"/>
                  </a:lnTo>
                  <a:lnTo>
                    <a:pt x="329" y="412"/>
                  </a:lnTo>
                  <a:lnTo>
                    <a:pt x="352" y="413"/>
                  </a:lnTo>
                  <a:lnTo>
                    <a:pt x="352" y="122"/>
                  </a:lnTo>
                  <a:lnTo>
                    <a:pt x="352" y="122"/>
                  </a:lnTo>
                  <a:lnTo>
                    <a:pt x="352" y="106"/>
                  </a:lnTo>
                  <a:lnTo>
                    <a:pt x="350" y="92"/>
                  </a:lnTo>
                  <a:lnTo>
                    <a:pt x="347" y="78"/>
                  </a:lnTo>
                  <a:lnTo>
                    <a:pt x="343" y="66"/>
                  </a:lnTo>
                  <a:lnTo>
                    <a:pt x="337" y="56"/>
                  </a:lnTo>
                  <a:lnTo>
                    <a:pt x="331" y="45"/>
                  </a:lnTo>
                  <a:lnTo>
                    <a:pt x="323" y="36"/>
                  </a:lnTo>
                  <a:lnTo>
                    <a:pt x="314" y="29"/>
                  </a:lnTo>
                  <a:lnTo>
                    <a:pt x="304" y="22"/>
                  </a:lnTo>
                  <a:lnTo>
                    <a:pt x="293" y="15"/>
                  </a:lnTo>
                  <a:lnTo>
                    <a:pt x="281" y="11"/>
                  </a:lnTo>
                  <a:lnTo>
                    <a:pt x="268" y="7"/>
                  </a:lnTo>
                  <a:lnTo>
                    <a:pt x="253" y="4"/>
                  </a:lnTo>
                  <a:lnTo>
                    <a:pt x="238" y="2"/>
                  </a:lnTo>
                  <a:lnTo>
                    <a:pt x="223" y="1"/>
                  </a:lnTo>
                  <a:lnTo>
                    <a:pt x="20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7" name="Freeform 10"/>
            <p:cNvSpPr>
              <a:spLocks/>
            </p:cNvSpPr>
            <p:nvPr userDrawn="1"/>
          </p:nvSpPr>
          <p:spPr bwMode="auto">
            <a:xfrm>
              <a:off x="4936" y="4034"/>
              <a:ext cx="43" cy="29"/>
            </a:xfrm>
            <a:custGeom>
              <a:avLst/>
              <a:gdLst>
                <a:gd name="T0" fmla="*/ 171 w 171"/>
                <a:gd name="T1" fmla="*/ 93 h 116"/>
                <a:gd name="T2" fmla="*/ 171 w 171"/>
                <a:gd name="T3" fmla="*/ 93 h 116"/>
                <a:gd name="T4" fmla="*/ 152 w 171"/>
                <a:gd name="T5" fmla="*/ 99 h 116"/>
                <a:gd name="T6" fmla="*/ 125 w 171"/>
                <a:gd name="T7" fmla="*/ 108 h 116"/>
                <a:gd name="T8" fmla="*/ 111 w 171"/>
                <a:gd name="T9" fmla="*/ 111 h 116"/>
                <a:gd name="T10" fmla="*/ 95 w 171"/>
                <a:gd name="T11" fmla="*/ 114 h 116"/>
                <a:gd name="T12" fmla="*/ 81 w 171"/>
                <a:gd name="T13" fmla="*/ 116 h 116"/>
                <a:gd name="T14" fmla="*/ 68 w 171"/>
                <a:gd name="T15" fmla="*/ 116 h 116"/>
                <a:gd name="T16" fmla="*/ 68 w 171"/>
                <a:gd name="T17" fmla="*/ 116 h 116"/>
                <a:gd name="T18" fmla="*/ 54 w 171"/>
                <a:gd name="T19" fmla="*/ 116 h 116"/>
                <a:gd name="T20" fmla="*/ 41 w 171"/>
                <a:gd name="T21" fmla="*/ 114 h 116"/>
                <a:gd name="T22" fmla="*/ 29 w 171"/>
                <a:gd name="T23" fmla="*/ 110 h 116"/>
                <a:gd name="T24" fmla="*/ 24 w 171"/>
                <a:gd name="T25" fmla="*/ 108 h 116"/>
                <a:gd name="T26" fmla="*/ 20 w 171"/>
                <a:gd name="T27" fmla="*/ 105 h 116"/>
                <a:gd name="T28" fmla="*/ 16 w 171"/>
                <a:gd name="T29" fmla="*/ 101 h 116"/>
                <a:gd name="T30" fmla="*/ 12 w 171"/>
                <a:gd name="T31" fmla="*/ 97 h 116"/>
                <a:gd name="T32" fmla="*/ 9 w 171"/>
                <a:gd name="T33" fmla="*/ 92 h 116"/>
                <a:gd name="T34" fmla="*/ 6 w 171"/>
                <a:gd name="T35" fmla="*/ 87 h 116"/>
                <a:gd name="T36" fmla="*/ 3 w 171"/>
                <a:gd name="T37" fmla="*/ 82 h 116"/>
                <a:gd name="T38" fmla="*/ 1 w 171"/>
                <a:gd name="T39" fmla="*/ 76 h 116"/>
                <a:gd name="T40" fmla="*/ 0 w 171"/>
                <a:gd name="T41" fmla="*/ 69 h 116"/>
                <a:gd name="T42" fmla="*/ 0 w 171"/>
                <a:gd name="T43" fmla="*/ 61 h 116"/>
                <a:gd name="T44" fmla="*/ 0 w 171"/>
                <a:gd name="T45" fmla="*/ 61 h 116"/>
                <a:gd name="T46" fmla="*/ 1 w 171"/>
                <a:gd name="T47" fmla="*/ 49 h 116"/>
                <a:gd name="T48" fmla="*/ 4 w 171"/>
                <a:gd name="T49" fmla="*/ 38 h 116"/>
                <a:gd name="T50" fmla="*/ 7 w 171"/>
                <a:gd name="T51" fmla="*/ 33 h 116"/>
                <a:gd name="T52" fmla="*/ 10 w 171"/>
                <a:gd name="T53" fmla="*/ 27 h 116"/>
                <a:gd name="T54" fmla="*/ 13 w 171"/>
                <a:gd name="T55" fmla="*/ 23 h 116"/>
                <a:gd name="T56" fmla="*/ 17 w 171"/>
                <a:gd name="T57" fmla="*/ 19 h 116"/>
                <a:gd name="T58" fmla="*/ 22 w 171"/>
                <a:gd name="T59" fmla="*/ 16 h 116"/>
                <a:gd name="T60" fmla="*/ 27 w 171"/>
                <a:gd name="T61" fmla="*/ 13 h 116"/>
                <a:gd name="T62" fmla="*/ 33 w 171"/>
                <a:gd name="T63" fmla="*/ 10 h 116"/>
                <a:gd name="T64" fmla="*/ 39 w 171"/>
                <a:gd name="T65" fmla="*/ 8 h 116"/>
                <a:gd name="T66" fmla="*/ 55 w 171"/>
                <a:gd name="T67" fmla="*/ 5 h 116"/>
                <a:gd name="T68" fmla="*/ 73 w 171"/>
                <a:gd name="T69" fmla="*/ 3 h 116"/>
                <a:gd name="T70" fmla="*/ 171 w 171"/>
                <a:gd name="T71" fmla="*/ 0 h 116"/>
                <a:gd name="T72" fmla="*/ 171 w 171"/>
                <a:gd name="T73" fmla="*/ 93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1" h="116">
                  <a:moveTo>
                    <a:pt x="171" y="93"/>
                  </a:moveTo>
                  <a:lnTo>
                    <a:pt x="171" y="93"/>
                  </a:lnTo>
                  <a:lnTo>
                    <a:pt x="152" y="99"/>
                  </a:lnTo>
                  <a:lnTo>
                    <a:pt x="125" y="108"/>
                  </a:lnTo>
                  <a:lnTo>
                    <a:pt x="111" y="111"/>
                  </a:lnTo>
                  <a:lnTo>
                    <a:pt x="95" y="114"/>
                  </a:lnTo>
                  <a:lnTo>
                    <a:pt x="81" y="116"/>
                  </a:lnTo>
                  <a:lnTo>
                    <a:pt x="68" y="116"/>
                  </a:lnTo>
                  <a:lnTo>
                    <a:pt x="68" y="116"/>
                  </a:lnTo>
                  <a:lnTo>
                    <a:pt x="54" y="116"/>
                  </a:lnTo>
                  <a:lnTo>
                    <a:pt x="41" y="114"/>
                  </a:lnTo>
                  <a:lnTo>
                    <a:pt x="29" y="110"/>
                  </a:lnTo>
                  <a:lnTo>
                    <a:pt x="24" y="108"/>
                  </a:lnTo>
                  <a:lnTo>
                    <a:pt x="20" y="105"/>
                  </a:lnTo>
                  <a:lnTo>
                    <a:pt x="16" y="101"/>
                  </a:lnTo>
                  <a:lnTo>
                    <a:pt x="12" y="97"/>
                  </a:lnTo>
                  <a:lnTo>
                    <a:pt x="9" y="92"/>
                  </a:lnTo>
                  <a:lnTo>
                    <a:pt x="6" y="87"/>
                  </a:lnTo>
                  <a:lnTo>
                    <a:pt x="3" y="82"/>
                  </a:lnTo>
                  <a:lnTo>
                    <a:pt x="1" y="76"/>
                  </a:lnTo>
                  <a:lnTo>
                    <a:pt x="0" y="69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1" y="49"/>
                  </a:lnTo>
                  <a:lnTo>
                    <a:pt x="4" y="38"/>
                  </a:lnTo>
                  <a:lnTo>
                    <a:pt x="7" y="33"/>
                  </a:lnTo>
                  <a:lnTo>
                    <a:pt x="10" y="27"/>
                  </a:lnTo>
                  <a:lnTo>
                    <a:pt x="13" y="23"/>
                  </a:lnTo>
                  <a:lnTo>
                    <a:pt x="17" y="19"/>
                  </a:lnTo>
                  <a:lnTo>
                    <a:pt x="22" y="16"/>
                  </a:lnTo>
                  <a:lnTo>
                    <a:pt x="27" y="13"/>
                  </a:lnTo>
                  <a:lnTo>
                    <a:pt x="33" y="10"/>
                  </a:lnTo>
                  <a:lnTo>
                    <a:pt x="39" y="8"/>
                  </a:lnTo>
                  <a:lnTo>
                    <a:pt x="55" y="5"/>
                  </a:lnTo>
                  <a:lnTo>
                    <a:pt x="73" y="3"/>
                  </a:lnTo>
                  <a:lnTo>
                    <a:pt x="171" y="0"/>
                  </a:lnTo>
                  <a:lnTo>
                    <a:pt x="171" y="9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8" name="Freeform 11"/>
            <p:cNvSpPr>
              <a:spLocks/>
            </p:cNvSpPr>
            <p:nvPr userDrawn="1"/>
          </p:nvSpPr>
          <p:spPr bwMode="auto">
            <a:xfrm>
              <a:off x="4914" y="3974"/>
              <a:ext cx="88" cy="107"/>
            </a:xfrm>
            <a:custGeom>
              <a:avLst/>
              <a:gdLst>
                <a:gd name="T0" fmla="*/ 206 w 353"/>
                <a:gd name="T1" fmla="*/ 0 h 428"/>
                <a:gd name="T2" fmla="*/ 148 w 353"/>
                <a:gd name="T3" fmla="*/ 4 h 428"/>
                <a:gd name="T4" fmla="*/ 98 w 353"/>
                <a:gd name="T5" fmla="*/ 12 h 428"/>
                <a:gd name="T6" fmla="*/ 59 w 353"/>
                <a:gd name="T7" fmla="*/ 23 h 428"/>
                <a:gd name="T8" fmla="*/ 33 w 353"/>
                <a:gd name="T9" fmla="*/ 33 h 428"/>
                <a:gd name="T10" fmla="*/ 53 w 353"/>
                <a:gd name="T11" fmla="*/ 102 h 428"/>
                <a:gd name="T12" fmla="*/ 92 w 353"/>
                <a:gd name="T13" fmla="*/ 91 h 428"/>
                <a:gd name="T14" fmla="*/ 132 w 353"/>
                <a:gd name="T15" fmla="*/ 82 h 428"/>
                <a:gd name="T16" fmla="*/ 178 w 353"/>
                <a:gd name="T17" fmla="*/ 79 h 428"/>
                <a:gd name="T18" fmla="*/ 198 w 353"/>
                <a:gd name="T19" fmla="*/ 80 h 428"/>
                <a:gd name="T20" fmla="*/ 221 w 353"/>
                <a:gd name="T21" fmla="*/ 84 h 428"/>
                <a:gd name="T22" fmla="*/ 233 w 353"/>
                <a:gd name="T23" fmla="*/ 90 h 428"/>
                <a:gd name="T24" fmla="*/ 244 w 353"/>
                <a:gd name="T25" fmla="*/ 98 h 428"/>
                <a:gd name="T26" fmla="*/ 252 w 353"/>
                <a:gd name="T27" fmla="*/ 108 h 428"/>
                <a:gd name="T28" fmla="*/ 257 w 353"/>
                <a:gd name="T29" fmla="*/ 120 h 428"/>
                <a:gd name="T30" fmla="*/ 259 w 353"/>
                <a:gd name="T31" fmla="*/ 137 h 428"/>
                <a:gd name="T32" fmla="*/ 260 w 353"/>
                <a:gd name="T33" fmla="*/ 176 h 428"/>
                <a:gd name="T34" fmla="*/ 178 w 353"/>
                <a:gd name="T35" fmla="*/ 176 h 428"/>
                <a:gd name="T36" fmla="*/ 131 w 353"/>
                <a:gd name="T37" fmla="*/ 179 h 428"/>
                <a:gd name="T38" fmla="*/ 92 w 353"/>
                <a:gd name="T39" fmla="*/ 187 h 428"/>
                <a:gd name="T40" fmla="*/ 62 w 353"/>
                <a:gd name="T41" fmla="*/ 200 h 428"/>
                <a:gd name="T42" fmla="*/ 38 w 353"/>
                <a:gd name="T43" fmla="*/ 216 h 428"/>
                <a:gd name="T44" fmla="*/ 21 w 353"/>
                <a:gd name="T45" fmla="*/ 236 h 428"/>
                <a:gd name="T46" fmla="*/ 9 w 353"/>
                <a:gd name="T47" fmla="*/ 257 h 428"/>
                <a:gd name="T48" fmla="*/ 3 w 353"/>
                <a:gd name="T49" fmla="*/ 282 h 428"/>
                <a:gd name="T50" fmla="*/ 0 w 353"/>
                <a:gd name="T51" fmla="*/ 307 h 428"/>
                <a:gd name="T52" fmla="*/ 2 w 353"/>
                <a:gd name="T53" fmla="*/ 323 h 428"/>
                <a:gd name="T54" fmla="*/ 8 w 353"/>
                <a:gd name="T55" fmla="*/ 352 h 428"/>
                <a:gd name="T56" fmla="*/ 19 w 353"/>
                <a:gd name="T57" fmla="*/ 376 h 428"/>
                <a:gd name="T58" fmla="*/ 35 w 353"/>
                <a:gd name="T59" fmla="*/ 394 h 428"/>
                <a:gd name="T60" fmla="*/ 55 w 353"/>
                <a:gd name="T61" fmla="*/ 408 h 428"/>
                <a:gd name="T62" fmla="*/ 77 w 353"/>
                <a:gd name="T63" fmla="*/ 418 h 428"/>
                <a:gd name="T64" fmla="*/ 101 w 353"/>
                <a:gd name="T65" fmla="*/ 424 h 428"/>
                <a:gd name="T66" fmla="*/ 125 w 353"/>
                <a:gd name="T67" fmla="*/ 427 h 428"/>
                <a:gd name="T68" fmla="*/ 137 w 353"/>
                <a:gd name="T69" fmla="*/ 428 h 428"/>
                <a:gd name="T70" fmla="*/ 165 w 353"/>
                <a:gd name="T71" fmla="*/ 426 h 428"/>
                <a:gd name="T72" fmla="*/ 210 w 353"/>
                <a:gd name="T73" fmla="*/ 418 h 428"/>
                <a:gd name="T74" fmla="*/ 242 w 353"/>
                <a:gd name="T75" fmla="*/ 406 h 428"/>
                <a:gd name="T76" fmla="*/ 260 w 353"/>
                <a:gd name="T77" fmla="*/ 397 h 428"/>
                <a:gd name="T78" fmla="*/ 264 w 353"/>
                <a:gd name="T79" fmla="*/ 396 h 428"/>
                <a:gd name="T80" fmla="*/ 269 w 353"/>
                <a:gd name="T81" fmla="*/ 398 h 428"/>
                <a:gd name="T82" fmla="*/ 283 w 353"/>
                <a:gd name="T83" fmla="*/ 404 h 428"/>
                <a:gd name="T84" fmla="*/ 310 w 353"/>
                <a:gd name="T85" fmla="*/ 411 h 428"/>
                <a:gd name="T86" fmla="*/ 353 w 353"/>
                <a:gd name="T87" fmla="*/ 413 h 428"/>
                <a:gd name="T88" fmla="*/ 353 w 353"/>
                <a:gd name="T89" fmla="*/ 122 h 428"/>
                <a:gd name="T90" fmla="*/ 351 w 353"/>
                <a:gd name="T91" fmla="*/ 92 h 428"/>
                <a:gd name="T92" fmla="*/ 343 w 353"/>
                <a:gd name="T93" fmla="*/ 66 h 428"/>
                <a:gd name="T94" fmla="*/ 330 w 353"/>
                <a:gd name="T95" fmla="*/ 45 h 428"/>
                <a:gd name="T96" fmla="*/ 314 w 353"/>
                <a:gd name="T97" fmla="*/ 29 h 428"/>
                <a:gd name="T98" fmla="*/ 293 w 353"/>
                <a:gd name="T99" fmla="*/ 15 h 428"/>
                <a:gd name="T100" fmla="*/ 268 w 353"/>
                <a:gd name="T101" fmla="*/ 7 h 428"/>
                <a:gd name="T102" fmla="*/ 239 w 353"/>
                <a:gd name="T103" fmla="*/ 2 h 428"/>
                <a:gd name="T104" fmla="*/ 206 w 353"/>
                <a:gd name="T105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3" h="428">
                  <a:moveTo>
                    <a:pt x="206" y="0"/>
                  </a:moveTo>
                  <a:lnTo>
                    <a:pt x="206" y="0"/>
                  </a:lnTo>
                  <a:lnTo>
                    <a:pt x="175" y="1"/>
                  </a:lnTo>
                  <a:lnTo>
                    <a:pt x="148" y="4"/>
                  </a:lnTo>
                  <a:lnTo>
                    <a:pt x="121" y="7"/>
                  </a:lnTo>
                  <a:lnTo>
                    <a:pt x="98" y="12"/>
                  </a:lnTo>
                  <a:lnTo>
                    <a:pt x="77" y="17"/>
                  </a:lnTo>
                  <a:lnTo>
                    <a:pt x="59" y="23"/>
                  </a:lnTo>
                  <a:lnTo>
                    <a:pt x="44" y="28"/>
                  </a:lnTo>
                  <a:lnTo>
                    <a:pt x="33" y="33"/>
                  </a:lnTo>
                  <a:lnTo>
                    <a:pt x="53" y="102"/>
                  </a:lnTo>
                  <a:lnTo>
                    <a:pt x="53" y="102"/>
                  </a:lnTo>
                  <a:lnTo>
                    <a:pt x="64" y="98"/>
                  </a:lnTo>
                  <a:lnTo>
                    <a:pt x="92" y="91"/>
                  </a:lnTo>
                  <a:lnTo>
                    <a:pt x="111" y="86"/>
                  </a:lnTo>
                  <a:lnTo>
                    <a:pt x="132" y="82"/>
                  </a:lnTo>
                  <a:lnTo>
                    <a:pt x="155" y="80"/>
                  </a:lnTo>
                  <a:lnTo>
                    <a:pt x="178" y="79"/>
                  </a:lnTo>
                  <a:lnTo>
                    <a:pt x="178" y="79"/>
                  </a:lnTo>
                  <a:lnTo>
                    <a:pt x="198" y="80"/>
                  </a:lnTo>
                  <a:lnTo>
                    <a:pt x="214" y="82"/>
                  </a:lnTo>
                  <a:lnTo>
                    <a:pt x="221" y="84"/>
                  </a:lnTo>
                  <a:lnTo>
                    <a:pt x="227" y="86"/>
                  </a:lnTo>
                  <a:lnTo>
                    <a:pt x="233" y="90"/>
                  </a:lnTo>
                  <a:lnTo>
                    <a:pt x="240" y="94"/>
                  </a:lnTo>
                  <a:lnTo>
                    <a:pt x="244" y="98"/>
                  </a:lnTo>
                  <a:lnTo>
                    <a:pt x="248" y="102"/>
                  </a:lnTo>
                  <a:lnTo>
                    <a:pt x="252" y="108"/>
                  </a:lnTo>
                  <a:lnTo>
                    <a:pt x="255" y="114"/>
                  </a:lnTo>
                  <a:lnTo>
                    <a:pt x="257" y="120"/>
                  </a:lnTo>
                  <a:lnTo>
                    <a:pt x="258" y="129"/>
                  </a:lnTo>
                  <a:lnTo>
                    <a:pt x="259" y="137"/>
                  </a:lnTo>
                  <a:lnTo>
                    <a:pt x="260" y="146"/>
                  </a:lnTo>
                  <a:lnTo>
                    <a:pt x="260" y="176"/>
                  </a:lnTo>
                  <a:lnTo>
                    <a:pt x="178" y="176"/>
                  </a:lnTo>
                  <a:lnTo>
                    <a:pt x="178" y="176"/>
                  </a:lnTo>
                  <a:lnTo>
                    <a:pt x="154" y="177"/>
                  </a:lnTo>
                  <a:lnTo>
                    <a:pt x="131" y="179"/>
                  </a:lnTo>
                  <a:lnTo>
                    <a:pt x="111" y="182"/>
                  </a:lnTo>
                  <a:lnTo>
                    <a:pt x="92" y="187"/>
                  </a:lnTo>
                  <a:lnTo>
                    <a:pt x="76" y="192"/>
                  </a:lnTo>
                  <a:lnTo>
                    <a:pt x="62" y="200"/>
                  </a:lnTo>
                  <a:lnTo>
                    <a:pt x="50" y="207"/>
                  </a:lnTo>
                  <a:lnTo>
                    <a:pt x="38" y="216"/>
                  </a:lnTo>
                  <a:lnTo>
                    <a:pt x="28" y="225"/>
                  </a:lnTo>
                  <a:lnTo>
                    <a:pt x="21" y="236"/>
                  </a:lnTo>
                  <a:lnTo>
                    <a:pt x="14" y="246"/>
                  </a:lnTo>
                  <a:lnTo>
                    <a:pt x="9" y="257"/>
                  </a:lnTo>
                  <a:lnTo>
                    <a:pt x="6" y="270"/>
                  </a:lnTo>
                  <a:lnTo>
                    <a:pt x="3" y="282"/>
                  </a:lnTo>
                  <a:lnTo>
                    <a:pt x="0" y="294"/>
                  </a:lnTo>
                  <a:lnTo>
                    <a:pt x="0" y="307"/>
                  </a:lnTo>
                  <a:lnTo>
                    <a:pt x="0" y="307"/>
                  </a:lnTo>
                  <a:lnTo>
                    <a:pt x="2" y="323"/>
                  </a:lnTo>
                  <a:lnTo>
                    <a:pt x="4" y="338"/>
                  </a:lnTo>
                  <a:lnTo>
                    <a:pt x="8" y="352"/>
                  </a:lnTo>
                  <a:lnTo>
                    <a:pt x="13" y="364"/>
                  </a:lnTo>
                  <a:lnTo>
                    <a:pt x="19" y="376"/>
                  </a:lnTo>
                  <a:lnTo>
                    <a:pt x="27" y="386"/>
                  </a:lnTo>
                  <a:lnTo>
                    <a:pt x="35" y="394"/>
                  </a:lnTo>
                  <a:lnTo>
                    <a:pt x="44" y="401"/>
                  </a:lnTo>
                  <a:lnTo>
                    <a:pt x="55" y="408"/>
                  </a:lnTo>
                  <a:lnTo>
                    <a:pt x="66" y="414"/>
                  </a:lnTo>
                  <a:lnTo>
                    <a:pt x="77" y="418"/>
                  </a:lnTo>
                  <a:lnTo>
                    <a:pt x="88" y="422"/>
                  </a:lnTo>
                  <a:lnTo>
                    <a:pt x="101" y="424"/>
                  </a:lnTo>
                  <a:lnTo>
                    <a:pt x="113" y="426"/>
                  </a:lnTo>
                  <a:lnTo>
                    <a:pt x="125" y="427"/>
                  </a:lnTo>
                  <a:lnTo>
                    <a:pt x="137" y="428"/>
                  </a:lnTo>
                  <a:lnTo>
                    <a:pt x="137" y="428"/>
                  </a:lnTo>
                  <a:lnTo>
                    <a:pt x="152" y="427"/>
                  </a:lnTo>
                  <a:lnTo>
                    <a:pt x="165" y="426"/>
                  </a:lnTo>
                  <a:lnTo>
                    <a:pt x="188" y="423"/>
                  </a:lnTo>
                  <a:lnTo>
                    <a:pt x="210" y="418"/>
                  </a:lnTo>
                  <a:lnTo>
                    <a:pt x="227" y="412"/>
                  </a:lnTo>
                  <a:lnTo>
                    <a:pt x="242" y="406"/>
                  </a:lnTo>
                  <a:lnTo>
                    <a:pt x="253" y="401"/>
                  </a:lnTo>
                  <a:lnTo>
                    <a:pt x="260" y="397"/>
                  </a:lnTo>
                  <a:lnTo>
                    <a:pt x="264" y="396"/>
                  </a:lnTo>
                  <a:lnTo>
                    <a:pt x="264" y="396"/>
                  </a:lnTo>
                  <a:lnTo>
                    <a:pt x="266" y="397"/>
                  </a:lnTo>
                  <a:lnTo>
                    <a:pt x="269" y="398"/>
                  </a:lnTo>
                  <a:lnTo>
                    <a:pt x="275" y="401"/>
                  </a:lnTo>
                  <a:lnTo>
                    <a:pt x="283" y="404"/>
                  </a:lnTo>
                  <a:lnTo>
                    <a:pt x="296" y="407"/>
                  </a:lnTo>
                  <a:lnTo>
                    <a:pt x="310" y="411"/>
                  </a:lnTo>
                  <a:lnTo>
                    <a:pt x="329" y="412"/>
                  </a:lnTo>
                  <a:lnTo>
                    <a:pt x="353" y="413"/>
                  </a:lnTo>
                  <a:lnTo>
                    <a:pt x="353" y="122"/>
                  </a:lnTo>
                  <a:lnTo>
                    <a:pt x="353" y="122"/>
                  </a:lnTo>
                  <a:lnTo>
                    <a:pt x="353" y="106"/>
                  </a:lnTo>
                  <a:lnTo>
                    <a:pt x="351" y="92"/>
                  </a:lnTo>
                  <a:lnTo>
                    <a:pt x="348" y="78"/>
                  </a:lnTo>
                  <a:lnTo>
                    <a:pt x="343" y="66"/>
                  </a:lnTo>
                  <a:lnTo>
                    <a:pt x="338" y="56"/>
                  </a:lnTo>
                  <a:lnTo>
                    <a:pt x="330" y="45"/>
                  </a:lnTo>
                  <a:lnTo>
                    <a:pt x="323" y="36"/>
                  </a:lnTo>
                  <a:lnTo>
                    <a:pt x="314" y="29"/>
                  </a:lnTo>
                  <a:lnTo>
                    <a:pt x="304" y="22"/>
                  </a:lnTo>
                  <a:lnTo>
                    <a:pt x="293" y="15"/>
                  </a:lnTo>
                  <a:lnTo>
                    <a:pt x="281" y="11"/>
                  </a:lnTo>
                  <a:lnTo>
                    <a:pt x="268" y="7"/>
                  </a:lnTo>
                  <a:lnTo>
                    <a:pt x="254" y="4"/>
                  </a:lnTo>
                  <a:lnTo>
                    <a:pt x="239" y="2"/>
                  </a:lnTo>
                  <a:lnTo>
                    <a:pt x="222" y="1"/>
                  </a:lnTo>
                  <a:lnTo>
                    <a:pt x="20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9" name="Freeform 12"/>
            <p:cNvSpPr>
              <a:spLocks/>
            </p:cNvSpPr>
            <p:nvPr userDrawn="1"/>
          </p:nvSpPr>
          <p:spPr bwMode="auto">
            <a:xfrm>
              <a:off x="5263" y="3975"/>
              <a:ext cx="93" cy="106"/>
            </a:xfrm>
            <a:custGeom>
              <a:avLst/>
              <a:gdLst>
                <a:gd name="T0" fmla="*/ 281 w 374"/>
                <a:gd name="T1" fmla="*/ 313 h 424"/>
                <a:gd name="T2" fmla="*/ 246 w 374"/>
                <a:gd name="T3" fmla="*/ 327 h 424"/>
                <a:gd name="T4" fmla="*/ 217 w 374"/>
                <a:gd name="T5" fmla="*/ 336 h 424"/>
                <a:gd name="T6" fmla="*/ 184 w 374"/>
                <a:gd name="T7" fmla="*/ 341 h 424"/>
                <a:gd name="T8" fmla="*/ 167 w 374"/>
                <a:gd name="T9" fmla="*/ 342 h 424"/>
                <a:gd name="T10" fmla="*/ 145 w 374"/>
                <a:gd name="T11" fmla="*/ 341 h 424"/>
                <a:gd name="T12" fmla="*/ 129 w 374"/>
                <a:gd name="T13" fmla="*/ 337 h 424"/>
                <a:gd name="T14" fmla="*/ 116 w 374"/>
                <a:gd name="T15" fmla="*/ 329 h 424"/>
                <a:gd name="T16" fmla="*/ 106 w 374"/>
                <a:gd name="T17" fmla="*/ 319 h 424"/>
                <a:gd name="T18" fmla="*/ 99 w 374"/>
                <a:gd name="T19" fmla="*/ 307 h 424"/>
                <a:gd name="T20" fmla="*/ 95 w 374"/>
                <a:gd name="T21" fmla="*/ 290 h 424"/>
                <a:gd name="T22" fmla="*/ 93 w 374"/>
                <a:gd name="T23" fmla="*/ 248 h 424"/>
                <a:gd name="T24" fmla="*/ 79 w 374"/>
                <a:gd name="T25" fmla="*/ 0 h 424"/>
                <a:gd name="T26" fmla="*/ 59 w 374"/>
                <a:gd name="T27" fmla="*/ 0 h 424"/>
                <a:gd name="T28" fmla="*/ 13 w 374"/>
                <a:gd name="T29" fmla="*/ 4 h 424"/>
                <a:gd name="T30" fmla="*/ 0 w 374"/>
                <a:gd name="T31" fmla="*/ 259 h 424"/>
                <a:gd name="T32" fmla="*/ 0 w 374"/>
                <a:gd name="T33" fmla="*/ 280 h 424"/>
                <a:gd name="T34" fmla="*/ 3 w 374"/>
                <a:gd name="T35" fmla="*/ 316 h 424"/>
                <a:gd name="T36" fmla="*/ 9 w 374"/>
                <a:gd name="T37" fmla="*/ 347 h 424"/>
                <a:gd name="T38" fmla="*/ 21 w 374"/>
                <a:gd name="T39" fmla="*/ 373 h 424"/>
                <a:gd name="T40" fmla="*/ 36 w 374"/>
                <a:gd name="T41" fmla="*/ 393 h 424"/>
                <a:gd name="T42" fmla="*/ 58 w 374"/>
                <a:gd name="T43" fmla="*/ 408 h 424"/>
                <a:gd name="T44" fmla="*/ 86 w 374"/>
                <a:gd name="T45" fmla="*/ 418 h 424"/>
                <a:gd name="T46" fmla="*/ 121 w 374"/>
                <a:gd name="T47" fmla="*/ 423 h 424"/>
                <a:gd name="T48" fmla="*/ 141 w 374"/>
                <a:gd name="T49" fmla="*/ 424 h 424"/>
                <a:gd name="T50" fmla="*/ 172 w 374"/>
                <a:gd name="T51" fmla="*/ 422 h 424"/>
                <a:gd name="T52" fmla="*/ 199 w 374"/>
                <a:gd name="T53" fmla="*/ 418 h 424"/>
                <a:gd name="T54" fmla="*/ 243 w 374"/>
                <a:gd name="T55" fmla="*/ 407 h 424"/>
                <a:gd name="T56" fmla="*/ 271 w 374"/>
                <a:gd name="T57" fmla="*/ 395 h 424"/>
                <a:gd name="T58" fmla="*/ 283 w 374"/>
                <a:gd name="T59" fmla="*/ 390 h 424"/>
                <a:gd name="T60" fmla="*/ 296 w 374"/>
                <a:gd name="T61" fmla="*/ 396 h 424"/>
                <a:gd name="T62" fmla="*/ 319 w 374"/>
                <a:gd name="T63" fmla="*/ 402 h 424"/>
                <a:gd name="T64" fmla="*/ 353 w 374"/>
                <a:gd name="T65" fmla="*/ 408 h 424"/>
                <a:gd name="T66" fmla="*/ 374 w 374"/>
                <a:gd name="T67" fmla="*/ 6 h 424"/>
                <a:gd name="T68" fmla="*/ 342 w 374"/>
                <a:gd name="T69" fmla="*/ 2 h 424"/>
                <a:gd name="T70" fmla="*/ 299 w 374"/>
                <a:gd name="T71" fmla="*/ 0 h 424"/>
                <a:gd name="T72" fmla="*/ 281 w 374"/>
                <a:gd name="T73" fmla="*/ 313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74" h="424">
                  <a:moveTo>
                    <a:pt x="281" y="313"/>
                  </a:moveTo>
                  <a:lnTo>
                    <a:pt x="281" y="313"/>
                  </a:lnTo>
                  <a:lnTo>
                    <a:pt x="260" y="322"/>
                  </a:lnTo>
                  <a:lnTo>
                    <a:pt x="246" y="327"/>
                  </a:lnTo>
                  <a:lnTo>
                    <a:pt x="232" y="331"/>
                  </a:lnTo>
                  <a:lnTo>
                    <a:pt x="217" y="336"/>
                  </a:lnTo>
                  <a:lnTo>
                    <a:pt x="200" y="339"/>
                  </a:lnTo>
                  <a:lnTo>
                    <a:pt x="184" y="341"/>
                  </a:lnTo>
                  <a:lnTo>
                    <a:pt x="167" y="342"/>
                  </a:lnTo>
                  <a:lnTo>
                    <a:pt x="167" y="342"/>
                  </a:lnTo>
                  <a:lnTo>
                    <a:pt x="155" y="342"/>
                  </a:lnTo>
                  <a:lnTo>
                    <a:pt x="145" y="341"/>
                  </a:lnTo>
                  <a:lnTo>
                    <a:pt x="136" y="339"/>
                  </a:lnTo>
                  <a:lnTo>
                    <a:pt x="129" y="337"/>
                  </a:lnTo>
                  <a:lnTo>
                    <a:pt x="122" y="333"/>
                  </a:lnTo>
                  <a:lnTo>
                    <a:pt x="116" y="329"/>
                  </a:lnTo>
                  <a:lnTo>
                    <a:pt x="110" y="324"/>
                  </a:lnTo>
                  <a:lnTo>
                    <a:pt x="106" y="319"/>
                  </a:lnTo>
                  <a:lnTo>
                    <a:pt x="102" y="313"/>
                  </a:lnTo>
                  <a:lnTo>
                    <a:pt x="99" y="307"/>
                  </a:lnTo>
                  <a:lnTo>
                    <a:pt x="97" y="298"/>
                  </a:lnTo>
                  <a:lnTo>
                    <a:pt x="95" y="290"/>
                  </a:lnTo>
                  <a:lnTo>
                    <a:pt x="93" y="271"/>
                  </a:lnTo>
                  <a:lnTo>
                    <a:pt x="93" y="248"/>
                  </a:lnTo>
                  <a:lnTo>
                    <a:pt x="93" y="0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59" y="0"/>
                  </a:lnTo>
                  <a:lnTo>
                    <a:pt x="36" y="2"/>
                  </a:lnTo>
                  <a:lnTo>
                    <a:pt x="13" y="4"/>
                  </a:lnTo>
                  <a:lnTo>
                    <a:pt x="0" y="6"/>
                  </a:lnTo>
                  <a:lnTo>
                    <a:pt x="0" y="259"/>
                  </a:lnTo>
                  <a:lnTo>
                    <a:pt x="0" y="259"/>
                  </a:lnTo>
                  <a:lnTo>
                    <a:pt x="0" y="280"/>
                  </a:lnTo>
                  <a:lnTo>
                    <a:pt x="1" y="298"/>
                  </a:lnTo>
                  <a:lnTo>
                    <a:pt x="3" y="316"/>
                  </a:lnTo>
                  <a:lnTo>
                    <a:pt x="5" y="332"/>
                  </a:lnTo>
                  <a:lnTo>
                    <a:pt x="9" y="347"/>
                  </a:lnTo>
                  <a:lnTo>
                    <a:pt x="14" y="360"/>
                  </a:lnTo>
                  <a:lnTo>
                    <a:pt x="21" y="373"/>
                  </a:lnTo>
                  <a:lnTo>
                    <a:pt x="28" y="383"/>
                  </a:lnTo>
                  <a:lnTo>
                    <a:pt x="36" y="393"/>
                  </a:lnTo>
                  <a:lnTo>
                    <a:pt x="46" y="401"/>
                  </a:lnTo>
                  <a:lnTo>
                    <a:pt x="58" y="408"/>
                  </a:lnTo>
                  <a:lnTo>
                    <a:pt x="71" y="414"/>
                  </a:lnTo>
                  <a:lnTo>
                    <a:pt x="86" y="418"/>
                  </a:lnTo>
                  <a:lnTo>
                    <a:pt x="102" y="421"/>
                  </a:lnTo>
                  <a:lnTo>
                    <a:pt x="121" y="423"/>
                  </a:lnTo>
                  <a:lnTo>
                    <a:pt x="141" y="424"/>
                  </a:lnTo>
                  <a:lnTo>
                    <a:pt x="141" y="424"/>
                  </a:lnTo>
                  <a:lnTo>
                    <a:pt x="157" y="423"/>
                  </a:lnTo>
                  <a:lnTo>
                    <a:pt x="172" y="422"/>
                  </a:lnTo>
                  <a:lnTo>
                    <a:pt x="186" y="421"/>
                  </a:lnTo>
                  <a:lnTo>
                    <a:pt x="199" y="418"/>
                  </a:lnTo>
                  <a:lnTo>
                    <a:pt x="223" y="413"/>
                  </a:lnTo>
                  <a:lnTo>
                    <a:pt x="243" y="407"/>
                  </a:lnTo>
                  <a:lnTo>
                    <a:pt x="260" y="400"/>
                  </a:lnTo>
                  <a:lnTo>
                    <a:pt x="271" y="395"/>
                  </a:lnTo>
                  <a:lnTo>
                    <a:pt x="283" y="390"/>
                  </a:lnTo>
                  <a:lnTo>
                    <a:pt x="283" y="390"/>
                  </a:lnTo>
                  <a:lnTo>
                    <a:pt x="289" y="393"/>
                  </a:lnTo>
                  <a:lnTo>
                    <a:pt x="296" y="396"/>
                  </a:lnTo>
                  <a:lnTo>
                    <a:pt x="307" y="399"/>
                  </a:lnTo>
                  <a:lnTo>
                    <a:pt x="319" y="402"/>
                  </a:lnTo>
                  <a:lnTo>
                    <a:pt x="334" y="405"/>
                  </a:lnTo>
                  <a:lnTo>
                    <a:pt x="353" y="408"/>
                  </a:lnTo>
                  <a:lnTo>
                    <a:pt x="374" y="409"/>
                  </a:lnTo>
                  <a:lnTo>
                    <a:pt x="374" y="6"/>
                  </a:lnTo>
                  <a:lnTo>
                    <a:pt x="374" y="6"/>
                  </a:lnTo>
                  <a:lnTo>
                    <a:pt x="342" y="2"/>
                  </a:lnTo>
                  <a:lnTo>
                    <a:pt x="320" y="1"/>
                  </a:lnTo>
                  <a:lnTo>
                    <a:pt x="299" y="0"/>
                  </a:lnTo>
                  <a:lnTo>
                    <a:pt x="281" y="0"/>
                  </a:lnTo>
                  <a:lnTo>
                    <a:pt x="281" y="31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70" name="Freeform 13"/>
            <p:cNvSpPr>
              <a:spLocks/>
            </p:cNvSpPr>
            <p:nvPr userDrawn="1"/>
          </p:nvSpPr>
          <p:spPr bwMode="auto">
            <a:xfrm>
              <a:off x="5383" y="3974"/>
              <a:ext cx="78" cy="107"/>
            </a:xfrm>
            <a:custGeom>
              <a:avLst/>
              <a:gdLst>
                <a:gd name="T0" fmla="*/ 11 w 311"/>
                <a:gd name="T1" fmla="*/ 415 h 428"/>
                <a:gd name="T2" fmla="*/ 83 w 311"/>
                <a:gd name="T3" fmla="*/ 425 h 428"/>
                <a:gd name="T4" fmla="*/ 138 w 311"/>
                <a:gd name="T5" fmla="*/ 428 h 428"/>
                <a:gd name="T6" fmla="*/ 183 w 311"/>
                <a:gd name="T7" fmla="*/ 425 h 428"/>
                <a:gd name="T8" fmla="*/ 227 w 311"/>
                <a:gd name="T9" fmla="*/ 414 h 428"/>
                <a:gd name="T10" fmla="*/ 265 w 311"/>
                <a:gd name="T11" fmla="*/ 394 h 428"/>
                <a:gd name="T12" fmla="*/ 295 w 311"/>
                <a:gd name="T13" fmla="*/ 363 h 428"/>
                <a:gd name="T14" fmla="*/ 310 w 311"/>
                <a:gd name="T15" fmla="*/ 318 h 428"/>
                <a:gd name="T16" fmla="*/ 310 w 311"/>
                <a:gd name="T17" fmla="*/ 288 h 428"/>
                <a:gd name="T18" fmla="*/ 302 w 311"/>
                <a:gd name="T19" fmla="*/ 256 h 428"/>
                <a:gd name="T20" fmla="*/ 283 w 311"/>
                <a:gd name="T21" fmla="*/ 231 h 428"/>
                <a:gd name="T22" fmla="*/ 257 w 311"/>
                <a:gd name="T23" fmla="*/ 211 h 428"/>
                <a:gd name="T24" fmla="*/ 209 w 311"/>
                <a:gd name="T25" fmla="*/ 187 h 428"/>
                <a:gd name="T26" fmla="*/ 149 w 311"/>
                <a:gd name="T27" fmla="*/ 164 h 428"/>
                <a:gd name="T28" fmla="*/ 113 w 311"/>
                <a:gd name="T29" fmla="*/ 144 h 428"/>
                <a:gd name="T30" fmla="*/ 103 w 311"/>
                <a:gd name="T31" fmla="*/ 132 h 428"/>
                <a:gd name="T32" fmla="*/ 100 w 311"/>
                <a:gd name="T33" fmla="*/ 116 h 428"/>
                <a:gd name="T34" fmla="*/ 102 w 311"/>
                <a:gd name="T35" fmla="*/ 104 h 428"/>
                <a:gd name="T36" fmla="*/ 116 w 311"/>
                <a:gd name="T37" fmla="*/ 86 h 428"/>
                <a:gd name="T38" fmla="*/ 132 w 311"/>
                <a:gd name="T39" fmla="*/ 78 h 428"/>
                <a:gd name="T40" fmla="*/ 156 w 311"/>
                <a:gd name="T41" fmla="*/ 74 h 428"/>
                <a:gd name="T42" fmla="*/ 185 w 311"/>
                <a:gd name="T43" fmla="*/ 75 h 428"/>
                <a:gd name="T44" fmla="*/ 238 w 311"/>
                <a:gd name="T45" fmla="*/ 85 h 428"/>
                <a:gd name="T46" fmla="*/ 295 w 311"/>
                <a:gd name="T47" fmla="*/ 30 h 428"/>
                <a:gd name="T48" fmla="*/ 263 w 311"/>
                <a:gd name="T49" fmla="*/ 16 h 428"/>
                <a:gd name="T50" fmla="*/ 207 w 311"/>
                <a:gd name="T51" fmla="*/ 4 h 428"/>
                <a:gd name="T52" fmla="*/ 158 w 311"/>
                <a:gd name="T53" fmla="*/ 0 h 428"/>
                <a:gd name="T54" fmla="*/ 115 w 311"/>
                <a:gd name="T55" fmla="*/ 4 h 428"/>
                <a:gd name="T56" fmla="*/ 76 w 311"/>
                <a:gd name="T57" fmla="*/ 17 h 428"/>
                <a:gd name="T58" fmla="*/ 42 w 311"/>
                <a:gd name="T59" fmla="*/ 39 h 428"/>
                <a:gd name="T60" fmla="*/ 19 w 311"/>
                <a:gd name="T61" fmla="*/ 69 h 428"/>
                <a:gd name="T62" fmla="*/ 7 w 311"/>
                <a:gd name="T63" fmla="*/ 107 h 428"/>
                <a:gd name="T64" fmla="*/ 7 w 311"/>
                <a:gd name="T65" fmla="*/ 137 h 428"/>
                <a:gd name="T66" fmla="*/ 19 w 311"/>
                <a:gd name="T67" fmla="*/ 175 h 428"/>
                <a:gd name="T68" fmla="*/ 42 w 311"/>
                <a:gd name="T69" fmla="*/ 203 h 428"/>
                <a:gd name="T70" fmla="*/ 73 w 311"/>
                <a:gd name="T71" fmla="*/ 223 h 428"/>
                <a:gd name="T72" fmla="*/ 119 w 311"/>
                <a:gd name="T73" fmla="*/ 243 h 428"/>
                <a:gd name="T74" fmla="*/ 171 w 311"/>
                <a:gd name="T75" fmla="*/ 261 h 428"/>
                <a:gd name="T76" fmla="*/ 205 w 311"/>
                <a:gd name="T77" fmla="*/ 280 h 428"/>
                <a:gd name="T78" fmla="*/ 216 w 311"/>
                <a:gd name="T79" fmla="*/ 296 h 428"/>
                <a:gd name="T80" fmla="*/ 217 w 311"/>
                <a:gd name="T81" fmla="*/ 306 h 428"/>
                <a:gd name="T82" fmla="*/ 212 w 311"/>
                <a:gd name="T83" fmla="*/ 328 h 428"/>
                <a:gd name="T84" fmla="*/ 202 w 311"/>
                <a:gd name="T85" fmla="*/ 340 h 428"/>
                <a:gd name="T86" fmla="*/ 184 w 311"/>
                <a:gd name="T87" fmla="*/ 348 h 428"/>
                <a:gd name="T88" fmla="*/ 158 w 311"/>
                <a:gd name="T89" fmla="*/ 353 h 428"/>
                <a:gd name="T90" fmla="*/ 113 w 311"/>
                <a:gd name="T91" fmla="*/ 354 h 428"/>
                <a:gd name="T92" fmla="*/ 28 w 311"/>
                <a:gd name="T93" fmla="*/ 344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11" h="428">
                  <a:moveTo>
                    <a:pt x="0" y="413"/>
                  </a:moveTo>
                  <a:lnTo>
                    <a:pt x="0" y="413"/>
                  </a:lnTo>
                  <a:lnTo>
                    <a:pt x="11" y="415"/>
                  </a:lnTo>
                  <a:lnTo>
                    <a:pt x="39" y="420"/>
                  </a:lnTo>
                  <a:lnTo>
                    <a:pt x="60" y="423"/>
                  </a:lnTo>
                  <a:lnTo>
                    <a:pt x="83" y="425"/>
                  </a:lnTo>
                  <a:lnTo>
                    <a:pt x="110" y="427"/>
                  </a:lnTo>
                  <a:lnTo>
                    <a:pt x="138" y="428"/>
                  </a:lnTo>
                  <a:lnTo>
                    <a:pt x="138" y="428"/>
                  </a:lnTo>
                  <a:lnTo>
                    <a:pt x="154" y="427"/>
                  </a:lnTo>
                  <a:lnTo>
                    <a:pt x="168" y="426"/>
                  </a:lnTo>
                  <a:lnTo>
                    <a:pt x="183" y="425"/>
                  </a:lnTo>
                  <a:lnTo>
                    <a:pt x="198" y="422"/>
                  </a:lnTo>
                  <a:lnTo>
                    <a:pt x="213" y="419"/>
                  </a:lnTo>
                  <a:lnTo>
                    <a:pt x="227" y="414"/>
                  </a:lnTo>
                  <a:lnTo>
                    <a:pt x="241" y="408"/>
                  </a:lnTo>
                  <a:lnTo>
                    <a:pt x="254" y="402"/>
                  </a:lnTo>
                  <a:lnTo>
                    <a:pt x="265" y="394"/>
                  </a:lnTo>
                  <a:lnTo>
                    <a:pt x="276" y="385"/>
                  </a:lnTo>
                  <a:lnTo>
                    <a:pt x="286" y="375"/>
                  </a:lnTo>
                  <a:lnTo>
                    <a:pt x="295" y="363"/>
                  </a:lnTo>
                  <a:lnTo>
                    <a:pt x="302" y="350"/>
                  </a:lnTo>
                  <a:lnTo>
                    <a:pt x="307" y="334"/>
                  </a:lnTo>
                  <a:lnTo>
                    <a:pt x="310" y="318"/>
                  </a:lnTo>
                  <a:lnTo>
                    <a:pt x="311" y="300"/>
                  </a:lnTo>
                  <a:lnTo>
                    <a:pt x="311" y="300"/>
                  </a:lnTo>
                  <a:lnTo>
                    <a:pt x="310" y="288"/>
                  </a:lnTo>
                  <a:lnTo>
                    <a:pt x="309" y="277"/>
                  </a:lnTo>
                  <a:lnTo>
                    <a:pt x="306" y="266"/>
                  </a:lnTo>
                  <a:lnTo>
                    <a:pt x="302" y="256"/>
                  </a:lnTo>
                  <a:lnTo>
                    <a:pt x="297" y="248"/>
                  </a:lnTo>
                  <a:lnTo>
                    <a:pt x="291" y="239"/>
                  </a:lnTo>
                  <a:lnTo>
                    <a:pt x="283" y="231"/>
                  </a:lnTo>
                  <a:lnTo>
                    <a:pt x="276" y="224"/>
                  </a:lnTo>
                  <a:lnTo>
                    <a:pt x="267" y="217"/>
                  </a:lnTo>
                  <a:lnTo>
                    <a:pt x="257" y="211"/>
                  </a:lnTo>
                  <a:lnTo>
                    <a:pt x="247" y="204"/>
                  </a:lnTo>
                  <a:lnTo>
                    <a:pt x="234" y="199"/>
                  </a:lnTo>
                  <a:lnTo>
                    <a:pt x="209" y="187"/>
                  </a:lnTo>
                  <a:lnTo>
                    <a:pt x="180" y="176"/>
                  </a:lnTo>
                  <a:lnTo>
                    <a:pt x="180" y="176"/>
                  </a:lnTo>
                  <a:lnTo>
                    <a:pt x="149" y="164"/>
                  </a:lnTo>
                  <a:lnTo>
                    <a:pt x="135" y="157"/>
                  </a:lnTo>
                  <a:lnTo>
                    <a:pt x="123" y="151"/>
                  </a:lnTo>
                  <a:lnTo>
                    <a:pt x="113" y="144"/>
                  </a:lnTo>
                  <a:lnTo>
                    <a:pt x="109" y="140"/>
                  </a:lnTo>
                  <a:lnTo>
                    <a:pt x="106" y="136"/>
                  </a:lnTo>
                  <a:lnTo>
                    <a:pt x="103" y="132"/>
                  </a:lnTo>
                  <a:lnTo>
                    <a:pt x="101" y="127"/>
                  </a:lnTo>
                  <a:lnTo>
                    <a:pt x="100" y="121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0"/>
                  </a:lnTo>
                  <a:lnTo>
                    <a:pt x="102" y="104"/>
                  </a:lnTo>
                  <a:lnTo>
                    <a:pt x="106" y="97"/>
                  </a:lnTo>
                  <a:lnTo>
                    <a:pt x="112" y="90"/>
                  </a:lnTo>
                  <a:lnTo>
                    <a:pt x="116" y="86"/>
                  </a:lnTo>
                  <a:lnTo>
                    <a:pt x="120" y="83"/>
                  </a:lnTo>
                  <a:lnTo>
                    <a:pt x="126" y="81"/>
                  </a:lnTo>
                  <a:lnTo>
                    <a:pt x="132" y="78"/>
                  </a:lnTo>
                  <a:lnTo>
                    <a:pt x="139" y="76"/>
                  </a:lnTo>
                  <a:lnTo>
                    <a:pt x="147" y="75"/>
                  </a:lnTo>
                  <a:lnTo>
                    <a:pt x="156" y="74"/>
                  </a:lnTo>
                  <a:lnTo>
                    <a:pt x="166" y="74"/>
                  </a:lnTo>
                  <a:lnTo>
                    <a:pt x="166" y="74"/>
                  </a:lnTo>
                  <a:lnTo>
                    <a:pt x="185" y="75"/>
                  </a:lnTo>
                  <a:lnTo>
                    <a:pt x="205" y="77"/>
                  </a:lnTo>
                  <a:lnTo>
                    <a:pt x="222" y="81"/>
                  </a:lnTo>
                  <a:lnTo>
                    <a:pt x="238" y="85"/>
                  </a:lnTo>
                  <a:lnTo>
                    <a:pt x="262" y="94"/>
                  </a:lnTo>
                  <a:lnTo>
                    <a:pt x="271" y="98"/>
                  </a:lnTo>
                  <a:lnTo>
                    <a:pt x="295" y="30"/>
                  </a:lnTo>
                  <a:lnTo>
                    <a:pt x="295" y="30"/>
                  </a:lnTo>
                  <a:lnTo>
                    <a:pt x="276" y="22"/>
                  </a:lnTo>
                  <a:lnTo>
                    <a:pt x="263" y="16"/>
                  </a:lnTo>
                  <a:lnTo>
                    <a:pt x="247" y="12"/>
                  </a:lnTo>
                  <a:lnTo>
                    <a:pt x="228" y="7"/>
                  </a:lnTo>
                  <a:lnTo>
                    <a:pt x="207" y="4"/>
                  </a:lnTo>
                  <a:lnTo>
                    <a:pt x="183" y="1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143" y="1"/>
                  </a:lnTo>
                  <a:lnTo>
                    <a:pt x="129" y="2"/>
                  </a:lnTo>
                  <a:lnTo>
                    <a:pt x="115" y="4"/>
                  </a:lnTo>
                  <a:lnTo>
                    <a:pt x="102" y="8"/>
                  </a:lnTo>
                  <a:lnTo>
                    <a:pt x="88" y="12"/>
                  </a:lnTo>
                  <a:lnTo>
                    <a:pt x="76" y="17"/>
                  </a:lnTo>
                  <a:lnTo>
                    <a:pt x="64" y="24"/>
                  </a:lnTo>
                  <a:lnTo>
                    <a:pt x="53" y="31"/>
                  </a:lnTo>
                  <a:lnTo>
                    <a:pt x="42" y="39"/>
                  </a:lnTo>
                  <a:lnTo>
                    <a:pt x="33" y="47"/>
                  </a:lnTo>
                  <a:lnTo>
                    <a:pt x="25" y="58"/>
                  </a:lnTo>
                  <a:lnTo>
                    <a:pt x="19" y="69"/>
                  </a:lnTo>
                  <a:lnTo>
                    <a:pt x="13" y="80"/>
                  </a:lnTo>
                  <a:lnTo>
                    <a:pt x="9" y="94"/>
                  </a:lnTo>
                  <a:lnTo>
                    <a:pt x="7" y="107"/>
                  </a:lnTo>
                  <a:lnTo>
                    <a:pt x="6" y="122"/>
                  </a:lnTo>
                  <a:lnTo>
                    <a:pt x="6" y="122"/>
                  </a:lnTo>
                  <a:lnTo>
                    <a:pt x="7" y="137"/>
                  </a:lnTo>
                  <a:lnTo>
                    <a:pt x="9" y="150"/>
                  </a:lnTo>
                  <a:lnTo>
                    <a:pt x="13" y="164"/>
                  </a:lnTo>
                  <a:lnTo>
                    <a:pt x="19" y="175"/>
                  </a:lnTo>
                  <a:lnTo>
                    <a:pt x="25" y="185"/>
                  </a:lnTo>
                  <a:lnTo>
                    <a:pt x="33" y="194"/>
                  </a:lnTo>
                  <a:lnTo>
                    <a:pt x="42" y="203"/>
                  </a:lnTo>
                  <a:lnTo>
                    <a:pt x="51" y="210"/>
                  </a:lnTo>
                  <a:lnTo>
                    <a:pt x="62" y="217"/>
                  </a:lnTo>
                  <a:lnTo>
                    <a:pt x="73" y="223"/>
                  </a:lnTo>
                  <a:lnTo>
                    <a:pt x="84" y="229"/>
                  </a:lnTo>
                  <a:lnTo>
                    <a:pt x="95" y="235"/>
                  </a:lnTo>
                  <a:lnTo>
                    <a:pt x="119" y="243"/>
                  </a:lnTo>
                  <a:lnTo>
                    <a:pt x="142" y="251"/>
                  </a:lnTo>
                  <a:lnTo>
                    <a:pt x="142" y="251"/>
                  </a:lnTo>
                  <a:lnTo>
                    <a:pt x="171" y="261"/>
                  </a:lnTo>
                  <a:lnTo>
                    <a:pt x="184" y="266"/>
                  </a:lnTo>
                  <a:lnTo>
                    <a:pt x="196" y="273"/>
                  </a:lnTo>
                  <a:lnTo>
                    <a:pt x="205" y="280"/>
                  </a:lnTo>
                  <a:lnTo>
                    <a:pt x="211" y="287"/>
                  </a:lnTo>
                  <a:lnTo>
                    <a:pt x="214" y="291"/>
                  </a:lnTo>
                  <a:lnTo>
                    <a:pt x="216" y="296"/>
                  </a:lnTo>
                  <a:lnTo>
                    <a:pt x="217" y="300"/>
                  </a:lnTo>
                  <a:lnTo>
                    <a:pt x="217" y="306"/>
                  </a:lnTo>
                  <a:lnTo>
                    <a:pt x="217" y="306"/>
                  </a:lnTo>
                  <a:lnTo>
                    <a:pt x="217" y="315"/>
                  </a:lnTo>
                  <a:lnTo>
                    <a:pt x="214" y="324"/>
                  </a:lnTo>
                  <a:lnTo>
                    <a:pt x="212" y="328"/>
                  </a:lnTo>
                  <a:lnTo>
                    <a:pt x="209" y="332"/>
                  </a:lnTo>
                  <a:lnTo>
                    <a:pt x="206" y="335"/>
                  </a:lnTo>
                  <a:lnTo>
                    <a:pt x="202" y="340"/>
                  </a:lnTo>
                  <a:lnTo>
                    <a:pt x="197" y="343"/>
                  </a:lnTo>
                  <a:lnTo>
                    <a:pt x="190" y="346"/>
                  </a:lnTo>
                  <a:lnTo>
                    <a:pt x="184" y="348"/>
                  </a:lnTo>
                  <a:lnTo>
                    <a:pt x="176" y="350"/>
                  </a:lnTo>
                  <a:lnTo>
                    <a:pt x="167" y="352"/>
                  </a:lnTo>
                  <a:lnTo>
                    <a:pt x="158" y="353"/>
                  </a:lnTo>
                  <a:lnTo>
                    <a:pt x="134" y="354"/>
                  </a:lnTo>
                  <a:lnTo>
                    <a:pt x="134" y="354"/>
                  </a:lnTo>
                  <a:lnTo>
                    <a:pt x="113" y="354"/>
                  </a:lnTo>
                  <a:lnTo>
                    <a:pt x="92" y="352"/>
                  </a:lnTo>
                  <a:lnTo>
                    <a:pt x="55" y="348"/>
                  </a:lnTo>
                  <a:lnTo>
                    <a:pt x="28" y="344"/>
                  </a:lnTo>
                  <a:lnTo>
                    <a:pt x="18" y="342"/>
                  </a:lnTo>
                  <a:lnTo>
                    <a:pt x="0" y="41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71" name="Freeform 14"/>
            <p:cNvSpPr>
              <a:spLocks/>
            </p:cNvSpPr>
            <p:nvPr userDrawn="1"/>
          </p:nvSpPr>
          <p:spPr bwMode="auto">
            <a:xfrm>
              <a:off x="5059" y="3992"/>
              <a:ext cx="48" cy="71"/>
            </a:xfrm>
            <a:custGeom>
              <a:avLst/>
              <a:gdLst>
                <a:gd name="T0" fmla="*/ 0 w 194"/>
                <a:gd name="T1" fmla="*/ 7 h 282"/>
                <a:gd name="T2" fmla="*/ 0 w 194"/>
                <a:gd name="T3" fmla="*/ 7 h 282"/>
                <a:gd name="T4" fmla="*/ 14 w 194"/>
                <a:gd name="T5" fmla="*/ 4 h 282"/>
                <a:gd name="T6" fmla="*/ 31 w 194"/>
                <a:gd name="T7" fmla="*/ 2 h 282"/>
                <a:gd name="T8" fmla="*/ 52 w 194"/>
                <a:gd name="T9" fmla="*/ 0 h 282"/>
                <a:gd name="T10" fmla="*/ 73 w 194"/>
                <a:gd name="T11" fmla="*/ 0 h 282"/>
                <a:gd name="T12" fmla="*/ 73 w 194"/>
                <a:gd name="T13" fmla="*/ 0 h 282"/>
                <a:gd name="T14" fmla="*/ 87 w 194"/>
                <a:gd name="T15" fmla="*/ 0 h 282"/>
                <a:gd name="T16" fmla="*/ 98 w 194"/>
                <a:gd name="T17" fmla="*/ 1 h 282"/>
                <a:gd name="T18" fmla="*/ 110 w 194"/>
                <a:gd name="T19" fmla="*/ 4 h 282"/>
                <a:gd name="T20" fmla="*/ 121 w 194"/>
                <a:gd name="T21" fmla="*/ 7 h 282"/>
                <a:gd name="T22" fmla="*/ 132 w 194"/>
                <a:gd name="T23" fmla="*/ 11 h 282"/>
                <a:gd name="T24" fmla="*/ 141 w 194"/>
                <a:gd name="T25" fmla="*/ 17 h 282"/>
                <a:gd name="T26" fmla="*/ 151 w 194"/>
                <a:gd name="T27" fmla="*/ 24 h 282"/>
                <a:gd name="T28" fmla="*/ 159 w 194"/>
                <a:gd name="T29" fmla="*/ 31 h 282"/>
                <a:gd name="T30" fmla="*/ 166 w 194"/>
                <a:gd name="T31" fmla="*/ 40 h 282"/>
                <a:gd name="T32" fmla="*/ 174 w 194"/>
                <a:gd name="T33" fmla="*/ 49 h 282"/>
                <a:gd name="T34" fmla="*/ 180 w 194"/>
                <a:gd name="T35" fmla="*/ 61 h 282"/>
                <a:gd name="T36" fmla="*/ 185 w 194"/>
                <a:gd name="T37" fmla="*/ 74 h 282"/>
                <a:gd name="T38" fmla="*/ 189 w 194"/>
                <a:gd name="T39" fmla="*/ 88 h 282"/>
                <a:gd name="T40" fmla="*/ 192 w 194"/>
                <a:gd name="T41" fmla="*/ 103 h 282"/>
                <a:gd name="T42" fmla="*/ 193 w 194"/>
                <a:gd name="T43" fmla="*/ 119 h 282"/>
                <a:gd name="T44" fmla="*/ 194 w 194"/>
                <a:gd name="T45" fmla="*/ 138 h 282"/>
                <a:gd name="T46" fmla="*/ 194 w 194"/>
                <a:gd name="T47" fmla="*/ 138 h 282"/>
                <a:gd name="T48" fmla="*/ 194 w 194"/>
                <a:gd name="T49" fmla="*/ 155 h 282"/>
                <a:gd name="T50" fmla="*/ 193 w 194"/>
                <a:gd name="T51" fmla="*/ 172 h 282"/>
                <a:gd name="T52" fmla="*/ 191 w 194"/>
                <a:gd name="T53" fmla="*/ 187 h 282"/>
                <a:gd name="T54" fmla="*/ 188 w 194"/>
                <a:gd name="T55" fmla="*/ 202 h 282"/>
                <a:gd name="T56" fmla="*/ 185 w 194"/>
                <a:gd name="T57" fmla="*/ 215 h 282"/>
                <a:gd name="T58" fmla="*/ 181 w 194"/>
                <a:gd name="T59" fmla="*/ 226 h 282"/>
                <a:gd name="T60" fmla="*/ 175 w 194"/>
                <a:gd name="T61" fmla="*/ 238 h 282"/>
                <a:gd name="T62" fmla="*/ 168 w 194"/>
                <a:gd name="T63" fmla="*/ 247 h 282"/>
                <a:gd name="T64" fmla="*/ 160 w 194"/>
                <a:gd name="T65" fmla="*/ 255 h 282"/>
                <a:gd name="T66" fmla="*/ 151 w 194"/>
                <a:gd name="T67" fmla="*/ 262 h 282"/>
                <a:gd name="T68" fmla="*/ 141 w 194"/>
                <a:gd name="T69" fmla="*/ 269 h 282"/>
                <a:gd name="T70" fmla="*/ 129 w 194"/>
                <a:gd name="T71" fmla="*/ 274 h 282"/>
                <a:gd name="T72" fmla="*/ 115 w 194"/>
                <a:gd name="T73" fmla="*/ 277 h 282"/>
                <a:gd name="T74" fmla="*/ 100 w 194"/>
                <a:gd name="T75" fmla="*/ 280 h 282"/>
                <a:gd name="T76" fmla="*/ 84 w 194"/>
                <a:gd name="T77" fmla="*/ 282 h 282"/>
                <a:gd name="T78" fmla="*/ 65 w 194"/>
                <a:gd name="T79" fmla="*/ 282 h 282"/>
                <a:gd name="T80" fmla="*/ 65 w 194"/>
                <a:gd name="T81" fmla="*/ 282 h 282"/>
                <a:gd name="T82" fmla="*/ 42 w 194"/>
                <a:gd name="T83" fmla="*/ 281 h 282"/>
                <a:gd name="T84" fmla="*/ 20 w 194"/>
                <a:gd name="T85" fmla="*/ 280 h 282"/>
                <a:gd name="T86" fmla="*/ 0 w 194"/>
                <a:gd name="T87" fmla="*/ 278 h 282"/>
                <a:gd name="T88" fmla="*/ 0 w 194"/>
                <a:gd name="T89" fmla="*/ 7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4" h="282">
                  <a:moveTo>
                    <a:pt x="0" y="7"/>
                  </a:moveTo>
                  <a:lnTo>
                    <a:pt x="0" y="7"/>
                  </a:lnTo>
                  <a:lnTo>
                    <a:pt x="14" y="4"/>
                  </a:lnTo>
                  <a:lnTo>
                    <a:pt x="31" y="2"/>
                  </a:lnTo>
                  <a:lnTo>
                    <a:pt x="52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87" y="0"/>
                  </a:lnTo>
                  <a:lnTo>
                    <a:pt x="98" y="1"/>
                  </a:lnTo>
                  <a:lnTo>
                    <a:pt x="110" y="4"/>
                  </a:lnTo>
                  <a:lnTo>
                    <a:pt x="121" y="7"/>
                  </a:lnTo>
                  <a:lnTo>
                    <a:pt x="132" y="11"/>
                  </a:lnTo>
                  <a:lnTo>
                    <a:pt x="141" y="17"/>
                  </a:lnTo>
                  <a:lnTo>
                    <a:pt x="151" y="24"/>
                  </a:lnTo>
                  <a:lnTo>
                    <a:pt x="159" y="31"/>
                  </a:lnTo>
                  <a:lnTo>
                    <a:pt x="166" y="40"/>
                  </a:lnTo>
                  <a:lnTo>
                    <a:pt x="174" y="49"/>
                  </a:lnTo>
                  <a:lnTo>
                    <a:pt x="180" y="61"/>
                  </a:lnTo>
                  <a:lnTo>
                    <a:pt x="185" y="74"/>
                  </a:lnTo>
                  <a:lnTo>
                    <a:pt x="189" y="88"/>
                  </a:lnTo>
                  <a:lnTo>
                    <a:pt x="192" y="103"/>
                  </a:lnTo>
                  <a:lnTo>
                    <a:pt x="193" y="119"/>
                  </a:lnTo>
                  <a:lnTo>
                    <a:pt x="194" y="138"/>
                  </a:lnTo>
                  <a:lnTo>
                    <a:pt x="194" y="138"/>
                  </a:lnTo>
                  <a:lnTo>
                    <a:pt x="194" y="155"/>
                  </a:lnTo>
                  <a:lnTo>
                    <a:pt x="193" y="172"/>
                  </a:lnTo>
                  <a:lnTo>
                    <a:pt x="191" y="187"/>
                  </a:lnTo>
                  <a:lnTo>
                    <a:pt x="188" y="202"/>
                  </a:lnTo>
                  <a:lnTo>
                    <a:pt x="185" y="215"/>
                  </a:lnTo>
                  <a:lnTo>
                    <a:pt x="181" y="226"/>
                  </a:lnTo>
                  <a:lnTo>
                    <a:pt x="175" y="238"/>
                  </a:lnTo>
                  <a:lnTo>
                    <a:pt x="168" y="247"/>
                  </a:lnTo>
                  <a:lnTo>
                    <a:pt x="160" y="255"/>
                  </a:lnTo>
                  <a:lnTo>
                    <a:pt x="151" y="262"/>
                  </a:lnTo>
                  <a:lnTo>
                    <a:pt x="141" y="269"/>
                  </a:lnTo>
                  <a:lnTo>
                    <a:pt x="129" y="274"/>
                  </a:lnTo>
                  <a:lnTo>
                    <a:pt x="115" y="277"/>
                  </a:lnTo>
                  <a:lnTo>
                    <a:pt x="100" y="280"/>
                  </a:lnTo>
                  <a:lnTo>
                    <a:pt x="84" y="282"/>
                  </a:lnTo>
                  <a:lnTo>
                    <a:pt x="65" y="282"/>
                  </a:lnTo>
                  <a:lnTo>
                    <a:pt x="65" y="282"/>
                  </a:lnTo>
                  <a:lnTo>
                    <a:pt x="42" y="281"/>
                  </a:lnTo>
                  <a:lnTo>
                    <a:pt x="20" y="280"/>
                  </a:lnTo>
                  <a:lnTo>
                    <a:pt x="0" y="278"/>
                  </a:lnTo>
                  <a:lnTo>
                    <a:pt x="0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72" name="Freeform 15"/>
            <p:cNvSpPr>
              <a:spLocks/>
            </p:cNvSpPr>
            <p:nvPr userDrawn="1"/>
          </p:nvSpPr>
          <p:spPr bwMode="auto">
            <a:xfrm>
              <a:off x="5035" y="3974"/>
              <a:ext cx="97" cy="107"/>
            </a:xfrm>
            <a:custGeom>
              <a:avLst/>
              <a:gdLst>
                <a:gd name="T0" fmla="*/ 171 w 385"/>
                <a:gd name="T1" fmla="*/ 0 h 428"/>
                <a:gd name="T2" fmla="*/ 171 w 385"/>
                <a:gd name="T3" fmla="*/ 0 h 428"/>
                <a:gd name="T4" fmla="*/ 150 w 385"/>
                <a:gd name="T5" fmla="*/ 1 h 428"/>
                <a:gd name="T6" fmla="*/ 129 w 385"/>
                <a:gd name="T7" fmla="*/ 2 h 428"/>
                <a:gd name="T8" fmla="*/ 106 w 385"/>
                <a:gd name="T9" fmla="*/ 4 h 428"/>
                <a:gd name="T10" fmla="*/ 83 w 385"/>
                <a:gd name="T11" fmla="*/ 7 h 428"/>
                <a:gd name="T12" fmla="*/ 60 w 385"/>
                <a:gd name="T13" fmla="*/ 10 h 428"/>
                <a:gd name="T14" fmla="*/ 39 w 385"/>
                <a:gd name="T15" fmla="*/ 14 h 428"/>
                <a:gd name="T16" fmla="*/ 18 w 385"/>
                <a:gd name="T17" fmla="*/ 20 h 428"/>
                <a:gd name="T18" fmla="*/ 0 w 385"/>
                <a:gd name="T19" fmla="*/ 26 h 428"/>
                <a:gd name="T20" fmla="*/ 0 w 385"/>
                <a:gd name="T21" fmla="*/ 415 h 428"/>
                <a:gd name="T22" fmla="*/ 0 w 385"/>
                <a:gd name="T23" fmla="*/ 415 h 428"/>
                <a:gd name="T24" fmla="*/ 15 w 385"/>
                <a:gd name="T25" fmla="*/ 418 h 428"/>
                <a:gd name="T26" fmla="*/ 34 w 385"/>
                <a:gd name="T27" fmla="*/ 420 h 428"/>
                <a:gd name="T28" fmla="*/ 73 w 385"/>
                <a:gd name="T29" fmla="*/ 424 h 428"/>
                <a:gd name="T30" fmla="*/ 116 w 385"/>
                <a:gd name="T31" fmla="*/ 427 h 428"/>
                <a:gd name="T32" fmla="*/ 155 w 385"/>
                <a:gd name="T33" fmla="*/ 428 h 428"/>
                <a:gd name="T34" fmla="*/ 155 w 385"/>
                <a:gd name="T35" fmla="*/ 428 h 428"/>
                <a:gd name="T36" fmla="*/ 186 w 385"/>
                <a:gd name="T37" fmla="*/ 427 h 428"/>
                <a:gd name="T38" fmla="*/ 212 w 385"/>
                <a:gd name="T39" fmla="*/ 425 h 428"/>
                <a:gd name="T40" fmla="*/ 238 w 385"/>
                <a:gd name="T41" fmla="*/ 421 h 428"/>
                <a:gd name="T42" fmla="*/ 261 w 385"/>
                <a:gd name="T43" fmla="*/ 415 h 428"/>
                <a:gd name="T44" fmla="*/ 282 w 385"/>
                <a:gd name="T45" fmla="*/ 408 h 428"/>
                <a:gd name="T46" fmla="*/ 301 w 385"/>
                <a:gd name="T47" fmla="*/ 399 h 428"/>
                <a:gd name="T48" fmla="*/ 309 w 385"/>
                <a:gd name="T49" fmla="*/ 394 h 428"/>
                <a:gd name="T50" fmla="*/ 318 w 385"/>
                <a:gd name="T51" fmla="*/ 389 h 428"/>
                <a:gd name="T52" fmla="*/ 326 w 385"/>
                <a:gd name="T53" fmla="*/ 383 h 428"/>
                <a:gd name="T54" fmla="*/ 333 w 385"/>
                <a:gd name="T55" fmla="*/ 377 h 428"/>
                <a:gd name="T56" fmla="*/ 339 w 385"/>
                <a:gd name="T57" fmla="*/ 369 h 428"/>
                <a:gd name="T58" fmla="*/ 345 w 385"/>
                <a:gd name="T59" fmla="*/ 362 h 428"/>
                <a:gd name="T60" fmla="*/ 351 w 385"/>
                <a:gd name="T61" fmla="*/ 355 h 428"/>
                <a:gd name="T62" fmla="*/ 356 w 385"/>
                <a:gd name="T63" fmla="*/ 347 h 428"/>
                <a:gd name="T64" fmla="*/ 361 w 385"/>
                <a:gd name="T65" fmla="*/ 337 h 428"/>
                <a:gd name="T66" fmla="*/ 366 w 385"/>
                <a:gd name="T67" fmla="*/ 329 h 428"/>
                <a:gd name="T68" fmla="*/ 373 w 385"/>
                <a:gd name="T69" fmla="*/ 309 h 428"/>
                <a:gd name="T70" fmla="*/ 378 w 385"/>
                <a:gd name="T71" fmla="*/ 287 h 428"/>
                <a:gd name="T72" fmla="*/ 382 w 385"/>
                <a:gd name="T73" fmla="*/ 264 h 428"/>
                <a:gd name="T74" fmla="*/ 384 w 385"/>
                <a:gd name="T75" fmla="*/ 239 h 428"/>
                <a:gd name="T76" fmla="*/ 385 w 385"/>
                <a:gd name="T77" fmla="*/ 211 h 428"/>
                <a:gd name="T78" fmla="*/ 385 w 385"/>
                <a:gd name="T79" fmla="*/ 211 h 428"/>
                <a:gd name="T80" fmla="*/ 384 w 385"/>
                <a:gd name="T81" fmla="*/ 187 h 428"/>
                <a:gd name="T82" fmla="*/ 381 w 385"/>
                <a:gd name="T83" fmla="*/ 164 h 428"/>
                <a:gd name="T84" fmla="*/ 377 w 385"/>
                <a:gd name="T85" fmla="*/ 143 h 428"/>
                <a:gd name="T86" fmla="*/ 371 w 385"/>
                <a:gd name="T87" fmla="*/ 122 h 428"/>
                <a:gd name="T88" fmla="*/ 363 w 385"/>
                <a:gd name="T89" fmla="*/ 104 h 428"/>
                <a:gd name="T90" fmla="*/ 352 w 385"/>
                <a:gd name="T91" fmla="*/ 86 h 428"/>
                <a:gd name="T92" fmla="*/ 341 w 385"/>
                <a:gd name="T93" fmla="*/ 71 h 428"/>
                <a:gd name="T94" fmla="*/ 328 w 385"/>
                <a:gd name="T95" fmla="*/ 57 h 428"/>
                <a:gd name="T96" fmla="*/ 314 w 385"/>
                <a:gd name="T97" fmla="*/ 43 h 428"/>
                <a:gd name="T98" fmla="*/ 297 w 385"/>
                <a:gd name="T99" fmla="*/ 32 h 428"/>
                <a:gd name="T100" fmla="*/ 280 w 385"/>
                <a:gd name="T101" fmla="*/ 23 h 428"/>
                <a:gd name="T102" fmla="*/ 260 w 385"/>
                <a:gd name="T103" fmla="*/ 14 h 428"/>
                <a:gd name="T104" fmla="*/ 240 w 385"/>
                <a:gd name="T105" fmla="*/ 8 h 428"/>
                <a:gd name="T106" fmla="*/ 218 w 385"/>
                <a:gd name="T107" fmla="*/ 4 h 428"/>
                <a:gd name="T108" fmla="*/ 195 w 385"/>
                <a:gd name="T109" fmla="*/ 1 h 428"/>
                <a:gd name="T110" fmla="*/ 171 w 385"/>
                <a:gd name="T111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5" h="428">
                  <a:moveTo>
                    <a:pt x="171" y="0"/>
                  </a:moveTo>
                  <a:lnTo>
                    <a:pt x="171" y="0"/>
                  </a:lnTo>
                  <a:lnTo>
                    <a:pt x="150" y="1"/>
                  </a:lnTo>
                  <a:lnTo>
                    <a:pt x="129" y="2"/>
                  </a:lnTo>
                  <a:lnTo>
                    <a:pt x="106" y="4"/>
                  </a:lnTo>
                  <a:lnTo>
                    <a:pt x="83" y="7"/>
                  </a:lnTo>
                  <a:lnTo>
                    <a:pt x="60" y="10"/>
                  </a:lnTo>
                  <a:lnTo>
                    <a:pt x="39" y="14"/>
                  </a:lnTo>
                  <a:lnTo>
                    <a:pt x="18" y="20"/>
                  </a:lnTo>
                  <a:lnTo>
                    <a:pt x="0" y="26"/>
                  </a:lnTo>
                  <a:lnTo>
                    <a:pt x="0" y="415"/>
                  </a:lnTo>
                  <a:lnTo>
                    <a:pt x="0" y="415"/>
                  </a:lnTo>
                  <a:lnTo>
                    <a:pt x="15" y="418"/>
                  </a:lnTo>
                  <a:lnTo>
                    <a:pt x="34" y="420"/>
                  </a:lnTo>
                  <a:lnTo>
                    <a:pt x="73" y="424"/>
                  </a:lnTo>
                  <a:lnTo>
                    <a:pt x="116" y="427"/>
                  </a:lnTo>
                  <a:lnTo>
                    <a:pt x="155" y="428"/>
                  </a:lnTo>
                  <a:lnTo>
                    <a:pt x="155" y="428"/>
                  </a:lnTo>
                  <a:lnTo>
                    <a:pt x="186" y="427"/>
                  </a:lnTo>
                  <a:lnTo>
                    <a:pt x="212" y="425"/>
                  </a:lnTo>
                  <a:lnTo>
                    <a:pt x="238" y="421"/>
                  </a:lnTo>
                  <a:lnTo>
                    <a:pt x="261" y="415"/>
                  </a:lnTo>
                  <a:lnTo>
                    <a:pt x="282" y="408"/>
                  </a:lnTo>
                  <a:lnTo>
                    <a:pt x="301" y="399"/>
                  </a:lnTo>
                  <a:lnTo>
                    <a:pt x="309" y="394"/>
                  </a:lnTo>
                  <a:lnTo>
                    <a:pt x="318" y="389"/>
                  </a:lnTo>
                  <a:lnTo>
                    <a:pt x="326" y="383"/>
                  </a:lnTo>
                  <a:lnTo>
                    <a:pt x="333" y="377"/>
                  </a:lnTo>
                  <a:lnTo>
                    <a:pt x="339" y="369"/>
                  </a:lnTo>
                  <a:lnTo>
                    <a:pt x="345" y="362"/>
                  </a:lnTo>
                  <a:lnTo>
                    <a:pt x="351" y="355"/>
                  </a:lnTo>
                  <a:lnTo>
                    <a:pt x="356" y="347"/>
                  </a:lnTo>
                  <a:lnTo>
                    <a:pt x="361" y="337"/>
                  </a:lnTo>
                  <a:lnTo>
                    <a:pt x="366" y="329"/>
                  </a:lnTo>
                  <a:lnTo>
                    <a:pt x="373" y="309"/>
                  </a:lnTo>
                  <a:lnTo>
                    <a:pt x="378" y="287"/>
                  </a:lnTo>
                  <a:lnTo>
                    <a:pt x="382" y="264"/>
                  </a:lnTo>
                  <a:lnTo>
                    <a:pt x="384" y="239"/>
                  </a:lnTo>
                  <a:lnTo>
                    <a:pt x="385" y="211"/>
                  </a:lnTo>
                  <a:lnTo>
                    <a:pt x="385" y="211"/>
                  </a:lnTo>
                  <a:lnTo>
                    <a:pt x="384" y="187"/>
                  </a:lnTo>
                  <a:lnTo>
                    <a:pt x="381" y="164"/>
                  </a:lnTo>
                  <a:lnTo>
                    <a:pt x="377" y="143"/>
                  </a:lnTo>
                  <a:lnTo>
                    <a:pt x="371" y="122"/>
                  </a:lnTo>
                  <a:lnTo>
                    <a:pt x="363" y="104"/>
                  </a:lnTo>
                  <a:lnTo>
                    <a:pt x="352" y="86"/>
                  </a:lnTo>
                  <a:lnTo>
                    <a:pt x="341" y="71"/>
                  </a:lnTo>
                  <a:lnTo>
                    <a:pt x="328" y="57"/>
                  </a:lnTo>
                  <a:lnTo>
                    <a:pt x="314" y="43"/>
                  </a:lnTo>
                  <a:lnTo>
                    <a:pt x="297" y="32"/>
                  </a:lnTo>
                  <a:lnTo>
                    <a:pt x="280" y="23"/>
                  </a:lnTo>
                  <a:lnTo>
                    <a:pt x="260" y="14"/>
                  </a:lnTo>
                  <a:lnTo>
                    <a:pt x="240" y="8"/>
                  </a:lnTo>
                  <a:lnTo>
                    <a:pt x="218" y="4"/>
                  </a:lnTo>
                  <a:lnTo>
                    <a:pt x="195" y="1"/>
                  </a:lnTo>
                  <a:lnTo>
                    <a:pt x="17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</p:grpSp>
      <p:grpSp>
        <p:nvGrpSpPr>
          <p:cNvPr id="31" name="Group 30"/>
          <p:cNvGrpSpPr/>
          <p:nvPr userDrawn="1"/>
        </p:nvGrpSpPr>
        <p:grpSpPr>
          <a:xfrm>
            <a:off x="8388192" y="36245"/>
            <a:ext cx="643411" cy="651751"/>
            <a:chOff x="8388192" y="36245"/>
            <a:chExt cx="643411" cy="651751"/>
          </a:xfrm>
        </p:grpSpPr>
        <p:grpSp>
          <p:nvGrpSpPr>
            <p:cNvPr id="32" name="Group 31"/>
            <p:cNvGrpSpPr/>
            <p:nvPr userDrawn="1"/>
          </p:nvGrpSpPr>
          <p:grpSpPr>
            <a:xfrm>
              <a:off x="8549203" y="51708"/>
              <a:ext cx="482400" cy="482400"/>
              <a:chOff x="8549203" y="51708"/>
              <a:chExt cx="482400" cy="482400"/>
            </a:xfrm>
          </p:grpSpPr>
          <p:sp>
            <p:nvSpPr>
              <p:cNvPr id="35" name="Freeform 34"/>
              <p:cNvSpPr>
                <a:spLocks noEditPoints="1"/>
              </p:cNvSpPr>
              <p:nvPr userDrawn="1"/>
            </p:nvSpPr>
            <p:spPr bwMode="auto">
              <a:xfrm>
                <a:off x="8549203" y="51708"/>
                <a:ext cx="482400" cy="482400"/>
              </a:xfrm>
              <a:custGeom>
                <a:avLst/>
                <a:gdLst>
                  <a:gd name="T0" fmla="*/ 254 w 346"/>
                  <a:gd name="T1" fmla="*/ 8 h 346"/>
                  <a:gd name="T2" fmla="*/ 248 w 346"/>
                  <a:gd name="T3" fmla="*/ 4 h 346"/>
                  <a:gd name="T4" fmla="*/ 232 w 346"/>
                  <a:gd name="T5" fmla="*/ 0 h 346"/>
                  <a:gd name="T6" fmla="*/ 114 w 346"/>
                  <a:gd name="T7" fmla="*/ 0 h 346"/>
                  <a:gd name="T8" fmla="*/ 100 w 346"/>
                  <a:gd name="T9" fmla="*/ 4 h 346"/>
                  <a:gd name="T10" fmla="*/ 8 w 346"/>
                  <a:gd name="T11" fmla="*/ 92 h 346"/>
                  <a:gd name="T12" fmla="*/ 4 w 346"/>
                  <a:gd name="T13" fmla="*/ 98 h 346"/>
                  <a:gd name="T14" fmla="*/ 0 w 346"/>
                  <a:gd name="T15" fmla="*/ 114 h 346"/>
                  <a:gd name="T16" fmla="*/ 0 w 346"/>
                  <a:gd name="T17" fmla="*/ 232 h 346"/>
                  <a:gd name="T18" fmla="*/ 4 w 346"/>
                  <a:gd name="T19" fmla="*/ 246 h 346"/>
                  <a:gd name="T20" fmla="*/ 92 w 346"/>
                  <a:gd name="T21" fmla="*/ 338 h 346"/>
                  <a:gd name="T22" fmla="*/ 98 w 346"/>
                  <a:gd name="T23" fmla="*/ 342 h 346"/>
                  <a:gd name="T24" fmla="*/ 114 w 346"/>
                  <a:gd name="T25" fmla="*/ 346 h 346"/>
                  <a:gd name="T26" fmla="*/ 232 w 346"/>
                  <a:gd name="T27" fmla="*/ 346 h 346"/>
                  <a:gd name="T28" fmla="*/ 246 w 346"/>
                  <a:gd name="T29" fmla="*/ 342 h 346"/>
                  <a:gd name="T30" fmla="*/ 338 w 346"/>
                  <a:gd name="T31" fmla="*/ 254 h 346"/>
                  <a:gd name="T32" fmla="*/ 342 w 346"/>
                  <a:gd name="T33" fmla="*/ 248 h 346"/>
                  <a:gd name="T34" fmla="*/ 346 w 346"/>
                  <a:gd name="T35" fmla="*/ 232 h 346"/>
                  <a:gd name="T36" fmla="*/ 346 w 346"/>
                  <a:gd name="T37" fmla="*/ 114 h 346"/>
                  <a:gd name="T38" fmla="*/ 342 w 346"/>
                  <a:gd name="T39" fmla="*/ 100 h 346"/>
                  <a:gd name="T40" fmla="*/ 338 w 346"/>
                  <a:gd name="T41" fmla="*/ 92 h 346"/>
                  <a:gd name="T42" fmla="*/ 326 w 346"/>
                  <a:gd name="T43" fmla="*/ 224 h 346"/>
                  <a:gd name="T44" fmla="*/ 322 w 346"/>
                  <a:gd name="T45" fmla="*/ 240 h 346"/>
                  <a:gd name="T46" fmla="*/ 246 w 346"/>
                  <a:gd name="T47" fmla="*/ 318 h 346"/>
                  <a:gd name="T48" fmla="*/ 238 w 346"/>
                  <a:gd name="T49" fmla="*/ 322 h 346"/>
                  <a:gd name="T50" fmla="*/ 224 w 346"/>
                  <a:gd name="T51" fmla="*/ 326 h 346"/>
                  <a:gd name="T52" fmla="*/ 122 w 346"/>
                  <a:gd name="T53" fmla="*/ 326 h 346"/>
                  <a:gd name="T54" fmla="*/ 106 w 346"/>
                  <a:gd name="T55" fmla="*/ 322 h 346"/>
                  <a:gd name="T56" fmla="*/ 28 w 346"/>
                  <a:gd name="T57" fmla="*/ 246 h 346"/>
                  <a:gd name="T58" fmla="*/ 24 w 346"/>
                  <a:gd name="T59" fmla="*/ 238 h 346"/>
                  <a:gd name="T60" fmla="*/ 20 w 346"/>
                  <a:gd name="T61" fmla="*/ 224 h 346"/>
                  <a:gd name="T62" fmla="*/ 20 w 346"/>
                  <a:gd name="T63" fmla="*/ 122 h 346"/>
                  <a:gd name="T64" fmla="*/ 24 w 346"/>
                  <a:gd name="T65" fmla="*/ 106 h 346"/>
                  <a:gd name="T66" fmla="*/ 102 w 346"/>
                  <a:gd name="T67" fmla="*/ 28 h 346"/>
                  <a:gd name="T68" fmla="*/ 108 w 346"/>
                  <a:gd name="T69" fmla="*/ 24 h 346"/>
                  <a:gd name="T70" fmla="*/ 122 w 346"/>
                  <a:gd name="T71" fmla="*/ 20 h 346"/>
                  <a:gd name="T72" fmla="*/ 224 w 346"/>
                  <a:gd name="T73" fmla="*/ 20 h 346"/>
                  <a:gd name="T74" fmla="*/ 240 w 346"/>
                  <a:gd name="T75" fmla="*/ 24 h 346"/>
                  <a:gd name="T76" fmla="*/ 318 w 346"/>
                  <a:gd name="T77" fmla="*/ 102 h 346"/>
                  <a:gd name="T78" fmla="*/ 322 w 346"/>
                  <a:gd name="T79" fmla="*/ 108 h 346"/>
                  <a:gd name="T80" fmla="*/ 326 w 346"/>
                  <a:gd name="T81" fmla="*/ 12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46" h="346">
                    <a:moveTo>
                      <a:pt x="338" y="92"/>
                    </a:moveTo>
                    <a:lnTo>
                      <a:pt x="254" y="8"/>
                    </a:lnTo>
                    <a:lnTo>
                      <a:pt x="254" y="8"/>
                    </a:lnTo>
                    <a:lnTo>
                      <a:pt x="248" y="4"/>
                    </a:lnTo>
                    <a:lnTo>
                      <a:pt x="240" y="0"/>
                    </a:lnTo>
                    <a:lnTo>
                      <a:pt x="232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06" y="0"/>
                    </a:lnTo>
                    <a:lnTo>
                      <a:pt x="100" y="4"/>
                    </a:lnTo>
                    <a:lnTo>
                      <a:pt x="92" y="8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4" y="98"/>
                    </a:lnTo>
                    <a:lnTo>
                      <a:pt x="0" y="106"/>
                    </a:lnTo>
                    <a:lnTo>
                      <a:pt x="0" y="114"/>
                    </a:lnTo>
                    <a:lnTo>
                      <a:pt x="0" y="232"/>
                    </a:lnTo>
                    <a:lnTo>
                      <a:pt x="0" y="232"/>
                    </a:lnTo>
                    <a:lnTo>
                      <a:pt x="0" y="240"/>
                    </a:lnTo>
                    <a:lnTo>
                      <a:pt x="4" y="246"/>
                    </a:lnTo>
                    <a:lnTo>
                      <a:pt x="8" y="254"/>
                    </a:lnTo>
                    <a:lnTo>
                      <a:pt x="92" y="338"/>
                    </a:lnTo>
                    <a:lnTo>
                      <a:pt x="92" y="338"/>
                    </a:lnTo>
                    <a:lnTo>
                      <a:pt x="98" y="342"/>
                    </a:lnTo>
                    <a:lnTo>
                      <a:pt x="106" y="346"/>
                    </a:lnTo>
                    <a:lnTo>
                      <a:pt x="114" y="346"/>
                    </a:lnTo>
                    <a:lnTo>
                      <a:pt x="232" y="346"/>
                    </a:lnTo>
                    <a:lnTo>
                      <a:pt x="232" y="346"/>
                    </a:lnTo>
                    <a:lnTo>
                      <a:pt x="240" y="346"/>
                    </a:lnTo>
                    <a:lnTo>
                      <a:pt x="246" y="342"/>
                    </a:lnTo>
                    <a:lnTo>
                      <a:pt x="254" y="338"/>
                    </a:lnTo>
                    <a:lnTo>
                      <a:pt x="338" y="254"/>
                    </a:lnTo>
                    <a:lnTo>
                      <a:pt x="338" y="254"/>
                    </a:lnTo>
                    <a:lnTo>
                      <a:pt x="342" y="248"/>
                    </a:lnTo>
                    <a:lnTo>
                      <a:pt x="346" y="240"/>
                    </a:lnTo>
                    <a:lnTo>
                      <a:pt x="346" y="232"/>
                    </a:lnTo>
                    <a:lnTo>
                      <a:pt x="346" y="114"/>
                    </a:lnTo>
                    <a:lnTo>
                      <a:pt x="346" y="114"/>
                    </a:lnTo>
                    <a:lnTo>
                      <a:pt x="346" y="106"/>
                    </a:lnTo>
                    <a:lnTo>
                      <a:pt x="342" y="100"/>
                    </a:lnTo>
                    <a:lnTo>
                      <a:pt x="338" y="92"/>
                    </a:lnTo>
                    <a:lnTo>
                      <a:pt x="338" y="92"/>
                    </a:lnTo>
                    <a:close/>
                    <a:moveTo>
                      <a:pt x="326" y="224"/>
                    </a:moveTo>
                    <a:lnTo>
                      <a:pt x="326" y="224"/>
                    </a:lnTo>
                    <a:lnTo>
                      <a:pt x="326" y="232"/>
                    </a:lnTo>
                    <a:lnTo>
                      <a:pt x="322" y="240"/>
                    </a:lnTo>
                    <a:lnTo>
                      <a:pt x="318" y="246"/>
                    </a:lnTo>
                    <a:lnTo>
                      <a:pt x="246" y="318"/>
                    </a:lnTo>
                    <a:lnTo>
                      <a:pt x="246" y="318"/>
                    </a:lnTo>
                    <a:lnTo>
                      <a:pt x="238" y="322"/>
                    </a:lnTo>
                    <a:lnTo>
                      <a:pt x="232" y="326"/>
                    </a:lnTo>
                    <a:lnTo>
                      <a:pt x="224" y="326"/>
                    </a:lnTo>
                    <a:lnTo>
                      <a:pt x="122" y="326"/>
                    </a:lnTo>
                    <a:lnTo>
                      <a:pt x="122" y="326"/>
                    </a:lnTo>
                    <a:lnTo>
                      <a:pt x="114" y="326"/>
                    </a:lnTo>
                    <a:lnTo>
                      <a:pt x="106" y="322"/>
                    </a:lnTo>
                    <a:lnTo>
                      <a:pt x="102" y="318"/>
                    </a:lnTo>
                    <a:lnTo>
                      <a:pt x="28" y="246"/>
                    </a:lnTo>
                    <a:lnTo>
                      <a:pt x="28" y="246"/>
                    </a:lnTo>
                    <a:lnTo>
                      <a:pt x="24" y="238"/>
                    </a:lnTo>
                    <a:lnTo>
                      <a:pt x="20" y="232"/>
                    </a:lnTo>
                    <a:lnTo>
                      <a:pt x="20" y="224"/>
                    </a:lnTo>
                    <a:lnTo>
                      <a:pt x="20" y="122"/>
                    </a:lnTo>
                    <a:lnTo>
                      <a:pt x="20" y="122"/>
                    </a:lnTo>
                    <a:lnTo>
                      <a:pt x="22" y="114"/>
                    </a:lnTo>
                    <a:lnTo>
                      <a:pt x="24" y="106"/>
                    </a:lnTo>
                    <a:lnTo>
                      <a:pt x="28" y="102"/>
                    </a:lnTo>
                    <a:lnTo>
                      <a:pt x="102" y="28"/>
                    </a:lnTo>
                    <a:lnTo>
                      <a:pt x="102" y="28"/>
                    </a:lnTo>
                    <a:lnTo>
                      <a:pt x="108" y="24"/>
                    </a:lnTo>
                    <a:lnTo>
                      <a:pt x="114" y="20"/>
                    </a:lnTo>
                    <a:lnTo>
                      <a:pt x="122" y="20"/>
                    </a:lnTo>
                    <a:lnTo>
                      <a:pt x="224" y="20"/>
                    </a:lnTo>
                    <a:lnTo>
                      <a:pt x="224" y="20"/>
                    </a:lnTo>
                    <a:lnTo>
                      <a:pt x="232" y="20"/>
                    </a:lnTo>
                    <a:lnTo>
                      <a:pt x="240" y="24"/>
                    </a:lnTo>
                    <a:lnTo>
                      <a:pt x="246" y="28"/>
                    </a:lnTo>
                    <a:lnTo>
                      <a:pt x="318" y="102"/>
                    </a:lnTo>
                    <a:lnTo>
                      <a:pt x="318" y="102"/>
                    </a:lnTo>
                    <a:lnTo>
                      <a:pt x="322" y="108"/>
                    </a:lnTo>
                    <a:lnTo>
                      <a:pt x="326" y="114"/>
                    </a:lnTo>
                    <a:lnTo>
                      <a:pt x="326" y="122"/>
                    </a:lnTo>
                    <a:lnTo>
                      <a:pt x="326" y="2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4D4D4D"/>
                  </a:solidFill>
                </a:endParaRPr>
              </a:p>
            </p:txBody>
          </p:sp>
          <p:sp>
            <p:nvSpPr>
              <p:cNvPr id="36" name="Freeform 35"/>
              <p:cNvSpPr>
                <a:spLocks/>
              </p:cNvSpPr>
              <p:nvPr userDrawn="1"/>
            </p:nvSpPr>
            <p:spPr bwMode="auto">
              <a:xfrm>
                <a:off x="8699779" y="129784"/>
                <a:ext cx="192402" cy="340190"/>
              </a:xfrm>
              <a:custGeom>
                <a:avLst/>
                <a:gdLst>
                  <a:gd name="T0" fmla="*/ 138 w 138"/>
                  <a:gd name="T1" fmla="*/ 142 h 244"/>
                  <a:gd name="T2" fmla="*/ 138 w 138"/>
                  <a:gd name="T3" fmla="*/ 94 h 244"/>
                  <a:gd name="T4" fmla="*/ 134 w 138"/>
                  <a:gd name="T5" fmla="*/ 84 h 244"/>
                  <a:gd name="T6" fmla="*/ 124 w 138"/>
                  <a:gd name="T7" fmla="*/ 82 h 244"/>
                  <a:gd name="T8" fmla="*/ 122 w 138"/>
                  <a:gd name="T9" fmla="*/ 82 h 244"/>
                  <a:gd name="T10" fmla="*/ 114 w 138"/>
                  <a:gd name="T11" fmla="*/ 88 h 244"/>
                  <a:gd name="T12" fmla="*/ 114 w 138"/>
                  <a:gd name="T13" fmla="*/ 142 h 244"/>
                  <a:gd name="T14" fmla="*/ 112 w 138"/>
                  <a:gd name="T15" fmla="*/ 28 h 244"/>
                  <a:gd name="T16" fmla="*/ 110 w 138"/>
                  <a:gd name="T17" fmla="*/ 20 h 244"/>
                  <a:gd name="T18" fmla="*/ 102 w 138"/>
                  <a:gd name="T19" fmla="*/ 12 h 244"/>
                  <a:gd name="T20" fmla="*/ 100 w 138"/>
                  <a:gd name="T21" fmla="*/ 12 h 244"/>
                  <a:gd name="T22" fmla="*/ 98 w 138"/>
                  <a:gd name="T23" fmla="*/ 12 h 244"/>
                  <a:gd name="T24" fmla="*/ 96 w 138"/>
                  <a:gd name="T25" fmla="*/ 12 h 244"/>
                  <a:gd name="T26" fmla="*/ 88 w 138"/>
                  <a:gd name="T27" fmla="*/ 16 h 244"/>
                  <a:gd name="T28" fmla="*/ 84 w 138"/>
                  <a:gd name="T29" fmla="*/ 28 h 244"/>
                  <a:gd name="T30" fmla="*/ 82 w 138"/>
                  <a:gd name="T31" fmla="*/ 142 h 244"/>
                  <a:gd name="T32" fmla="*/ 82 w 138"/>
                  <a:gd name="T33" fmla="*/ 16 h 244"/>
                  <a:gd name="T34" fmla="*/ 76 w 138"/>
                  <a:gd name="T35" fmla="*/ 4 h 244"/>
                  <a:gd name="T36" fmla="*/ 70 w 138"/>
                  <a:gd name="T37" fmla="*/ 0 h 244"/>
                  <a:gd name="T38" fmla="*/ 66 w 138"/>
                  <a:gd name="T39" fmla="*/ 0 h 244"/>
                  <a:gd name="T40" fmla="*/ 64 w 138"/>
                  <a:gd name="T41" fmla="*/ 0 h 244"/>
                  <a:gd name="T42" fmla="*/ 62 w 138"/>
                  <a:gd name="T43" fmla="*/ 0 h 244"/>
                  <a:gd name="T44" fmla="*/ 54 w 138"/>
                  <a:gd name="T45" fmla="*/ 8 h 244"/>
                  <a:gd name="T46" fmla="*/ 52 w 138"/>
                  <a:gd name="T47" fmla="*/ 142 h 244"/>
                  <a:gd name="T48" fmla="*/ 50 w 138"/>
                  <a:gd name="T49" fmla="*/ 38 h 244"/>
                  <a:gd name="T50" fmla="*/ 48 w 138"/>
                  <a:gd name="T51" fmla="*/ 30 h 244"/>
                  <a:gd name="T52" fmla="*/ 40 w 138"/>
                  <a:gd name="T53" fmla="*/ 24 h 244"/>
                  <a:gd name="T54" fmla="*/ 38 w 138"/>
                  <a:gd name="T55" fmla="*/ 22 h 244"/>
                  <a:gd name="T56" fmla="*/ 36 w 138"/>
                  <a:gd name="T57" fmla="*/ 22 h 244"/>
                  <a:gd name="T58" fmla="*/ 34 w 138"/>
                  <a:gd name="T59" fmla="*/ 22 h 244"/>
                  <a:gd name="T60" fmla="*/ 28 w 138"/>
                  <a:gd name="T61" fmla="*/ 26 h 244"/>
                  <a:gd name="T62" fmla="*/ 24 w 138"/>
                  <a:gd name="T63" fmla="*/ 38 h 244"/>
                  <a:gd name="T64" fmla="*/ 20 w 138"/>
                  <a:gd name="T65" fmla="*/ 142 h 244"/>
                  <a:gd name="T66" fmla="*/ 20 w 138"/>
                  <a:gd name="T67" fmla="*/ 68 h 244"/>
                  <a:gd name="T68" fmla="*/ 16 w 138"/>
                  <a:gd name="T69" fmla="*/ 58 h 244"/>
                  <a:gd name="T70" fmla="*/ 10 w 138"/>
                  <a:gd name="T71" fmla="*/ 58 h 244"/>
                  <a:gd name="T72" fmla="*/ 4 w 138"/>
                  <a:gd name="T73" fmla="*/ 60 h 244"/>
                  <a:gd name="T74" fmla="*/ 0 w 138"/>
                  <a:gd name="T75" fmla="*/ 68 h 244"/>
                  <a:gd name="T76" fmla="*/ 0 w 138"/>
                  <a:gd name="T77" fmla="*/ 142 h 244"/>
                  <a:gd name="T78" fmla="*/ 0 w 138"/>
                  <a:gd name="T79" fmla="*/ 166 h 244"/>
                  <a:gd name="T80" fmla="*/ 6 w 138"/>
                  <a:gd name="T81" fmla="*/ 196 h 244"/>
                  <a:gd name="T82" fmla="*/ 20 w 138"/>
                  <a:gd name="T83" fmla="*/ 220 h 244"/>
                  <a:gd name="T84" fmla="*/ 42 w 138"/>
                  <a:gd name="T85" fmla="*/ 238 h 244"/>
                  <a:gd name="T86" fmla="*/ 70 w 138"/>
                  <a:gd name="T87" fmla="*/ 244 h 244"/>
                  <a:gd name="T88" fmla="*/ 84 w 138"/>
                  <a:gd name="T89" fmla="*/ 242 h 244"/>
                  <a:gd name="T90" fmla="*/ 108 w 138"/>
                  <a:gd name="T91" fmla="*/ 230 h 244"/>
                  <a:gd name="T92" fmla="*/ 126 w 138"/>
                  <a:gd name="T93" fmla="*/ 208 h 244"/>
                  <a:gd name="T94" fmla="*/ 136 w 138"/>
                  <a:gd name="T95" fmla="*/ 180 h 244"/>
                  <a:gd name="T96" fmla="*/ 138 w 138"/>
                  <a:gd name="T97" fmla="*/ 166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8" h="244">
                    <a:moveTo>
                      <a:pt x="138" y="142"/>
                    </a:moveTo>
                    <a:lnTo>
                      <a:pt x="138" y="142"/>
                    </a:lnTo>
                    <a:lnTo>
                      <a:pt x="138" y="94"/>
                    </a:lnTo>
                    <a:lnTo>
                      <a:pt x="138" y="94"/>
                    </a:lnTo>
                    <a:lnTo>
                      <a:pt x="136" y="88"/>
                    </a:lnTo>
                    <a:lnTo>
                      <a:pt x="134" y="84"/>
                    </a:lnTo>
                    <a:lnTo>
                      <a:pt x="128" y="82"/>
                    </a:lnTo>
                    <a:lnTo>
                      <a:pt x="124" y="82"/>
                    </a:lnTo>
                    <a:lnTo>
                      <a:pt x="124" y="82"/>
                    </a:lnTo>
                    <a:lnTo>
                      <a:pt x="122" y="82"/>
                    </a:lnTo>
                    <a:lnTo>
                      <a:pt x="118" y="84"/>
                    </a:lnTo>
                    <a:lnTo>
                      <a:pt x="114" y="88"/>
                    </a:lnTo>
                    <a:lnTo>
                      <a:pt x="114" y="94"/>
                    </a:lnTo>
                    <a:lnTo>
                      <a:pt x="114" y="142"/>
                    </a:lnTo>
                    <a:lnTo>
                      <a:pt x="112" y="142"/>
                    </a:lnTo>
                    <a:lnTo>
                      <a:pt x="112" y="28"/>
                    </a:lnTo>
                    <a:lnTo>
                      <a:pt x="112" y="28"/>
                    </a:lnTo>
                    <a:lnTo>
                      <a:pt x="110" y="20"/>
                    </a:lnTo>
                    <a:lnTo>
                      <a:pt x="106" y="16"/>
                    </a:lnTo>
                    <a:lnTo>
                      <a:pt x="102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98" y="12"/>
                    </a:lnTo>
                    <a:lnTo>
                      <a:pt x="98" y="12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2" y="12"/>
                    </a:lnTo>
                    <a:lnTo>
                      <a:pt x="88" y="16"/>
                    </a:lnTo>
                    <a:lnTo>
                      <a:pt x="86" y="20"/>
                    </a:lnTo>
                    <a:lnTo>
                      <a:pt x="84" y="28"/>
                    </a:lnTo>
                    <a:lnTo>
                      <a:pt x="84" y="142"/>
                    </a:lnTo>
                    <a:lnTo>
                      <a:pt x="82" y="142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0" y="8"/>
                    </a:lnTo>
                    <a:lnTo>
                      <a:pt x="76" y="4"/>
                    </a:lnTo>
                    <a:lnTo>
                      <a:pt x="72" y="0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2" y="0"/>
                    </a:lnTo>
                    <a:lnTo>
                      <a:pt x="58" y="4"/>
                    </a:lnTo>
                    <a:lnTo>
                      <a:pt x="54" y="8"/>
                    </a:lnTo>
                    <a:lnTo>
                      <a:pt x="52" y="16"/>
                    </a:lnTo>
                    <a:lnTo>
                      <a:pt x="52" y="142"/>
                    </a:lnTo>
                    <a:lnTo>
                      <a:pt x="50" y="142"/>
                    </a:lnTo>
                    <a:lnTo>
                      <a:pt x="50" y="38"/>
                    </a:lnTo>
                    <a:lnTo>
                      <a:pt x="50" y="38"/>
                    </a:lnTo>
                    <a:lnTo>
                      <a:pt x="48" y="30"/>
                    </a:lnTo>
                    <a:lnTo>
                      <a:pt x="44" y="26"/>
                    </a:lnTo>
                    <a:lnTo>
                      <a:pt x="40" y="24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2" y="24"/>
                    </a:lnTo>
                    <a:lnTo>
                      <a:pt x="28" y="26"/>
                    </a:lnTo>
                    <a:lnTo>
                      <a:pt x="24" y="30"/>
                    </a:lnTo>
                    <a:lnTo>
                      <a:pt x="24" y="38"/>
                    </a:lnTo>
                    <a:lnTo>
                      <a:pt x="24" y="142"/>
                    </a:lnTo>
                    <a:lnTo>
                      <a:pt x="20" y="142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18" y="62"/>
                    </a:lnTo>
                    <a:lnTo>
                      <a:pt x="16" y="58"/>
                    </a:lnTo>
                    <a:lnTo>
                      <a:pt x="12" y="58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4" y="60"/>
                    </a:lnTo>
                    <a:lnTo>
                      <a:pt x="2" y="62"/>
                    </a:lnTo>
                    <a:lnTo>
                      <a:pt x="0" y="68"/>
                    </a:lnTo>
                    <a:lnTo>
                      <a:pt x="0" y="142"/>
                    </a:lnTo>
                    <a:lnTo>
                      <a:pt x="0" y="142"/>
                    </a:lnTo>
                    <a:lnTo>
                      <a:pt x="0" y="166"/>
                    </a:lnTo>
                    <a:lnTo>
                      <a:pt x="0" y="166"/>
                    </a:lnTo>
                    <a:lnTo>
                      <a:pt x="2" y="180"/>
                    </a:lnTo>
                    <a:lnTo>
                      <a:pt x="6" y="196"/>
                    </a:lnTo>
                    <a:lnTo>
                      <a:pt x="12" y="208"/>
                    </a:lnTo>
                    <a:lnTo>
                      <a:pt x="20" y="220"/>
                    </a:lnTo>
                    <a:lnTo>
                      <a:pt x="30" y="230"/>
                    </a:lnTo>
                    <a:lnTo>
                      <a:pt x="42" y="238"/>
                    </a:lnTo>
                    <a:lnTo>
                      <a:pt x="56" y="242"/>
                    </a:lnTo>
                    <a:lnTo>
                      <a:pt x="70" y="244"/>
                    </a:lnTo>
                    <a:lnTo>
                      <a:pt x="70" y="244"/>
                    </a:lnTo>
                    <a:lnTo>
                      <a:pt x="84" y="242"/>
                    </a:lnTo>
                    <a:lnTo>
                      <a:pt x="96" y="238"/>
                    </a:lnTo>
                    <a:lnTo>
                      <a:pt x="108" y="230"/>
                    </a:lnTo>
                    <a:lnTo>
                      <a:pt x="118" y="220"/>
                    </a:lnTo>
                    <a:lnTo>
                      <a:pt x="126" y="208"/>
                    </a:lnTo>
                    <a:lnTo>
                      <a:pt x="132" y="196"/>
                    </a:lnTo>
                    <a:lnTo>
                      <a:pt x="136" y="180"/>
                    </a:lnTo>
                    <a:lnTo>
                      <a:pt x="138" y="166"/>
                    </a:lnTo>
                    <a:lnTo>
                      <a:pt x="138" y="166"/>
                    </a:lnTo>
                    <a:lnTo>
                      <a:pt x="138" y="14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33" name="TextBox 32"/>
            <p:cNvSpPr txBox="1"/>
            <p:nvPr userDrawn="1"/>
          </p:nvSpPr>
          <p:spPr>
            <a:xfrm rot="16200000">
              <a:off x="8191735" y="232702"/>
              <a:ext cx="563729" cy="1708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510" dirty="0" smtClean="0">
                  <a:solidFill>
                    <a:srgbClr val="FFFFFF">
                      <a:lumMod val="65000"/>
                    </a:srgbClr>
                  </a:solidFill>
                </a:rPr>
                <a:t>confidential</a:t>
              </a:r>
              <a:endParaRPr lang="en-GB" sz="510" dirty="0">
                <a:solidFill>
                  <a:srgbClr val="FFFFFF">
                    <a:lumMod val="65000"/>
                  </a:srgbClr>
                </a:solidFill>
              </a:endParaRPr>
            </a:p>
          </p:txBody>
        </p:sp>
        <p:sp>
          <p:nvSpPr>
            <p:cNvPr id="34" name="TextBox 33"/>
            <p:cNvSpPr txBox="1"/>
            <p:nvPr userDrawn="1"/>
          </p:nvSpPr>
          <p:spPr>
            <a:xfrm>
              <a:off x="8547008" y="506408"/>
              <a:ext cx="482345" cy="1815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580" dirty="0" smtClean="0">
                  <a:solidFill>
                    <a:srgbClr val="D7D2CB">
                      <a:lumMod val="10000"/>
                    </a:srgbClr>
                  </a:solidFill>
                </a:rPr>
                <a:t>SECRET</a:t>
              </a:r>
              <a:endParaRPr lang="en-GB" sz="580" dirty="0">
                <a:solidFill>
                  <a:srgbClr val="D7D2C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90726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spcBef>
          <a:spcPct val="20000"/>
        </a:spcBef>
        <a:buClr>
          <a:schemeClr val="tx2"/>
        </a:buClr>
        <a:buSzPct val="120000"/>
        <a:buFont typeface="Verdana" pitchFamily="34" charset="0"/>
        <a:buChar char="_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216000" algn="l" defTabSz="914400" rtl="0" eaLnBrk="1" latinLnBrk="0" hangingPunct="1">
        <a:spcBef>
          <a:spcPct val="20000"/>
        </a:spcBef>
        <a:buClr>
          <a:schemeClr val="tx2"/>
        </a:buClr>
        <a:buSzPct val="12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66000" indent="-198000" algn="l" defTabSz="914400" rtl="0" eaLnBrk="1" latinLnBrk="0" hangingPunct="1">
        <a:spcBef>
          <a:spcPct val="20000"/>
        </a:spcBef>
        <a:buClr>
          <a:schemeClr val="tx2"/>
        </a:buClr>
        <a:buSzPct val="10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46000" indent="-180000" algn="l" defTabSz="914400" rtl="0" eaLnBrk="1" latinLnBrk="0" hangingPunct="1">
        <a:spcBef>
          <a:spcPct val="20000"/>
        </a:spcBef>
        <a:buClr>
          <a:schemeClr val="tx2"/>
        </a:buClr>
        <a:buSzPct val="10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26000" indent="-180000" algn="l" defTabSz="914400" rtl="0" eaLnBrk="1" latinLnBrk="0" hangingPunct="1">
        <a:spcBef>
          <a:spcPct val="20000"/>
        </a:spcBef>
        <a:buClr>
          <a:schemeClr val="tx2"/>
        </a:buClr>
        <a:buSzPct val="10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11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 rot="16200000">
            <a:off x="6669131" y="3741732"/>
            <a:ext cx="4643437" cy="274648"/>
          </a:xfrm>
          <a:prstGeom prst="rect">
            <a:avLst/>
          </a:prstGeom>
        </p:spPr>
        <p:txBody>
          <a:bodyPr vert="horz" lIns="324000" tIns="0" rIns="0" bIns="0" rtlCol="0" anchor="ctr"/>
          <a:lstStyle>
            <a:lvl1pPr algn="l">
              <a:defRPr sz="7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FFFFFF">
                    <a:lumMod val="65000"/>
                  </a:srgbClr>
                </a:solidFill>
              </a:rPr>
              <a:t>© 2015 Amadeus IT Group SA</a:t>
            </a:r>
            <a:endParaRPr lang="en-GB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2523" y="8999"/>
            <a:ext cx="8221884" cy="755705"/>
          </a:xfrm>
          <a:prstGeom prst="rect">
            <a:avLst/>
          </a:prstGeom>
        </p:spPr>
        <p:txBody>
          <a:bodyPr vert="horz" lIns="50400" tIns="45720" rIns="0" bIns="45720" rtlCol="0" anchor="t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2523" y="764704"/>
            <a:ext cx="8229347" cy="55881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6" name="Text Box 12"/>
          <p:cNvSpPr txBox="1">
            <a:spLocks noChangeArrowheads="1"/>
          </p:cNvSpPr>
          <p:nvPr/>
        </p:nvSpPr>
        <p:spPr bwMode="auto">
          <a:xfrm>
            <a:off x="9209167" y="5296057"/>
            <a:ext cx="1843553" cy="969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tabLst>
                <a:tab pos="177800" algn="l"/>
              </a:tabLst>
              <a:defRPr/>
            </a:pPr>
            <a:r>
              <a:rPr lang="en-GB" sz="900" b="1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Change the Year in the Copyright field</a:t>
            </a:r>
            <a: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/>
            </a:r>
            <a:b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</a:br>
            <a:r>
              <a:rPr lang="en-GB" sz="900" b="1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1. </a:t>
            </a:r>
            <a: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Click ‘Insert’ in Top menu</a:t>
            </a:r>
            <a:b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</a:br>
            <a:r>
              <a:rPr lang="en-GB" sz="900" b="1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2. </a:t>
            </a:r>
            <a: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Click ’Header &amp; Footer’ </a:t>
            </a:r>
            <a:b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</a:br>
            <a:r>
              <a:rPr lang="en-GB" sz="900" b="1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3. </a:t>
            </a:r>
            <a: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Write new Year </a:t>
            </a:r>
            <a:b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</a:br>
            <a: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	in field ‘Footer’</a:t>
            </a:r>
            <a:b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</a:br>
            <a:r>
              <a:rPr lang="en-GB" sz="900" b="1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4. </a:t>
            </a:r>
            <a: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Click ‘Apply to All’</a:t>
            </a:r>
          </a:p>
        </p:txBody>
      </p:sp>
      <p:cxnSp>
        <p:nvCxnSpPr>
          <p:cNvPr id="29" name="Conector recto 12"/>
          <p:cNvCxnSpPr/>
          <p:nvPr/>
        </p:nvCxnSpPr>
        <p:spPr>
          <a:xfrm flipH="1">
            <a:off x="323530" y="6352865"/>
            <a:ext cx="4680518" cy="3041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AutoShape 3"/>
          <p:cNvSpPr>
            <a:spLocks noChangeAspect="1" noChangeArrowheads="1" noTextEdit="1"/>
          </p:cNvSpPr>
          <p:nvPr/>
        </p:nvSpPr>
        <p:spPr bwMode="auto">
          <a:xfrm>
            <a:off x="7770859" y="6482312"/>
            <a:ext cx="1022999" cy="179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0" name="Freeform 49"/>
          <p:cNvSpPr>
            <a:spLocks/>
          </p:cNvSpPr>
          <p:nvPr/>
        </p:nvSpPr>
        <p:spPr bwMode="auto">
          <a:xfrm>
            <a:off x="8414643" y="6482312"/>
            <a:ext cx="95749" cy="179767"/>
          </a:xfrm>
          <a:custGeom>
            <a:avLst/>
            <a:gdLst>
              <a:gd name="T0" fmla="*/ 0 w 305"/>
              <a:gd name="T1" fmla="*/ 407 h 428"/>
              <a:gd name="T2" fmla="*/ 0 w 305"/>
              <a:gd name="T3" fmla="*/ 407 h 428"/>
              <a:gd name="T4" fmla="*/ 13 w 305"/>
              <a:gd name="T5" fmla="*/ 411 h 428"/>
              <a:gd name="T6" fmla="*/ 47 w 305"/>
              <a:gd name="T7" fmla="*/ 418 h 428"/>
              <a:gd name="T8" fmla="*/ 71 w 305"/>
              <a:gd name="T9" fmla="*/ 421 h 428"/>
              <a:gd name="T10" fmla="*/ 98 w 305"/>
              <a:gd name="T11" fmla="*/ 425 h 428"/>
              <a:gd name="T12" fmla="*/ 129 w 305"/>
              <a:gd name="T13" fmla="*/ 427 h 428"/>
              <a:gd name="T14" fmla="*/ 163 w 305"/>
              <a:gd name="T15" fmla="*/ 428 h 428"/>
              <a:gd name="T16" fmla="*/ 163 w 305"/>
              <a:gd name="T17" fmla="*/ 428 h 428"/>
              <a:gd name="T18" fmla="*/ 197 w 305"/>
              <a:gd name="T19" fmla="*/ 427 h 428"/>
              <a:gd name="T20" fmla="*/ 226 w 305"/>
              <a:gd name="T21" fmla="*/ 426 h 428"/>
              <a:gd name="T22" fmla="*/ 251 w 305"/>
              <a:gd name="T23" fmla="*/ 424 h 428"/>
              <a:gd name="T24" fmla="*/ 270 w 305"/>
              <a:gd name="T25" fmla="*/ 422 h 428"/>
              <a:gd name="T26" fmla="*/ 297 w 305"/>
              <a:gd name="T27" fmla="*/ 419 h 428"/>
              <a:gd name="T28" fmla="*/ 305 w 305"/>
              <a:gd name="T29" fmla="*/ 417 h 428"/>
              <a:gd name="T30" fmla="*/ 305 w 305"/>
              <a:gd name="T31" fmla="*/ 346 h 428"/>
              <a:gd name="T32" fmla="*/ 305 w 305"/>
              <a:gd name="T33" fmla="*/ 346 h 428"/>
              <a:gd name="T34" fmla="*/ 297 w 305"/>
              <a:gd name="T35" fmla="*/ 347 h 428"/>
              <a:gd name="T36" fmla="*/ 272 w 305"/>
              <a:gd name="T37" fmla="*/ 351 h 428"/>
              <a:gd name="T38" fmla="*/ 235 w 305"/>
              <a:gd name="T39" fmla="*/ 354 h 428"/>
              <a:gd name="T40" fmla="*/ 213 w 305"/>
              <a:gd name="T41" fmla="*/ 355 h 428"/>
              <a:gd name="T42" fmla="*/ 188 w 305"/>
              <a:gd name="T43" fmla="*/ 355 h 428"/>
              <a:gd name="T44" fmla="*/ 188 w 305"/>
              <a:gd name="T45" fmla="*/ 355 h 428"/>
              <a:gd name="T46" fmla="*/ 167 w 305"/>
              <a:gd name="T47" fmla="*/ 355 h 428"/>
              <a:gd name="T48" fmla="*/ 149 w 305"/>
              <a:gd name="T49" fmla="*/ 354 h 428"/>
              <a:gd name="T50" fmla="*/ 118 w 305"/>
              <a:gd name="T51" fmla="*/ 351 h 428"/>
              <a:gd name="T52" fmla="*/ 99 w 305"/>
              <a:gd name="T53" fmla="*/ 349 h 428"/>
              <a:gd name="T54" fmla="*/ 92 w 305"/>
              <a:gd name="T55" fmla="*/ 348 h 428"/>
              <a:gd name="T56" fmla="*/ 92 w 305"/>
              <a:gd name="T57" fmla="*/ 247 h 428"/>
              <a:gd name="T58" fmla="*/ 276 w 305"/>
              <a:gd name="T59" fmla="*/ 247 h 428"/>
              <a:gd name="T60" fmla="*/ 276 w 305"/>
              <a:gd name="T61" fmla="*/ 175 h 428"/>
              <a:gd name="T62" fmla="*/ 92 w 305"/>
              <a:gd name="T63" fmla="*/ 175 h 428"/>
              <a:gd name="T64" fmla="*/ 92 w 305"/>
              <a:gd name="T65" fmla="*/ 79 h 428"/>
              <a:gd name="T66" fmla="*/ 92 w 305"/>
              <a:gd name="T67" fmla="*/ 79 h 428"/>
              <a:gd name="T68" fmla="*/ 99 w 305"/>
              <a:gd name="T69" fmla="*/ 78 h 428"/>
              <a:gd name="T70" fmla="*/ 117 w 305"/>
              <a:gd name="T71" fmla="*/ 76 h 428"/>
              <a:gd name="T72" fmla="*/ 145 w 305"/>
              <a:gd name="T73" fmla="*/ 74 h 428"/>
              <a:gd name="T74" fmla="*/ 182 w 305"/>
              <a:gd name="T75" fmla="*/ 73 h 428"/>
              <a:gd name="T76" fmla="*/ 182 w 305"/>
              <a:gd name="T77" fmla="*/ 73 h 428"/>
              <a:gd name="T78" fmla="*/ 205 w 305"/>
              <a:gd name="T79" fmla="*/ 73 h 428"/>
              <a:gd name="T80" fmla="*/ 226 w 305"/>
              <a:gd name="T81" fmla="*/ 74 h 428"/>
              <a:gd name="T82" fmla="*/ 263 w 305"/>
              <a:gd name="T83" fmla="*/ 77 h 428"/>
              <a:gd name="T84" fmla="*/ 289 w 305"/>
              <a:gd name="T85" fmla="*/ 80 h 428"/>
              <a:gd name="T86" fmla="*/ 298 w 305"/>
              <a:gd name="T87" fmla="*/ 82 h 428"/>
              <a:gd name="T88" fmla="*/ 298 w 305"/>
              <a:gd name="T89" fmla="*/ 10 h 428"/>
              <a:gd name="T90" fmla="*/ 298 w 305"/>
              <a:gd name="T91" fmla="*/ 10 h 428"/>
              <a:gd name="T92" fmla="*/ 289 w 305"/>
              <a:gd name="T93" fmla="*/ 9 h 428"/>
              <a:gd name="T94" fmla="*/ 264 w 305"/>
              <a:gd name="T95" fmla="*/ 5 h 428"/>
              <a:gd name="T96" fmla="*/ 224 w 305"/>
              <a:gd name="T97" fmla="*/ 2 h 428"/>
              <a:gd name="T98" fmla="*/ 200 w 305"/>
              <a:gd name="T99" fmla="*/ 1 h 428"/>
              <a:gd name="T100" fmla="*/ 172 w 305"/>
              <a:gd name="T101" fmla="*/ 0 h 428"/>
              <a:gd name="T102" fmla="*/ 172 w 305"/>
              <a:gd name="T103" fmla="*/ 0 h 428"/>
              <a:gd name="T104" fmla="*/ 134 w 305"/>
              <a:gd name="T105" fmla="*/ 1 h 428"/>
              <a:gd name="T106" fmla="*/ 102 w 305"/>
              <a:gd name="T107" fmla="*/ 3 h 428"/>
              <a:gd name="T108" fmla="*/ 72 w 305"/>
              <a:gd name="T109" fmla="*/ 6 h 428"/>
              <a:gd name="T110" fmla="*/ 47 w 305"/>
              <a:gd name="T111" fmla="*/ 9 h 428"/>
              <a:gd name="T112" fmla="*/ 27 w 305"/>
              <a:gd name="T113" fmla="*/ 13 h 428"/>
              <a:gd name="T114" fmla="*/ 13 w 305"/>
              <a:gd name="T115" fmla="*/ 15 h 428"/>
              <a:gd name="T116" fmla="*/ 0 w 305"/>
              <a:gd name="T117" fmla="*/ 19 h 428"/>
              <a:gd name="T118" fmla="*/ 0 w 305"/>
              <a:gd name="T119" fmla="*/ 407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05" h="428">
                <a:moveTo>
                  <a:pt x="0" y="407"/>
                </a:moveTo>
                <a:lnTo>
                  <a:pt x="0" y="407"/>
                </a:lnTo>
                <a:lnTo>
                  <a:pt x="13" y="411"/>
                </a:lnTo>
                <a:lnTo>
                  <a:pt x="47" y="418"/>
                </a:lnTo>
                <a:lnTo>
                  <a:pt x="71" y="421"/>
                </a:lnTo>
                <a:lnTo>
                  <a:pt x="98" y="425"/>
                </a:lnTo>
                <a:lnTo>
                  <a:pt x="129" y="427"/>
                </a:lnTo>
                <a:lnTo>
                  <a:pt x="163" y="428"/>
                </a:lnTo>
                <a:lnTo>
                  <a:pt x="163" y="428"/>
                </a:lnTo>
                <a:lnTo>
                  <a:pt x="197" y="427"/>
                </a:lnTo>
                <a:lnTo>
                  <a:pt x="226" y="426"/>
                </a:lnTo>
                <a:lnTo>
                  <a:pt x="251" y="424"/>
                </a:lnTo>
                <a:lnTo>
                  <a:pt x="270" y="422"/>
                </a:lnTo>
                <a:lnTo>
                  <a:pt x="297" y="419"/>
                </a:lnTo>
                <a:lnTo>
                  <a:pt x="305" y="417"/>
                </a:lnTo>
                <a:lnTo>
                  <a:pt x="305" y="346"/>
                </a:lnTo>
                <a:lnTo>
                  <a:pt x="305" y="346"/>
                </a:lnTo>
                <a:lnTo>
                  <a:pt x="297" y="347"/>
                </a:lnTo>
                <a:lnTo>
                  <a:pt x="272" y="351"/>
                </a:lnTo>
                <a:lnTo>
                  <a:pt x="235" y="354"/>
                </a:lnTo>
                <a:lnTo>
                  <a:pt x="213" y="355"/>
                </a:lnTo>
                <a:lnTo>
                  <a:pt x="188" y="355"/>
                </a:lnTo>
                <a:lnTo>
                  <a:pt x="188" y="355"/>
                </a:lnTo>
                <a:lnTo>
                  <a:pt x="167" y="355"/>
                </a:lnTo>
                <a:lnTo>
                  <a:pt x="149" y="354"/>
                </a:lnTo>
                <a:lnTo>
                  <a:pt x="118" y="351"/>
                </a:lnTo>
                <a:lnTo>
                  <a:pt x="99" y="349"/>
                </a:lnTo>
                <a:lnTo>
                  <a:pt x="92" y="348"/>
                </a:lnTo>
                <a:lnTo>
                  <a:pt x="92" y="247"/>
                </a:lnTo>
                <a:lnTo>
                  <a:pt x="276" y="247"/>
                </a:lnTo>
                <a:lnTo>
                  <a:pt x="276" y="175"/>
                </a:lnTo>
                <a:lnTo>
                  <a:pt x="92" y="175"/>
                </a:lnTo>
                <a:lnTo>
                  <a:pt x="92" y="79"/>
                </a:lnTo>
                <a:lnTo>
                  <a:pt x="92" y="79"/>
                </a:lnTo>
                <a:lnTo>
                  <a:pt x="99" y="78"/>
                </a:lnTo>
                <a:lnTo>
                  <a:pt x="117" y="76"/>
                </a:lnTo>
                <a:lnTo>
                  <a:pt x="145" y="74"/>
                </a:lnTo>
                <a:lnTo>
                  <a:pt x="182" y="73"/>
                </a:lnTo>
                <a:lnTo>
                  <a:pt x="182" y="73"/>
                </a:lnTo>
                <a:lnTo>
                  <a:pt x="205" y="73"/>
                </a:lnTo>
                <a:lnTo>
                  <a:pt x="226" y="74"/>
                </a:lnTo>
                <a:lnTo>
                  <a:pt x="263" y="77"/>
                </a:lnTo>
                <a:lnTo>
                  <a:pt x="289" y="80"/>
                </a:lnTo>
                <a:lnTo>
                  <a:pt x="298" y="82"/>
                </a:lnTo>
                <a:lnTo>
                  <a:pt x="298" y="10"/>
                </a:lnTo>
                <a:lnTo>
                  <a:pt x="298" y="10"/>
                </a:lnTo>
                <a:lnTo>
                  <a:pt x="289" y="9"/>
                </a:lnTo>
                <a:lnTo>
                  <a:pt x="264" y="5"/>
                </a:lnTo>
                <a:lnTo>
                  <a:pt x="224" y="2"/>
                </a:lnTo>
                <a:lnTo>
                  <a:pt x="200" y="1"/>
                </a:lnTo>
                <a:lnTo>
                  <a:pt x="172" y="0"/>
                </a:lnTo>
                <a:lnTo>
                  <a:pt x="172" y="0"/>
                </a:lnTo>
                <a:lnTo>
                  <a:pt x="134" y="1"/>
                </a:lnTo>
                <a:lnTo>
                  <a:pt x="102" y="3"/>
                </a:lnTo>
                <a:lnTo>
                  <a:pt x="72" y="6"/>
                </a:lnTo>
                <a:lnTo>
                  <a:pt x="47" y="9"/>
                </a:lnTo>
                <a:lnTo>
                  <a:pt x="27" y="13"/>
                </a:lnTo>
                <a:lnTo>
                  <a:pt x="13" y="15"/>
                </a:lnTo>
                <a:lnTo>
                  <a:pt x="0" y="19"/>
                </a:lnTo>
                <a:lnTo>
                  <a:pt x="0" y="407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1" name="Freeform 50"/>
          <p:cNvSpPr>
            <a:spLocks/>
          </p:cNvSpPr>
          <p:nvPr/>
        </p:nvSpPr>
        <p:spPr bwMode="auto">
          <a:xfrm>
            <a:off x="7919521" y="6482311"/>
            <a:ext cx="156222" cy="176407"/>
          </a:xfrm>
          <a:custGeom>
            <a:avLst/>
            <a:gdLst>
              <a:gd name="T0" fmla="*/ 255 w 496"/>
              <a:gd name="T1" fmla="*/ 246 h 422"/>
              <a:gd name="T2" fmla="*/ 255 w 496"/>
              <a:gd name="T3" fmla="*/ 246 h 422"/>
              <a:gd name="T4" fmla="*/ 251 w 496"/>
              <a:gd name="T5" fmla="*/ 257 h 422"/>
              <a:gd name="T6" fmla="*/ 248 w 496"/>
              <a:gd name="T7" fmla="*/ 270 h 422"/>
              <a:gd name="T8" fmla="*/ 248 w 496"/>
              <a:gd name="T9" fmla="*/ 270 h 422"/>
              <a:gd name="T10" fmla="*/ 244 w 496"/>
              <a:gd name="T11" fmla="*/ 257 h 422"/>
              <a:gd name="T12" fmla="*/ 241 w 496"/>
              <a:gd name="T13" fmla="*/ 246 h 422"/>
              <a:gd name="T14" fmla="*/ 159 w 496"/>
              <a:gd name="T15" fmla="*/ 39 h 422"/>
              <a:gd name="T16" fmla="*/ 159 w 496"/>
              <a:gd name="T17" fmla="*/ 39 h 422"/>
              <a:gd name="T18" fmla="*/ 153 w 496"/>
              <a:gd name="T19" fmla="*/ 28 h 422"/>
              <a:gd name="T20" fmla="*/ 147 w 496"/>
              <a:gd name="T21" fmla="*/ 19 h 422"/>
              <a:gd name="T22" fmla="*/ 140 w 496"/>
              <a:gd name="T23" fmla="*/ 11 h 422"/>
              <a:gd name="T24" fmla="*/ 132 w 496"/>
              <a:gd name="T25" fmla="*/ 7 h 422"/>
              <a:gd name="T26" fmla="*/ 122 w 496"/>
              <a:gd name="T27" fmla="*/ 3 h 422"/>
              <a:gd name="T28" fmla="*/ 110 w 496"/>
              <a:gd name="T29" fmla="*/ 1 h 422"/>
              <a:gd name="T30" fmla="*/ 98 w 496"/>
              <a:gd name="T31" fmla="*/ 1 h 422"/>
              <a:gd name="T32" fmla="*/ 84 w 496"/>
              <a:gd name="T33" fmla="*/ 0 h 422"/>
              <a:gd name="T34" fmla="*/ 84 w 496"/>
              <a:gd name="T35" fmla="*/ 0 h 422"/>
              <a:gd name="T36" fmla="*/ 58 w 496"/>
              <a:gd name="T37" fmla="*/ 1 h 422"/>
              <a:gd name="T38" fmla="*/ 42 w 496"/>
              <a:gd name="T39" fmla="*/ 2 h 422"/>
              <a:gd name="T40" fmla="*/ 0 w 496"/>
              <a:gd name="T41" fmla="*/ 422 h 422"/>
              <a:gd name="T42" fmla="*/ 93 w 496"/>
              <a:gd name="T43" fmla="*/ 422 h 422"/>
              <a:gd name="T44" fmla="*/ 113 w 496"/>
              <a:gd name="T45" fmla="*/ 140 h 422"/>
              <a:gd name="T46" fmla="*/ 201 w 496"/>
              <a:gd name="T47" fmla="*/ 353 h 422"/>
              <a:gd name="T48" fmla="*/ 201 w 496"/>
              <a:gd name="T49" fmla="*/ 353 h 422"/>
              <a:gd name="T50" fmla="*/ 204 w 496"/>
              <a:gd name="T51" fmla="*/ 359 h 422"/>
              <a:gd name="T52" fmla="*/ 208 w 496"/>
              <a:gd name="T53" fmla="*/ 364 h 422"/>
              <a:gd name="T54" fmla="*/ 213 w 496"/>
              <a:gd name="T55" fmla="*/ 368 h 422"/>
              <a:gd name="T56" fmla="*/ 218 w 496"/>
              <a:gd name="T57" fmla="*/ 371 h 422"/>
              <a:gd name="T58" fmla="*/ 224 w 496"/>
              <a:gd name="T59" fmla="*/ 373 h 422"/>
              <a:gd name="T60" fmla="*/ 231 w 496"/>
              <a:gd name="T61" fmla="*/ 376 h 422"/>
              <a:gd name="T62" fmla="*/ 239 w 496"/>
              <a:gd name="T63" fmla="*/ 377 h 422"/>
              <a:gd name="T64" fmla="*/ 248 w 496"/>
              <a:gd name="T65" fmla="*/ 377 h 422"/>
              <a:gd name="T66" fmla="*/ 248 w 496"/>
              <a:gd name="T67" fmla="*/ 377 h 422"/>
              <a:gd name="T68" fmla="*/ 257 w 496"/>
              <a:gd name="T69" fmla="*/ 377 h 422"/>
              <a:gd name="T70" fmla="*/ 266 w 496"/>
              <a:gd name="T71" fmla="*/ 376 h 422"/>
              <a:gd name="T72" fmla="*/ 273 w 496"/>
              <a:gd name="T73" fmla="*/ 373 h 422"/>
              <a:gd name="T74" fmla="*/ 279 w 496"/>
              <a:gd name="T75" fmla="*/ 371 h 422"/>
              <a:gd name="T76" fmla="*/ 284 w 496"/>
              <a:gd name="T77" fmla="*/ 368 h 422"/>
              <a:gd name="T78" fmla="*/ 288 w 496"/>
              <a:gd name="T79" fmla="*/ 364 h 422"/>
              <a:gd name="T80" fmla="*/ 291 w 496"/>
              <a:gd name="T81" fmla="*/ 359 h 422"/>
              <a:gd name="T82" fmla="*/ 294 w 496"/>
              <a:gd name="T83" fmla="*/ 353 h 422"/>
              <a:gd name="T84" fmla="*/ 382 w 496"/>
              <a:gd name="T85" fmla="*/ 140 h 422"/>
              <a:gd name="T86" fmla="*/ 403 w 496"/>
              <a:gd name="T87" fmla="*/ 422 h 422"/>
              <a:gd name="T88" fmla="*/ 496 w 496"/>
              <a:gd name="T89" fmla="*/ 422 h 422"/>
              <a:gd name="T90" fmla="*/ 454 w 496"/>
              <a:gd name="T91" fmla="*/ 2 h 422"/>
              <a:gd name="T92" fmla="*/ 454 w 496"/>
              <a:gd name="T93" fmla="*/ 2 h 422"/>
              <a:gd name="T94" fmla="*/ 438 w 496"/>
              <a:gd name="T95" fmla="*/ 1 h 422"/>
              <a:gd name="T96" fmla="*/ 412 w 496"/>
              <a:gd name="T97" fmla="*/ 0 h 422"/>
              <a:gd name="T98" fmla="*/ 412 w 496"/>
              <a:gd name="T99" fmla="*/ 0 h 422"/>
              <a:gd name="T100" fmla="*/ 397 w 496"/>
              <a:gd name="T101" fmla="*/ 1 h 422"/>
              <a:gd name="T102" fmla="*/ 385 w 496"/>
              <a:gd name="T103" fmla="*/ 1 h 422"/>
              <a:gd name="T104" fmla="*/ 374 w 496"/>
              <a:gd name="T105" fmla="*/ 3 h 422"/>
              <a:gd name="T106" fmla="*/ 365 w 496"/>
              <a:gd name="T107" fmla="*/ 7 h 422"/>
              <a:gd name="T108" fmla="*/ 356 w 496"/>
              <a:gd name="T109" fmla="*/ 11 h 422"/>
              <a:gd name="T110" fmla="*/ 348 w 496"/>
              <a:gd name="T111" fmla="*/ 19 h 422"/>
              <a:gd name="T112" fmla="*/ 342 w 496"/>
              <a:gd name="T113" fmla="*/ 28 h 422"/>
              <a:gd name="T114" fmla="*/ 337 w 496"/>
              <a:gd name="T115" fmla="*/ 39 h 422"/>
              <a:gd name="T116" fmla="*/ 255 w 496"/>
              <a:gd name="T117" fmla="*/ 246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96" h="422">
                <a:moveTo>
                  <a:pt x="255" y="246"/>
                </a:moveTo>
                <a:lnTo>
                  <a:pt x="255" y="246"/>
                </a:lnTo>
                <a:lnTo>
                  <a:pt x="251" y="257"/>
                </a:lnTo>
                <a:lnTo>
                  <a:pt x="248" y="270"/>
                </a:lnTo>
                <a:lnTo>
                  <a:pt x="248" y="270"/>
                </a:lnTo>
                <a:lnTo>
                  <a:pt x="244" y="257"/>
                </a:lnTo>
                <a:lnTo>
                  <a:pt x="241" y="246"/>
                </a:lnTo>
                <a:lnTo>
                  <a:pt x="159" y="39"/>
                </a:lnTo>
                <a:lnTo>
                  <a:pt x="159" y="39"/>
                </a:lnTo>
                <a:lnTo>
                  <a:pt x="153" y="28"/>
                </a:lnTo>
                <a:lnTo>
                  <a:pt x="147" y="19"/>
                </a:lnTo>
                <a:lnTo>
                  <a:pt x="140" y="11"/>
                </a:lnTo>
                <a:lnTo>
                  <a:pt x="132" y="7"/>
                </a:lnTo>
                <a:lnTo>
                  <a:pt x="122" y="3"/>
                </a:lnTo>
                <a:lnTo>
                  <a:pt x="110" y="1"/>
                </a:lnTo>
                <a:lnTo>
                  <a:pt x="98" y="1"/>
                </a:lnTo>
                <a:lnTo>
                  <a:pt x="84" y="0"/>
                </a:lnTo>
                <a:lnTo>
                  <a:pt x="84" y="0"/>
                </a:lnTo>
                <a:lnTo>
                  <a:pt x="58" y="1"/>
                </a:lnTo>
                <a:lnTo>
                  <a:pt x="42" y="2"/>
                </a:lnTo>
                <a:lnTo>
                  <a:pt x="0" y="422"/>
                </a:lnTo>
                <a:lnTo>
                  <a:pt x="93" y="422"/>
                </a:lnTo>
                <a:lnTo>
                  <a:pt x="113" y="140"/>
                </a:lnTo>
                <a:lnTo>
                  <a:pt x="201" y="353"/>
                </a:lnTo>
                <a:lnTo>
                  <a:pt x="201" y="353"/>
                </a:lnTo>
                <a:lnTo>
                  <a:pt x="204" y="359"/>
                </a:lnTo>
                <a:lnTo>
                  <a:pt x="208" y="364"/>
                </a:lnTo>
                <a:lnTo>
                  <a:pt x="213" y="368"/>
                </a:lnTo>
                <a:lnTo>
                  <a:pt x="218" y="371"/>
                </a:lnTo>
                <a:lnTo>
                  <a:pt x="224" y="373"/>
                </a:lnTo>
                <a:lnTo>
                  <a:pt x="231" y="376"/>
                </a:lnTo>
                <a:lnTo>
                  <a:pt x="239" y="377"/>
                </a:lnTo>
                <a:lnTo>
                  <a:pt x="248" y="377"/>
                </a:lnTo>
                <a:lnTo>
                  <a:pt x="248" y="377"/>
                </a:lnTo>
                <a:lnTo>
                  <a:pt x="257" y="377"/>
                </a:lnTo>
                <a:lnTo>
                  <a:pt x="266" y="376"/>
                </a:lnTo>
                <a:lnTo>
                  <a:pt x="273" y="373"/>
                </a:lnTo>
                <a:lnTo>
                  <a:pt x="279" y="371"/>
                </a:lnTo>
                <a:lnTo>
                  <a:pt x="284" y="368"/>
                </a:lnTo>
                <a:lnTo>
                  <a:pt x="288" y="364"/>
                </a:lnTo>
                <a:lnTo>
                  <a:pt x="291" y="359"/>
                </a:lnTo>
                <a:lnTo>
                  <a:pt x="294" y="353"/>
                </a:lnTo>
                <a:lnTo>
                  <a:pt x="382" y="140"/>
                </a:lnTo>
                <a:lnTo>
                  <a:pt x="403" y="422"/>
                </a:lnTo>
                <a:lnTo>
                  <a:pt x="496" y="422"/>
                </a:lnTo>
                <a:lnTo>
                  <a:pt x="454" y="2"/>
                </a:lnTo>
                <a:lnTo>
                  <a:pt x="454" y="2"/>
                </a:lnTo>
                <a:lnTo>
                  <a:pt x="438" y="1"/>
                </a:lnTo>
                <a:lnTo>
                  <a:pt x="412" y="0"/>
                </a:lnTo>
                <a:lnTo>
                  <a:pt x="412" y="0"/>
                </a:lnTo>
                <a:lnTo>
                  <a:pt x="397" y="1"/>
                </a:lnTo>
                <a:lnTo>
                  <a:pt x="385" y="1"/>
                </a:lnTo>
                <a:lnTo>
                  <a:pt x="374" y="3"/>
                </a:lnTo>
                <a:lnTo>
                  <a:pt x="365" y="7"/>
                </a:lnTo>
                <a:lnTo>
                  <a:pt x="356" y="11"/>
                </a:lnTo>
                <a:lnTo>
                  <a:pt x="348" y="19"/>
                </a:lnTo>
                <a:lnTo>
                  <a:pt x="342" y="28"/>
                </a:lnTo>
                <a:lnTo>
                  <a:pt x="337" y="39"/>
                </a:lnTo>
                <a:lnTo>
                  <a:pt x="255" y="24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2" name="Freeform 51"/>
          <p:cNvSpPr>
            <a:spLocks/>
          </p:cNvSpPr>
          <p:nvPr/>
        </p:nvSpPr>
        <p:spPr bwMode="auto">
          <a:xfrm>
            <a:off x="7798576" y="6583115"/>
            <a:ext cx="54174" cy="48722"/>
          </a:xfrm>
          <a:custGeom>
            <a:avLst/>
            <a:gdLst>
              <a:gd name="T0" fmla="*/ 171 w 171"/>
              <a:gd name="T1" fmla="*/ 93 h 116"/>
              <a:gd name="T2" fmla="*/ 171 w 171"/>
              <a:gd name="T3" fmla="*/ 93 h 116"/>
              <a:gd name="T4" fmla="*/ 151 w 171"/>
              <a:gd name="T5" fmla="*/ 99 h 116"/>
              <a:gd name="T6" fmla="*/ 125 w 171"/>
              <a:gd name="T7" fmla="*/ 108 h 116"/>
              <a:gd name="T8" fmla="*/ 110 w 171"/>
              <a:gd name="T9" fmla="*/ 111 h 116"/>
              <a:gd name="T10" fmla="*/ 96 w 171"/>
              <a:gd name="T11" fmla="*/ 114 h 116"/>
              <a:gd name="T12" fmla="*/ 82 w 171"/>
              <a:gd name="T13" fmla="*/ 116 h 116"/>
              <a:gd name="T14" fmla="*/ 67 w 171"/>
              <a:gd name="T15" fmla="*/ 116 h 116"/>
              <a:gd name="T16" fmla="*/ 67 w 171"/>
              <a:gd name="T17" fmla="*/ 116 h 116"/>
              <a:gd name="T18" fmla="*/ 54 w 171"/>
              <a:gd name="T19" fmla="*/ 116 h 116"/>
              <a:gd name="T20" fmla="*/ 41 w 171"/>
              <a:gd name="T21" fmla="*/ 114 h 116"/>
              <a:gd name="T22" fmla="*/ 30 w 171"/>
              <a:gd name="T23" fmla="*/ 110 h 116"/>
              <a:gd name="T24" fmla="*/ 24 w 171"/>
              <a:gd name="T25" fmla="*/ 108 h 116"/>
              <a:gd name="T26" fmla="*/ 19 w 171"/>
              <a:gd name="T27" fmla="*/ 105 h 116"/>
              <a:gd name="T28" fmla="*/ 15 w 171"/>
              <a:gd name="T29" fmla="*/ 101 h 116"/>
              <a:gd name="T30" fmla="*/ 11 w 171"/>
              <a:gd name="T31" fmla="*/ 97 h 116"/>
              <a:gd name="T32" fmla="*/ 8 w 171"/>
              <a:gd name="T33" fmla="*/ 92 h 116"/>
              <a:gd name="T34" fmla="*/ 5 w 171"/>
              <a:gd name="T35" fmla="*/ 87 h 116"/>
              <a:gd name="T36" fmla="*/ 3 w 171"/>
              <a:gd name="T37" fmla="*/ 82 h 116"/>
              <a:gd name="T38" fmla="*/ 2 w 171"/>
              <a:gd name="T39" fmla="*/ 76 h 116"/>
              <a:gd name="T40" fmla="*/ 1 w 171"/>
              <a:gd name="T41" fmla="*/ 69 h 116"/>
              <a:gd name="T42" fmla="*/ 0 w 171"/>
              <a:gd name="T43" fmla="*/ 61 h 116"/>
              <a:gd name="T44" fmla="*/ 0 w 171"/>
              <a:gd name="T45" fmla="*/ 61 h 116"/>
              <a:gd name="T46" fmla="*/ 1 w 171"/>
              <a:gd name="T47" fmla="*/ 49 h 116"/>
              <a:gd name="T48" fmla="*/ 4 w 171"/>
              <a:gd name="T49" fmla="*/ 38 h 116"/>
              <a:gd name="T50" fmla="*/ 6 w 171"/>
              <a:gd name="T51" fmla="*/ 33 h 116"/>
              <a:gd name="T52" fmla="*/ 9 w 171"/>
              <a:gd name="T53" fmla="*/ 27 h 116"/>
              <a:gd name="T54" fmla="*/ 13 w 171"/>
              <a:gd name="T55" fmla="*/ 23 h 116"/>
              <a:gd name="T56" fmla="*/ 16 w 171"/>
              <a:gd name="T57" fmla="*/ 19 h 116"/>
              <a:gd name="T58" fmla="*/ 21 w 171"/>
              <a:gd name="T59" fmla="*/ 16 h 116"/>
              <a:gd name="T60" fmla="*/ 26 w 171"/>
              <a:gd name="T61" fmla="*/ 13 h 116"/>
              <a:gd name="T62" fmla="*/ 33 w 171"/>
              <a:gd name="T63" fmla="*/ 10 h 116"/>
              <a:gd name="T64" fmla="*/ 39 w 171"/>
              <a:gd name="T65" fmla="*/ 8 h 116"/>
              <a:gd name="T66" fmla="*/ 55 w 171"/>
              <a:gd name="T67" fmla="*/ 5 h 116"/>
              <a:gd name="T68" fmla="*/ 72 w 171"/>
              <a:gd name="T69" fmla="*/ 3 h 116"/>
              <a:gd name="T70" fmla="*/ 171 w 171"/>
              <a:gd name="T71" fmla="*/ 0 h 116"/>
              <a:gd name="T72" fmla="*/ 171 w 171"/>
              <a:gd name="T73" fmla="*/ 93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71" h="116">
                <a:moveTo>
                  <a:pt x="171" y="93"/>
                </a:moveTo>
                <a:lnTo>
                  <a:pt x="171" y="93"/>
                </a:lnTo>
                <a:lnTo>
                  <a:pt x="151" y="99"/>
                </a:lnTo>
                <a:lnTo>
                  <a:pt x="125" y="108"/>
                </a:lnTo>
                <a:lnTo>
                  <a:pt x="110" y="111"/>
                </a:lnTo>
                <a:lnTo>
                  <a:pt x="96" y="114"/>
                </a:lnTo>
                <a:lnTo>
                  <a:pt x="82" y="116"/>
                </a:lnTo>
                <a:lnTo>
                  <a:pt x="67" y="116"/>
                </a:lnTo>
                <a:lnTo>
                  <a:pt x="67" y="116"/>
                </a:lnTo>
                <a:lnTo>
                  <a:pt x="54" y="116"/>
                </a:lnTo>
                <a:lnTo>
                  <a:pt x="41" y="114"/>
                </a:lnTo>
                <a:lnTo>
                  <a:pt x="30" y="110"/>
                </a:lnTo>
                <a:lnTo>
                  <a:pt x="24" y="108"/>
                </a:lnTo>
                <a:lnTo>
                  <a:pt x="19" y="105"/>
                </a:lnTo>
                <a:lnTo>
                  <a:pt x="15" y="101"/>
                </a:lnTo>
                <a:lnTo>
                  <a:pt x="11" y="97"/>
                </a:lnTo>
                <a:lnTo>
                  <a:pt x="8" y="92"/>
                </a:lnTo>
                <a:lnTo>
                  <a:pt x="5" y="87"/>
                </a:lnTo>
                <a:lnTo>
                  <a:pt x="3" y="82"/>
                </a:lnTo>
                <a:lnTo>
                  <a:pt x="2" y="76"/>
                </a:lnTo>
                <a:lnTo>
                  <a:pt x="1" y="69"/>
                </a:lnTo>
                <a:lnTo>
                  <a:pt x="0" y="61"/>
                </a:lnTo>
                <a:lnTo>
                  <a:pt x="0" y="61"/>
                </a:lnTo>
                <a:lnTo>
                  <a:pt x="1" y="49"/>
                </a:lnTo>
                <a:lnTo>
                  <a:pt x="4" y="38"/>
                </a:lnTo>
                <a:lnTo>
                  <a:pt x="6" y="33"/>
                </a:lnTo>
                <a:lnTo>
                  <a:pt x="9" y="27"/>
                </a:lnTo>
                <a:lnTo>
                  <a:pt x="13" y="23"/>
                </a:lnTo>
                <a:lnTo>
                  <a:pt x="16" y="19"/>
                </a:lnTo>
                <a:lnTo>
                  <a:pt x="21" y="16"/>
                </a:lnTo>
                <a:lnTo>
                  <a:pt x="26" y="13"/>
                </a:lnTo>
                <a:lnTo>
                  <a:pt x="33" y="10"/>
                </a:lnTo>
                <a:lnTo>
                  <a:pt x="39" y="8"/>
                </a:lnTo>
                <a:lnTo>
                  <a:pt x="55" y="5"/>
                </a:lnTo>
                <a:lnTo>
                  <a:pt x="72" y="3"/>
                </a:lnTo>
                <a:lnTo>
                  <a:pt x="171" y="0"/>
                </a:lnTo>
                <a:lnTo>
                  <a:pt x="171" y="9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3" name="Freeform 52"/>
          <p:cNvSpPr>
            <a:spLocks/>
          </p:cNvSpPr>
          <p:nvPr/>
        </p:nvSpPr>
        <p:spPr bwMode="auto">
          <a:xfrm>
            <a:off x="7770859" y="6482312"/>
            <a:ext cx="110867" cy="179767"/>
          </a:xfrm>
          <a:custGeom>
            <a:avLst/>
            <a:gdLst>
              <a:gd name="T0" fmla="*/ 205 w 352"/>
              <a:gd name="T1" fmla="*/ 0 h 428"/>
              <a:gd name="T2" fmla="*/ 147 w 352"/>
              <a:gd name="T3" fmla="*/ 4 h 428"/>
              <a:gd name="T4" fmla="*/ 97 w 352"/>
              <a:gd name="T5" fmla="*/ 12 h 428"/>
              <a:gd name="T6" fmla="*/ 58 w 352"/>
              <a:gd name="T7" fmla="*/ 23 h 428"/>
              <a:gd name="T8" fmla="*/ 33 w 352"/>
              <a:gd name="T9" fmla="*/ 33 h 428"/>
              <a:gd name="T10" fmla="*/ 52 w 352"/>
              <a:gd name="T11" fmla="*/ 102 h 428"/>
              <a:gd name="T12" fmla="*/ 92 w 352"/>
              <a:gd name="T13" fmla="*/ 91 h 428"/>
              <a:gd name="T14" fmla="*/ 133 w 352"/>
              <a:gd name="T15" fmla="*/ 82 h 428"/>
              <a:gd name="T16" fmla="*/ 179 w 352"/>
              <a:gd name="T17" fmla="*/ 79 h 428"/>
              <a:gd name="T18" fmla="*/ 197 w 352"/>
              <a:gd name="T19" fmla="*/ 80 h 428"/>
              <a:gd name="T20" fmla="*/ 221 w 352"/>
              <a:gd name="T21" fmla="*/ 84 h 428"/>
              <a:gd name="T22" fmla="*/ 234 w 352"/>
              <a:gd name="T23" fmla="*/ 90 h 428"/>
              <a:gd name="T24" fmla="*/ 244 w 352"/>
              <a:gd name="T25" fmla="*/ 98 h 428"/>
              <a:gd name="T26" fmla="*/ 251 w 352"/>
              <a:gd name="T27" fmla="*/ 108 h 428"/>
              <a:gd name="T28" fmla="*/ 256 w 352"/>
              <a:gd name="T29" fmla="*/ 120 h 428"/>
              <a:gd name="T30" fmla="*/ 260 w 352"/>
              <a:gd name="T31" fmla="*/ 137 h 428"/>
              <a:gd name="T32" fmla="*/ 260 w 352"/>
              <a:gd name="T33" fmla="*/ 176 h 428"/>
              <a:gd name="T34" fmla="*/ 179 w 352"/>
              <a:gd name="T35" fmla="*/ 176 h 428"/>
              <a:gd name="T36" fmla="*/ 132 w 352"/>
              <a:gd name="T37" fmla="*/ 179 h 428"/>
              <a:gd name="T38" fmla="*/ 93 w 352"/>
              <a:gd name="T39" fmla="*/ 187 h 428"/>
              <a:gd name="T40" fmla="*/ 61 w 352"/>
              <a:gd name="T41" fmla="*/ 200 h 428"/>
              <a:gd name="T42" fmla="*/ 38 w 352"/>
              <a:gd name="T43" fmla="*/ 216 h 428"/>
              <a:gd name="T44" fmla="*/ 20 w 352"/>
              <a:gd name="T45" fmla="*/ 236 h 428"/>
              <a:gd name="T46" fmla="*/ 9 w 352"/>
              <a:gd name="T47" fmla="*/ 257 h 428"/>
              <a:gd name="T48" fmla="*/ 2 w 352"/>
              <a:gd name="T49" fmla="*/ 282 h 428"/>
              <a:gd name="T50" fmla="*/ 0 w 352"/>
              <a:gd name="T51" fmla="*/ 307 h 428"/>
              <a:gd name="T52" fmla="*/ 1 w 352"/>
              <a:gd name="T53" fmla="*/ 323 h 428"/>
              <a:gd name="T54" fmla="*/ 7 w 352"/>
              <a:gd name="T55" fmla="*/ 352 h 428"/>
              <a:gd name="T56" fmla="*/ 19 w 352"/>
              <a:gd name="T57" fmla="*/ 376 h 428"/>
              <a:gd name="T58" fmla="*/ 35 w 352"/>
              <a:gd name="T59" fmla="*/ 394 h 428"/>
              <a:gd name="T60" fmla="*/ 54 w 352"/>
              <a:gd name="T61" fmla="*/ 408 h 428"/>
              <a:gd name="T62" fmla="*/ 77 w 352"/>
              <a:gd name="T63" fmla="*/ 418 h 428"/>
              <a:gd name="T64" fmla="*/ 101 w 352"/>
              <a:gd name="T65" fmla="*/ 424 h 428"/>
              <a:gd name="T66" fmla="*/ 126 w 352"/>
              <a:gd name="T67" fmla="*/ 427 h 428"/>
              <a:gd name="T68" fmla="*/ 138 w 352"/>
              <a:gd name="T69" fmla="*/ 428 h 428"/>
              <a:gd name="T70" fmla="*/ 164 w 352"/>
              <a:gd name="T71" fmla="*/ 426 h 428"/>
              <a:gd name="T72" fmla="*/ 209 w 352"/>
              <a:gd name="T73" fmla="*/ 418 h 428"/>
              <a:gd name="T74" fmla="*/ 241 w 352"/>
              <a:gd name="T75" fmla="*/ 406 h 428"/>
              <a:gd name="T76" fmla="*/ 260 w 352"/>
              <a:gd name="T77" fmla="*/ 397 h 428"/>
              <a:gd name="T78" fmla="*/ 264 w 352"/>
              <a:gd name="T79" fmla="*/ 396 h 428"/>
              <a:gd name="T80" fmla="*/ 270 w 352"/>
              <a:gd name="T81" fmla="*/ 398 h 428"/>
              <a:gd name="T82" fmla="*/ 284 w 352"/>
              <a:gd name="T83" fmla="*/ 404 h 428"/>
              <a:gd name="T84" fmla="*/ 311 w 352"/>
              <a:gd name="T85" fmla="*/ 411 h 428"/>
              <a:gd name="T86" fmla="*/ 352 w 352"/>
              <a:gd name="T87" fmla="*/ 413 h 428"/>
              <a:gd name="T88" fmla="*/ 352 w 352"/>
              <a:gd name="T89" fmla="*/ 122 h 428"/>
              <a:gd name="T90" fmla="*/ 350 w 352"/>
              <a:gd name="T91" fmla="*/ 92 h 428"/>
              <a:gd name="T92" fmla="*/ 343 w 352"/>
              <a:gd name="T93" fmla="*/ 66 h 428"/>
              <a:gd name="T94" fmla="*/ 331 w 352"/>
              <a:gd name="T95" fmla="*/ 45 h 428"/>
              <a:gd name="T96" fmla="*/ 314 w 352"/>
              <a:gd name="T97" fmla="*/ 29 h 428"/>
              <a:gd name="T98" fmla="*/ 293 w 352"/>
              <a:gd name="T99" fmla="*/ 15 h 428"/>
              <a:gd name="T100" fmla="*/ 268 w 352"/>
              <a:gd name="T101" fmla="*/ 7 h 428"/>
              <a:gd name="T102" fmla="*/ 238 w 352"/>
              <a:gd name="T103" fmla="*/ 2 h 428"/>
              <a:gd name="T104" fmla="*/ 205 w 352"/>
              <a:gd name="T105" fmla="*/ 0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52" h="428">
                <a:moveTo>
                  <a:pt x="205" y="0"/>
                </a:moveTo>
                <a:lnTo>
                  <a:pt x="205" y="0"/>
                </a:lnTo>
                <a:lnTo>
                  <a:pt x="176" y="1"/>
                </a:lnTo>
                <a:lnTo>
                  <a:pt x="147" y="4"/>
                </a:lnTo>
                <a:lnTo>
                  <a:pt x="121" y="7"/>
                </a:lnTo>
                <a:lnTo>
                  <a:pt x="97" y="12"/>
                </a:lnTo>
                <a:lnTo>
                  <a:pt x="77" y="17"/>
                </a:lnTo>
                <a:lnTo>
                  <a:pt x="58" y="23"/>
                </a:lnTo>
                <a:lnTo>
                  <a:pt x="44" y="28"/>
                </a:lnTo>
                <a:lnTo>
                  <a:pt x="33" y="33"/>
                </a:lnTo>
                <a:lnTo>
                  <a:pt x="52" y="102"/>
                </a:lnTo>
                <a:lnTo>
                  <a:pt x="52" y="102"/>
                </a:lnTo>
                <a:lnTo>
                  <a:pt x="63" y="98"/>
                </a:lnTo>
                <a:lnTo>
                  <a:pt x="92" y="91"/>
                </a:lnTo>
                <a:lnTo>
                  <a:pt x="111" y="86"/>
                </a:lnTo>
                <a:lnTo>
                  <a:pt x="133" y="82"/>
                </a:lnTo>
                <a:lnTo>
                  <a:pt x="155" y="80"/>
                </a:lnTo>
                <a:lnTo>
                  <a:pt x="179" y="79"/>
                </a:lnTo>
                <a:lnTo>
                  <a:pt x="179" y="79"/>
                </a:lnTo>
                <a:lnTo>
                  <a:pt x="197" y="80"/>
                </a:lnTo>
                <a:lnTo>
                  <a:pt x="214" y="82"/>
                </a:lnTo>
                <a:lnTo>
                  <a:pt x="221" y="84"/>
                </a:lnTo>
                <a:lnTo>
                  <a:pt x="228" y="86"/>
                </a:lnTo>
                <a:lnTo>
                  <a:pt x="234" y="90"/>
                </a:lnTo>
                <a:lnTo>
                  <a:pt x="239" y="94"/>
                </a:lnTo>
                <a:lnTo>
                  <a:pt x="244" y="98"/>
                </a:lnTo>
                <a:lnTo>
                  <a:pt x="248" y="102"/>
                </a:lnTo>
                <a:lnTo>
                  <a:pt x="251" y="108"/>
                </a:lnTo>
                <a:lnTo>
                  <a:pt x="254" y="114"/>
                </a:lnTo>
                <a:lnTo>
                  <a:pt x="256" y="120"/>
                </a:lnTo>
                <a:lnTo>
                  <a:pt x="258" y="129"/>
                </a:lnTo>
                <a:lnTo>
                  <a:pt x="260" y="137"/>
                </a:lnTo>
                <a:lnTo>
                  <a:pt x="260" y="146"/>
                </a:lnTo>
                <a:lnTo>
                  <a:pt x="260" y="176"/>
                </a:lnTo>
                <a:lnTo>
                  <a:pt x="179" y="176"/>
                </a:lnTo>
                <a:lnTo>
                  <a:pt x="179" y="176"/>
                </a:lnTo>
                <a:lnTo>
                  <a:pt x="154" y="177"/>
                </a:lnTo>
                <a:lnTo>
                  <a:pt x="132" y="179"/>
                </a:lnTo>
                <a:lnTo>
                  <a:pt x="111" y="182"/>
                </a:lnTo>
                <a:lnTo>
                  <a:pt x="93" y="187"/>
                </a:lnTo>
                <a:lnTo>
                  <a:pt x="77" y="192"/>
                </a:lnTo>
                <a:lnTo>
                  <a:pt x="61" y="200"/>
                </a:lnTo>
                <a:lnTo>
                  <a:pt x="49" y="207"/>
                </a:lnTo>
                <a:lnTo>
                  <a:pt x="38" y="216"/>
                </a:lnTo>
                <a:lnTo>
                  <a:pt x="29" y="225"/>
                </a:lnTo>
                <a:lnTo>
                  <a:pt x="20" y="236"/>
                </a:lnTo>
                <a:lnTo>
                  <a:pt x="14" y="246"/>
                </a:lnTo>
                <a:lnTo>
                  <a:pt x="9" y="257"/>
                </a:lnTo>
                <a:lnTo>
                  <a:pt x="5" y="270"/>
                </a:lnTo>
                <a:lnTo>
                  <a:pt x="2" y="282"/>
                </a:lnTo>
                <a:lnTo>
                  <a:pt x="1" y="294"/>
                </a:lnTo>
                <a:lnTo>
                  <a:pt x="0" y="307"/>
                </a:lnTo>
                <a:lnTo>
                  <a:pt x="0" y="307"/>
                </a:lnTo>
                <a:lnTo>
                  <a:pt x="1" y="323"/>
                </a:lnTo>
                <a:lnTo>
                  <a:pt x="3" y="338"/>
                </a:lnTo>
                <a:lnTo>
                  <a:pt x="7" y="352"/>
                </a:lnTo>
                <a:lnTo>
                  <a:pt x="12" y="364"/>
                </a:lnTo>
                <a:lnTo>
                  <a:pt x="19" y="376"/>
                </a:lnTo>
                <a:lnTo>
                  <a:pt x="27" y="386"/>
                </a:lnTo>
                <a:lnTo>
                  <a:pt x="35" y="394"/>
                </a:lnTo>
                <a:lnTo>
                  <a:pt x="45" y="401"/>
                </a:lnTo>
                <a:lnTo>
                  <a:pt x="54" y="408"/>
                </a:lnTo>
                <a:lnTo>
                  <a:pt x="65" y="414"/>
                </a:lnTo>
                <a:lnTo>
                  <a:pt x="77" y="418"/>
                </a:lnTo>
                <a:lnTo>
                  <a:pt x="89" y="422"/>
                </a:lnTo>
                <a:lnTo>
                  <a:pt x="101" y="424"/>
                </a:lnTo>
                <a:lnTo>
                  <a:pt x="113" y="426"/>
                </a:lnTo>
                <a:lnTo>
                  <a:pt x="126" y="427"/>
                </a:lnTo>
                <a:lnTo>
                  <a:pt x="138" y="428"/>
                </a:lnTo>
                <a:lnTo>
                  <a:pt x="138" y="428"/>
                </a:lnTo>
                <a:lnTo>
                  <a:pt x="151" y="427"/>
                </a:lnTo>
                <a:lnTo>
                  <a:pt x="164" y="426"/>
                </a:lnTo>
                <a:lnTo>
                  <a:pt x="189" y="423"/>
                </a:lnTo>
                <a:lnTo>
                  <a:pt x="209" y="418"/>
                </a:lnTo>
                <a:lnTo>
                  <a:pt x="227" y="412"/>
                </a:lnTo>
                <a:lnTo>
                  <a:pt x="241" y="406"/>
                </a:lnTo>
                <a:lnTo>
                  <a:pt x="252" y="401"/>
                </a:lnTo>
                <a:lnTo>
                  <a:pt x="260" y="397"/>
                </a:lnTo>
                <a:lnTo>
                  <a:pt x="264" y="396"/>
                </a:lnTo>
                <a:lnTo>
                  <a:pt x="264" y="396"/>
                </a:lnTo>
                <a:lnTo>
                  <a:pt x="266" y="397"/>
                </a:lnTo>
                <a:lnTo>
                  <a:pt x="270" y="398"/>
                </a:lnTo>
                <a:lnTo>
                  <a:pt x="276" y="401"/>
                </a:lnTo>
                <a:lnTo>
                  <a:pt x="284" y="404"/>
                </a:lnTo>
                <a:lnTo>
                  <a:pt x="295" y="407"/>
                </a:lnTo>
                <a:lnTo>
                  <a:pt x="311" y="411"/>
                </a:lnTo>
                <a:lnTo>
                  <a:pt x="329" y="412"/>
                </a:lnTo>
                <a:lnTo>
                  <a:pt x="352" y="413"/>
                </a:lnTo>
                <a:lnTo>
                  <a:pt x="352" y="122"/>
                </a:lnTo>
                <a:lnTo>
                  <a:pt x="352" y="122"/>
                </a:lnTo>
                <a:lnTo>
                  <a:pt x="352" y="106"/>
                </a:lnTo>
                <a:lnTo>
                  <a:pt x="350" y="92"/>
                </a:lnTo>
                <a:lnTo>
                  <a:pt x="347" y="78"/>
                </a:lnTo>
                <a:lnTo>
                  <a:pt x="343" y="66"/>
                </a:lnTo>
                <a:lnTo>
                  <a:pt x="337" y="56"/>
                </a:lnTo>
                <a:lnTo>
                  <a:pt x="331" y="45"/>
                </a:lnTo>
                <a:lnTo>
                  <a:pt x="323" y="36"/>
                </a:lnTo>
                <a:lnTo>
                  <a:pt x="314" y="29"/>
                </a:lnTo>
                <a:lnTo>
                  <a:pt x="304" y="22"/>
                </a:lnTo>
                <a:lnTo>
                  <a:pt x="293" y="15"/>
                </a:lnTo>
                <a:lnTo>
                  <a:pt x="281" y="11"/>
                </a:lnTo>
                <a:lnTo>
                  <a:pt x="268" y="7"/>
                </a:lnTo>
                <a:lnTo>
                  <a:pt x="253" y="4"/>
                </a:lnTo>
                <a:lnTo>
                  <a:pt x="238" y="2"/>
                </a:lnTo>
                <a:lnTo>
                  <a:pt x="223" y="1"/>
                </a:lnTo>
                <a:lnTo>
                  <a:pt x="205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4" name="Freeform 10"/>
          <p:cNvSpPr>
            <a:spLocks/>
          </p:cNvSpPr>
          <p:nvPr/>
        </p:nvSpPr>
        <p:spPr bwMode="auto">
          <a:xfrm>
            <a:off x="8132437" y="6583115"/>
            <a:ext cx="54174" cy="48722"/>
          </a:xfrm>
          <a:custGeom>
            <a:avLst/>
            <a:gdLst>
              <a:gd name="T0" fmla="*/ 171 w 171"/>
              <a:gd name="T1" fmla="*/ 93 h 116"/>
              <a:gd name="T2" fmla="*/ 171 w 171"/>
              <a:gd name="T3" fmla="*/ 93 h 116"/>
              <a:gd name="T4" fmla="*/ 152 w 171"/>
              <a:gd name="T5" fmla="*/ 99 h 116"/>
              <a:gd name="T6" fmla="*/ 125 w 171"/>
              <a:gd name="T7" fmla="*/ 108 h 116"/>
              <a:gd name="T8" fmla="*/ 111 w 171"/>
              <a:gd name="T9" fmla="*/ 111 h 116"/>
              <a:gd name="T10" fmla="*/ 95 w 171"/>
              <a:gd name="T11" fmla="*/ 114 h 116"/>
              <a:gd name="T12" fmla="*/ 81 w 171"/>
              <a:gd name="T13" fmla="*/ 116 h 116"/>
              <a:gd name="T14" fmla="*/ 68 w 171"/>
              <a:gd name="T15" fmla="*/ 116 h 116"/>
              <a:gd name="T16" fmla="*/ 68 w 171"/>
              <a:gd name="T17" fmla="*/ 116 h 116"/>
              <a:gd name="T18" fmla="*/ 54 w 171"/>
              <a:gd name="T19" fmla="*/ 116 h 116"/>
              <a:gd name="T20" fmla="*/ 41 w 171"/>
              <a:gd name="T21" fmla="*/ 114 h 116"/>
              <a:gd name="T22" fmla="*/ 29 w 171"/>
              <a:gd name="T23" fmla="*/ 110 h 116"/>
              <a:gd name="T24" fmla="*/ 24 w 171"/>
              <a:gd name="T25" fmla="*/ 108 h 116"/>
              <a:gd name="T26" fmla="*/ 20 w 171"/>
              <a:gd name="T27" fmla="*/ 105 h 116"/>
              <a:gd name="T28" fmla="*/ 16 w 171"/>
              <a:gd name="T29" fmla="*/ 101 h 116"/>
              <a:gd name="T30" fmla="*/ 12 w 171"/>
              <a:gd name="T31" fmla="*/ 97 h 116"/>
              <a:gd name="T32" fmla="*/ 9 w 171"/>
              <a:gd name="T33" fmla="*/ 92 h 116"/>
              <a:gd name="T34" fmla="*/ 6 w 171"/>
              <a:gd name="T35" fmla="*/ 87 h 116"/>
              <a:gd name="T36" fmla="*/ 3 w 171"/>
              <a:gd name="T37" fmla="*/ 82 h 116"/>
              <a:gd name="T38" fmla="*/ 1 w 171"/>
              <a:gd name="T39" fmla="*/ 76 h 116"/>
              <a:gd name="T40" fmla="*/ 0 w 171"/>
              <a:gd name="T41" fmla="*/ 69 h 116"/>
              <a:gd name="T42" fmla="*/ 0 w 171"/>
              <a:gd name="T43" fmla="*/ 61 h 116"/>
              <a:gd name="T44" fmla="*/ 0 w 171"/>
              <a:gd name="T45" fmla="*/ 61 h 116"/>
              <a:gd name="T46" fmla="*/ 1 w 171"/>
              <a:gd name="T47" fmla="*/ 49 h 116"/>
              <a:gd name="T48" fmla="*/ 4 w 171"/>
              <a:gd name="T49" fmla="*/ 38 h 116"/>
              <a:gd name="T50" fmla="*/ 7 w 171"/>
              <a:gd name="T51" fmla="*/ 33 h 116"/>
              <a:gd name="T52" fmla="*/ 10 w 171"/>
              <a:gd name="T53" fmla="*/ 27 h 116"/>
              <a:gd name="T54" fmla="*/ 13 w 171"/>
              <a:gd name="T55" fmla="*/ 23 h 116"/>
              <a:gd name="T56" fmla="*/ 17 w 171"/>
              <a:gd name="T57" fmla="*/ 19 h 116"/>
              <a:gd name="T58" fmla="*/ 22 w 171"/>
              <a:gd name="T59" fmla="*/ 16 h 116"/>
              <a:gd name="T60" fmla="*/ 27 w 171"/>
              <a:gd name="T61" fmla="*/ 13 h 116"/>
              <a:gd name="T62" fmla="*/ 33 w 171"/>
              <a:gd name="T63" fmla="*/ 10 h 116"/>
              <a:gd name="T64" fmla="*/ 39 w 171"/>
              <a:gd name="T65" fmla="*/ 8 h 116"/>
              <a:gd name="T66" fmla="*/ 55 w 171"/>
              <a:gd name="T67" fmla="*/ 5 h 116"/>
              <a:gd name="T68" fmla="*/ 73 w 171"/>
              <a:gd name="T69" fmla="*/ 3 h 116"/>
              <a:gd name="T70" fmla="*/ 171 w 171"/>
              <a:gd name="T71" fmla="*/ 0 h 116"/>
              <a:gd name="T72" fmla="*/ 171 w 171"/>
              <a:gd name="T73" fmla="*/ 93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71" h="116">
                <a:moveTo>
                  <a:pt x="171" y="93"/>
                </a:moveTo>
                <a:lnTo>
                  <a:pt x="171" y="93"/>
                </a:lnTo>
                <a:lnTo>
                  <a:pt x="152" y="99"/>
                </a:lnTo>
                <a:lnTo>
                  <a:pt x="125" y="108"/>
                </a:lnTo>
                <a:lnTo>
                  <a:pt x="111" y="111"/>
                </a:lnTo>
                <a:lnTo>
                  <a:pt x="95" y="114"/>
                </a:lnTo>
                <a:lnTo>
                  <a:pt x="81" y="116"/>
                </a:lnTo>
                <a:lnTo>
                  <a:pt x="68" y="116"/>
                </a:lnTo>
                <a:lnTo>
                  <a:pt x="68" y="116"/>
                </a:lnTo>
                <a:lnTo>
                  <a:pt x="54" y="116"/>
                </a:lnTo>
                <a:lnTo>
                  <a:pt x="41" y="114"/>
                </a:lnTo>
                <a:lnTo>
                  <a:pt x="29" y="110"/>
                </a:lnTo>
                <a:lnTo>
                  <a:pt x="24" y="108"/>
                </a:lnTo>
                <a:lnTo>
                  <a:pt x="20" y="105"/>
                </a:lnTo>
                <a:lnTo>
                  <a:pt x="16" y="101"/>
                </a:lnTo>
                <a:lnTo>
                  <a:pt x="12" y="97"/>
                </a:lnTo>
                <a:lnTo>
                  <a:pt x="9" y="92"/>
                </a:lnTo>
                <a:lnTo>
                  <a:pt x="6" y="87"/>
                </a:lnTo>
                <a:lnTo>
                  <a:pt x="3" y="82"/>
                </a:lnTo>
                <a:lnTo>
                  <a:pt x="1" y="76"/>
                </a:lnTo>
                <a:lnTo>
                  <a:pt x="0" y="69"/>
                </a:lnTo>
                <a:lnTo>
                  <a:pt x="0" y="61"/>
                </a:lnTo>
                <a:lnTo>
                  <a:pt x="0" y="61"/>
                </a:lnTo>
                <a:lnTo>
                  <a:pt x="1" y="49"/>
                </a:lnTo>
                <a:lnTo>
                  <a:pt x="4" y="38"/>
                </a:lnTo>
                <a:lnTo>
                  <a:pt x="7" y="33"/>
                </a:lnTo>
                <a:lnTo>
                  <a:pt x="10" y="27"/>
                </a:lnTo>
                <a:lnTo>
                  <a:pt x="13" y="23"/>
                </a:lnTo>
                <a:lnTo>
                  <a:pt x="17" y="19"/>
                </a:lnTo>
                <a:lnTo>
                  <a:pt x="22" y="16"/>
                </a:lnTo>
                <a:lnTo>
                  <a:pt x="27" y="13"/>
                </a:lnTo>
                <a:lnTo>
                  <a:pt x="33" y="10"/>
                </a:lnTo>
                <a:lnTo>
                  <a:pt x="39" y="8"/>
                </a:lnTo>
                <a:lnTo>
                  <a:pt x="55" y="5"/>
                </a:lnTo>
                <a:lnTo>
                  <a:pt x="73" y="3"/>
                </a:lnTo>
                <a:lnTo>
                  <a:pt x="171" y="0"/>
                </a:lnTo>
                <a:lnTo>
                  <a:pt x="171" y="9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5" name="Freeform 11"/>
          <p:cNvSpPr>
            <a:spLocks/>
          </p:cNvSpPr>
          <p:nvPr/>
        </p:nvSpPr>
        <p:spPr bwMode="auto">
          <a:xfrm>
            <a:off x="8104720" y="6482312"/>
            <a:ext cx="110867" cy="179767"/>
          </a:xfrm>
          <a:custGeom>
            <a:avLst/>
            <a:gdLst>
              <a:gd name="T0" fmla="*/ 206 w 353"/>
              <a:gd name="T1" fmla="*/ 0 h 428"/>
              <a:gd name="T2" fmla="*/ 148 w 353"/>
              <a:gd name="T3" fmla="*/ 4 h 428"/>
              <a:gd name="T4" fmla="*/ 98 w 353"/>
              <a:gd name="T5" fmla="*/ 12 h 428"/>
              <a:gd name="T6" fmla="*/ 59 w 353"/>
              <a:gd name="T7" fmla="*/ 23 h 428"/>
              <a:gd name="T8" fmla="*/ 33 w 353"/>
              <a:gd name="T9" fmla="*/ 33 h 428"/>
              <a:gd name="T10" fmla="*/ 53 w 353"/>
              <a:gd name="T11" fmla="*/ 102 h 428"/>
              <a:gd name="T12" fmla="*/ 92 w 353"/>
              <a:gd name="T13" fmla="*/ 91 h 428"/>
              <a:gd name="T14" fmla="*/ 132 w 353"/>
              <a:gd name="T15" fmla="*/ 82 h 428"/>
              <a:gd name="T16" fmla="*/ 178 w 353"/>
              <a:gd name="T17" fmla="*/ 79 h 428"/>
              <a:gd name="T18" fmla="*/ 198 w 353"/>
              <a:gd name="T19" fmla="*/ 80 h 428"/>
              <a:gd name="T20" fmla="*/ 221 w 353"/>
              <a:gd name="T21" fmla="*/ 84 h 428"/>
              <a:gd name="T22" fmla="*/ 233 w 353"/>
              <a:gd name="T23" fmla="*/ 90 h 428"/>
              <a:gd name="T24" fmla="*/ 244 w 353"/>
              <a:gd name="T25" fmla="*/ 98 h 428"/>
              <a:gd name="T26" fmla="*/ 252 w 353"/>
              <a:gd name="T27" fmla="*/ 108 h 428"/>
              <a:gd name="T28" fmla="*/ 257 w 353"/>
              <a:gd name="T29" fmla="*/ 120 h 428"/>
              <a:gd name="T30" fmla="*/ 259 w 353"/>
              <a:gd name="T31" fmla="*/ 137 h 428"/>
              <a:gd name="T32" fmla="*/ 260 w 353"/>
              <a:gd name="T33" fmla="*/ 176 h 428"/>
              <a:gd name="T34" fmla="*/ 178 w 353"/>
              <a:gd name="T35" fmla="*/ 176 h 428"/>
              <a:gd name="T36" fmla="*/ 131 w 353"/>
              <a:gd name="T37" fmla="*/ 179 h 428"/>
              <a:gd name="T38" fmla="*/ 92 w 353"/>
              <a:gd name="T39" fmla="*/ 187 h 428"/>
              <a:gd name="T40" fmla="*/ 62 w 353"/>
              <a:gd name="T41" fmla="*/ 200 h 428"/>
              <a:gd name="T42" fmla="*/ 38 w 353"/>
              <a:gd name="T43" fmla="*/ 216 h 428"/>
              <a:gd name="T44" fmla="*/ 21 w 353"/>
              <a:gd name="T45" fmla="*/ 236 h 428"/>
              <a:gd name="T46" fmla="*/ 9 w 353"/>
              <a:gd name="T47" fmla="*/ 257 h 428"/>
              <a:gd name="T48" fmla="*/ 3 w 353"/>
              <a:gd name="T49" fmla="*/ 282 h 428"/>
              <a:gd name="T50" fmla="*/ 0 w 353"/>
              <a:gd name="T51" fmla="*/ 307 h 428"/>
              <a:gd name="T52" fmla="*/ 2 w 353"/>
              <a:gd name="T53" fmla="*/ 323 h 428"/>
              <a:gd name="T54" fmla="*/ 8 w 353"/>
              <a:gd name="T55" fmla="*/ 352 h 428"/>
              <a:gd name="T56" fmla="*/ 19 w 353"/>
              <a:gd name="T57" fmla="*/ 376 h 428"/>
              <a:gd name="T58" fmla="*/ 35 w 353"/>
              <a:gd name="T59" fmla="*/ 394 h 428"/>
              <a:gd name="T60" fmla="*/ 55 w 353"/>
              <a:gd name="T61" fmla="*/ 408 h 428"/>
              <a:gd name="T62" fmla="*/ 77 w 353"/>
              <a:gd name="T63" fmla="*/ 418 h 428"/>
              <a:gd name="T64" fmla="*/ 101 w 353"/>
              <a:gd name="T65" fmla="*/ 424 h 428"/>
              <a:gd name="T66" fmla="*/ 125 w 353"/>
              <a:gd name="T67" fmla="*/ 427 h 428"/>
              <a:gd name="T68" fmla="*/ 137 w 353"/>
              <a:gd name="T69" fmla="*/ 428 h 428"/>
              <a:gd name="T70" fmla="*/ 165 w 353"/>
              <a:gd name="T71" fmla="*/ 426 h 428"/>
              <a:gd name="T72" fmla="*/ 210 w 353"/>
              <a:gd name="T73" fmla="*/ 418 h 428"/>
              <a:gd name="T74" fmla="*/ 242 w 353"/>
              <a:gd name="T75" fmla="*/ 406 h 428"/>
              <a:gd name="T76" fmla="*/ 260 w 353"/>
              <a:gd name="T77" fmla="*/ 397 h 428"/>
              <a:gd name="T78" fmla="*/ 264 w 353"/>
              <a:gd name="T79" fmla="*/ 396 h 428"/>
              <a:gd name="T80" fmla="*/ 269 w 353"/>
              <a:gd name="T81" fmla="*/ 398 h 428"/>
              <a:gd name="T82" fmla="*/ 283 w 353"/>
              <a:gd name="T83" fmla="*/ 404 h 428"/>
              <a:gd name="T84" fmla="*/ 310 w 353"/>
              <a:gd name="T85" fmla="*/ 411 h 428"/>
              <a:gd name="T86" fmla="*/ 353 w 353"/>
              <a:gd name="T87" fmla="*/ 413 h 428"/>
              <a:gd name="T88" fmla="*/ 353 w 353"/>
              <a:gd name="T89" fmla="*/ 122 h 428"/>
              <a:gd name="T90" fmla="*/ 351 w 353"/>
              <a:gd name="T91" fmla="*/ 92 h 428"/>
              <a:gd name="T92" fmla="*/ 343 w 353"/>
              <a:gd name="T93" fmla="*/ 66 h 428"/>
              <a:gd name="T94" fmla="*/ 330 w 353"/>
              <a:gd name="T95" fmla="*/ 45 h 428"/>
              <a:gd name="T96" fmla="*/ 314 w 353"/>
              <a:gd name="T97" fmla="*/ 29 h 428"/>
              <a:gd name="T98" fmla="*/ 293 w 353"/>
              <a:gd name="T99" fmla="*/ 15 h 428"/>
              <a:gd name="T100" fmla="*/ 268 w 353"/>
              <a:gd name="T101" fmla="*/ 7 h 428"/>
              <a:gd name="T102" fmla="*/ 239 w 353"/>
              <a:gd name="T103" fmla="*/ 2 h 428"/>
              <a:gd name="T104" fmla="*/ 206 w 353"/>
              <a:gd name="T105" fmla="*/ 0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53" h="428">
                <a:moveTo>
                  <a:pt x="206" y="0"/>
                </a:moveTo>
                <a:lnTo>
                  <a:pt x="206" y="0"/>
                </a:lnTo>
                <a:lnTo>
                  <a:pt x="175" y="1"/>
                </a:lnTo>
                <a:lnTo>
                  <a:pt x="148" y="4"/>
                </a:lnTo>
                <a:lnTo>
                  <a:pt x="121" y="7"/>
                </a:lnTo>
                <a:lnTo>
                  <a:pt x="98" y="12"/>
                </a:lnTo>
                <a:lnTo>
                  <a:pt x="77" y="17"/>
                </a:lnTo>
                <a:lnTo>
                  <a:pt x="59" y="23"/>
                </a:lnTo>
                <a:lnTo>
                  <a:pt x="44" y="28"/>
                </a:lnTo>
                <a:lnTo>
                  <a:pt x="33" y="33"/>
                </a:lnTo>
                <a:lnTo>
                  <a:pt x="53" y="102"/>
                </a:lnTo>
                <a:lnTo>
                  <a:pt x="53" y="102"/>
                </a:lnTo>
                <a:lnTo>
                  <a:pt x="64" y="98"/>
                </a:lnTo>
                <a:lnTo>
                  <a:pt x="92" y="91"/>
                </a:lnTo>
                <a:lnTo>
                  <a:pt x="111" y="86"/>
                </a:lnTo>
                <a:lnTo>
                  <a:pt x="132" y="82"/>
                </a:lnTo>
                <a:lnTo>
                  <a:pt x="155" y="80"/>
                </a:lnTo>
                <a:lnTo>
                  <a:pt x="178" y="79"/>
                </a:lnTo>
                <a:lnTo>
                  <a:pt x="178" y="79"/>
                </a:lnTo>
                <a:lnTo>
                  <a:pt x="198" y="80"/>
                </a:lnTo>
                <a:lnTo>
                  <a:pt x="214" y="82"/>
                </a:lnTo>
                <a:lnTo>
                  <a:pt x="221" y="84"/>
                </a:lnTo>
                <a:lnTo>
                  <a:pt x="227" y="86"/>
                </a:lnTo>
                <a:lnTo>
                  <a:pt x="233" y="90"/>
                </a:lnTo>
                <a:lnTo>
                  <a:pt x="240" y="94"/>
                </a:lnTo>
                <a:lnTo>
                  <a:pt x="244" y="98"/>
                </a:lnTo>
                <a:lnTo>
                  <a:pt x="248" y="102"/>
                </a:lnTo>
                <a:lnTo>
                  <a:pt x="252" y="108"/>
                </a:lnTo>
                <a:lnTo>
                  <a:pt x="255" y="114"/>
                </a:lnTo>
                <a:lnTo>
                  <a:pt x="257" y="120"/>
                </a:lnTo>
                <a:lnTo>
                  <a:pt x="258" y="129"/>
                </a:lnTo>
                <a:lnTo>
                  <a:pt x="259" y="137"/>
                </a:lnTo>
                <a:lnTo>
                  <a:pt x="260" y="146"/>
                </a:lnTo>
                <a:lnTo>
                  <a:pt x="260" y="176"/>
                </a:lnTo>
                <a:lnTo>
                  <a:pt x="178" y="176"/>
                </a:lnTo>
                <a:lnTo>
                  <a:pt x="178" y="176"/>
                </a:lnTo>
                <a:lnTo>
                  <a:pt x="154" y="177"/>
                </a:lnTo>
                <a:lnTo>
                  <a:pt x="131" y="179"/>
                </a:lnTo>
                <a:lnTo>
                  <a:pt x="111" y="182"/>
                </a:lnTo>
                <a:lnTo>
                  <a:pt x="92" y="187"/>
                </a:lnTo>
                <a:lnTo>
                  <a:pt x="76" y="192"/>
                </a:lnTo>
                <a:lnTo>
                  <a:pt x="62" y="200"/>
                </a:lnTo>
                <a:lnTo>
                  <a:pt x="50" y="207"/>
                </a:lnTo>
                <a:lnTo>
                  <a:pt x="38" y="216"/>
                </a:lnTo>
                <a:lnTo>
                  <a:pt x="28" y="225"/>
                </a:lnTo>
                <a:lnTo>
                  <a:pt x="21" y="236"/>
                </a:lnTo>
                <a:lnTo>
                  <a:pt x="14" y="246"/>
                </a:lnTo>
                <a:lnTo>
                  <a:pt x="9" y="257"/>
                </a:lnTo>
                <a:lnTo>
                  <a:pt x="6" y="270"/>
                </a:lnTo>
                <a:lnTo>
                  <a:pt x="3" y="282"/>
                </a:lnTo>
                <a:lnTo>
                  <a:pt x="0" y="294"/>
                </a:lnTo>
                <a:lnTo>
                  <a:pt x="0" y="307"/>
                </a:lnTo>
                <a:lnTo>
                  <a:pt x="0" y="307"/>
                </a:lnTo>
                <a:lnTo>
                  <a:pt x="2" y="323"/>
                </a:lnTo>
                <a:lnTo>
                  <a:pt x="4" y="338"/>
                </a:lnTo>
                <a:lnTo>
                  <a:pt x="8" y="352"/>
                </a:lnTo>
                <a:lnTo>
                  <a:pt x="13" y="364"/>
                </a:lnTo>
                <a:lnTo>
                  <a:pt x="19" y="376"/>
                </a:lnTo>
                <a:lnTo>
                  <a:pt x="27" y="386"/>
                </a:lnTo>
                <a:lnTo>
                  <a:pt x="35" y="394"/>
                </a:lnTo>
                <a:lnTo>
                  <a:pt x="44" y="401"/>
                </a:lnTo>
                <a:lnTo>
                  <a:pt x="55" y="408"/>
                </a:lnTo>
                <a:lnTo>
                  <a:pt x="66" y="414"/>
                </a:lnTo>
                <a:lnTo>
                  <a:pt x="77" y="418"/>
                </a:lnTo>
                <a:lnTo>
                  <a:pt x="88" y="422"/>
                </a:lnTo>
                <a:lnTo>
                  <a:pt x="101" y="424"/>
                </a:lnTo>
                <a:lnTo>
                  <a:pt x="113" y="426"/>
                </a:lnTo>
                <a:lnTo>
                  <a:pt x="125" y="427"/>
                </a:lnTo>
                <a:lnTo>
                  <a:pt x="137" y="428"/>
                </a:lnTo>
                <a:lnTo>
                  <a:pt x="137" y="428"/>
                </a:lnTo>
                <a:lnTo>
                  <a:pt x="152" y="427"/>
                </a:lnTo>
                <a:lnTo>
                  <a:pt x="165" y="426"/>
                </a:lnTo>
                <a:lnTo>
                  <a:pt x="188" y="423"/>
                </a:lnTo>
                <a:lnTo>
                  <a:pt x="210" y="418"/>
                </a:lnTo>
                <a:lnTo>
                  <a:pt x="227" y="412"/>
                </a:lnTo>
                <a:lnTo>
                  <a:pt x="242" y="406"/>
                </a:lnTo>
                <a:lnTo>
                  <a:pt x="253" y="401"/>
                </a:lnTo>
                <a:lnTo>
                  <a:pt x="260" y="397"/>
                </a:lnTo>
                <a:lnTo>
                  <a:pt x="264" y="396"/>
                </a:lnTo>
                <a:lnTo>
                  <a:pt x="264" y="396"/>
                </a:lnTo>
                <a:lnTo>
                  <a:pt x="266" y="397"/>
                </a:lnTo>
                <a:lnTo>
                  <a:pt x="269" y="398"/>
                </a:lnTo>
                <a:lnTo>
                  <a:pt x="275" y="401"/>
                </a:lnTo>
                <a:lnTo>
                  <a:pt x="283" y="404"/>
                </a:lnTo>
                <a:lnTo>
                  <a:pt x="296" y="407"/>
                </a:lnTo>
                <a:lnTo>
                  <a:pt x="310" y="411"/>
                </a:lnTo>
                <a:lnTo>
                  <a:pt x="329" y="412"/>
                </a:lnTo>
                <a:lnTo>
                  <a:pt x="353" y="413"/>
                </a:lnTo>
                <a:lnTo>
                  <a:pt x="353" y="122"/>
                </a:lnTo>
                <a:lnTo>
                  <a:pt x="353" y="122"/>
                </a:lnTo>
                <a:lnTo>
                  <a:pt x="353" y="106"/>
                </a:lnTo>
                <a:lnTo>
                  <a:pt x="351" y="92"/>
                </a:lnTo>
                <a:lnTo>
                  <a:pt x="348" y="78"/>
                </a:lnTo>
                <a:lnTo>
                  <a:pt x="343" y="66"/>
                </a:lnTo>
                <a:lnTo>
                  <a:pt x="338" y="56"/>
                </a:lnTo>
                <a:lnTo>
                  <a:pt x="330" y="45"/>
                </a:lnTo>
                <a:lnTo>
                  <a:pt x="323" y="36"/>
                </a:lnTo>
                <a:lnTo>
                  <a:pt x="314" y="29"/>
                </a:lnTo>
                <a:lnTo>
                  <a:pt x="304" y="22"/>
                </a:lnTo>
                <a:lnTo>
                  <a:pt x="293" y="15"/>
                </a:lnTo>
                <a:lnTo>
                  <a:pt x="281" y="11"/>
                </a:lnTo>
                <a:lnTo>
                  <a:pt x="268" y="7"/>
                </a:lnTo>
                <a:lnTo>
                  <a:pt x="254" y="4"/>
                </a:lnTo>
                <a:lnTo>
                  <a:pt x="239" y="2"/>
                </a:lnTo>
                <a:lnTo>
                  <a:pt x="222" y="1"/>
                </a:lnTo>
                <a:lnTo>
                  <a:pt x="20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6" name="Freeform 12"/>
          <p:cNvSpPr>
            <a:spLocks/>
          </p:cNvSpPr>
          <p:nvPr/>
        </p:nvSpPr>
        <p:spPr bwMode="auto">
          <a:xfrm>
            <a:off x="8544407" y="6483993"/>
            <a:ext cx="117167" cy="178086"/>
          </a:xfrm>
          <a:custGeom>
            <a:avLst/>
            <a:gdLst>
              <a:gd name="T0" fmla="*/ 281 w 374"/>
              <a:gd name="T1" fmla="*/ 313 h 424"/>
              <a:gd name="T2" fmla="*/ 246 w 374"/>
              <a:gd name="T3" fmla="*/ 327 h 424"/>
              <a:gd name="T4" fmla="*/ 217 w 374"/>
              <a:gd name="T5" fmla="*/ 336 h 424"/>
              <a:gd name="T6" fmla="*/ 184 w 374"/>
              <a:gd name="T7" fmla="*/ 341 h 424"/>
              <a:gd name="T8" fmla="*/ 167 w 374"/>
              <a:gd name="T9" fmla="*/ 342 h 424"/>
              <a:gd name="T10" fmla="*/ 145 w 374"/>
              <a:gd name="T11" fmla="*/ 341 h 424"/>
              <a:gd name="T12" fmla="*/ 129 w 374"/>
              <a:gd name="T13" fmla="*/ 337 h 424"/>
              <a:gd name="T14" fmla="*/ 116 w 374"/>
              <a:gd name="T15" fmla="*/ 329 h 424"/>
              <a:gd name="T16" fmla="*/ 106 w 374"/>
              <a:gd name="T17" fmla="*/ 319 h 424"/>
              <a:gd name="T18" fmla="*/ 99 w 374"/>
              <a:gd name="T19" fmla="*/ 307 h 424"/>
              <a:gd name="T20" fmla="*/ 95 w 374"/>
              <a:gd name="T21" fmla="*/ 290 h 424"/>
              <a:gd name="T22" fmla="*/ 93 w 374"/>
              <a:gd name="T23" fmla="*/ 248 h 424"/>
              <a:gd name="T24" fmla="*/ 79 w 374"/>
              <a:gd name="T25" fmla="*/ 0 h 424"/>
              <a:gd name="T26" fmla="*/ 59 w 374"/>
              <a:gd name="T27" fmla="*/ 0 h 424"/>
              <a:gd name="T28" fmla="*/ 13 w 374"/>
              <a:gd name="T29" fmla="*/ 4 h 424"/>
              <a:gd name="T30" fmla="*/ 0 w 374"/>
              <a:gd name="T31" fmla="*/ 259 h 424"/>
              <a:gd name="T32" fmla="*/ 0 w 374"/>
              <a:gd name="T33" fmla="*/ 280 h 424"/>
              <a:gd name="T34" fmla="*/ 3 w 374"/>
              <a:gd name="T35" fmla="*/ 316 h 424"/>
              <a:gd name="T36" fmla="*/ 9 w 374"/>
              <a:gd name="T37" fmla="*/ 347 h 424"/>
              <a:gd name="T38" fmla="*/ 21 w 374"/>
              <a:gd name="T39" fmla="*/ 373 h 424"/>
              <a:gd name="T40" fmla="*/ 36 w 374"/>
              <a:gd name="T41" fmla="*/ 393 h 424"/>
              <a:gd name="T42" fmla="*/ 58 w 374"/>
              <a:gd name="T43" fmla="*/ 408 h 424"/>
              <a:gd name="T44" fmla="*/ 86 w 374"/>
              <a:gd name="T45" fmla="*/ 418 h 424"/>
              <a:gd name="T46" fmla="*/ 121 w 374"/>
              <a:gd name="T47" fmla="*/ 423 h 424"/>
              <a:gd name="T48" fmla="*/ 141 w 374"/>
              <a:gd name="T49" fmla="*/ 424 h 424"/>
              <a:gd name="T50" fmla="*/ 172 w 374"/>
              <a:gd name="T51" fmla="*/ 422 h 424"/>
              <a:gd name="T52" fmla="*/ 199 w 374"/>
              <a:gd name="T53" fmla="*/ 418 h 424"/>
              <a:gd name="T54" fmla="*/ 243 w 374"/>
              <a:gd name="T55" fmla="*/ 407 h 424"/>
              <a:gd name="T56" fmla="*/ 271 w 374"/>
              <a:gd name="T57" fmla="*/ 395 h 424"/>
              <a:gd name="T58" fmla="*/ 283 w 374"/>
              <a:gd name="T59" fmla="*/ 390 h 424"/>
              <a:gd name="T60" fmla="*/ 296 w 374"/>
              <a:gd name="T61" fmla="*/ 396 h 424"/>
              <a:gd name="T62" fmla="*/ 319 w 374"/>
              <a:gd name="T63" fmla="*/ 402 h 424"/>
              <a:gd name="T64" fmla="*/ 353 w 374"/>
              <a:gd name="T65" fmla="*/ 408 h 424"/>
              <a:gd name="T66" fmla="*/ 374 w 374"/>
              <a:gd name="T67" fmla="*/ 6 h 424"/>
              <a:gd name="T68" fmla="*/ 342 w 374"/>
              <a:gd name="T69" fmla="*/ 2 h 424"/>
              <a:gd name="T70" fmla="*/ 299 w 374"/>
              <a:gd name="T71" fmla="*/ 0 h 424"/>
              <a:gd name="T72" fmla="*/ 281 w 374"/>
              <a:gd name="T73" fmla="*/ 313 h 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74" h="424">
                <a:moveTo>
                  <a:pt x="281" y="313"/>
                </a:moveTo>
                <a:lnTo>
                  <a:pt x="281" y="313"/>
                </a:lnTo>
                <a:lnTo>
                  <a:pt x="260" y="322"/>
                </a:lnTo>
                <a:lnTo>
                  <a:pt x="246" y="327"/>
                </a:lnTo>
                <a:lnTo>
                  <a:pt x="232" y="331"/>
                </a:lnTo>
                <a:lnTo>
                  <a:pt x="217" y="336"/>
                </a:lnTo>
                <a:lnTo>
                  <a:pt x="200" y="339"/>
                </a:lnTo>
                <a:lnTo>
                  <a:pt x="184" y="341"/>
                </a:lnTo>
                <a:lnTo>
                  <a:pt x="167" y="342"/>
                </a:lnTo>
                <a:lnTo>
                  <a:pt x="167" y="342"/>
                </a:lnTo>
                <a:lnTo>
                  <a:pt x="155" y="342"/>
                </a:lnTo>
                <a:lnTo>
                  <a:pt x="145" y="341"/>
                </a:lnTo>
                <a:lnTo>
                  <a:pt x="136" y="339"/>
                </a:lnTo>
                <a:lnTo>
                  <a:pt x="129" y="337"/>
                </a:lnTo>
                <a:lnTo>
                  <a:pt x="122" y="333"/>
                </a:lnTo>
                <a:lnTo>
                  <a:pt x="116" y="329"/>
                </a:lnTo>
                <a:lnTo>
                  <a:pt x="110" y="324"/>
                </a:lnTo>
                <a:lnTo>
                  <a:pt x="106" y="319"/>
                </a:lnTo>
                <a:lnTo>
                  <a:pt x="102" y="313"/>
                </a:lnTo>
                <a:lnTo>
                  <a:pt x="99" y="307"/>
                </a:lnTo>
                <a:lnTo>
                  <a:pt x="97" y="298"/>
                </a:lnTo>
                <a:lnTo>
                  <a:pt x="95" y="290"/>
                </a:lnTo>
                <a:lnTo>
                  <a:pt x="93" y="271"/>
                </a:lnTo>
                <a:lnTo>
                  <a:pt x="93" y="248"/>
                </a:lnTo>
                <a:lnTo>
                  <a:pt x="93" y="0"/>
                </a:lnTo>
                <a:lnTo>
                  <a:pt x="79" y="0"/>
                </a:lnTo>
                <a:lnTo>
                  <a:pt x="79" y="0"/>
                </a:lnTo>
                <a:lnTo>
                  <a:pt x="59" y="0"/>
                </a:lnTo>
                <a:lnTo>
                  <a:pt x="36" y="2"/>
                </a:lnTo>
                <a:lnTo>
                  <a:pt x="13" y="4"/>
                </a:lnTo>
                <a:lnTo>
                  <a:pt x="0" y="6"/>
                </a:lnTo>
                <a:lnTo>
                  <a:pt x="0" y="259"/>
                </a:lnTo>
                <a:lnTo>
                  <a:pt x="0" y="259"/>
                </a:lnTo>
                <a:lnTo>
                  <a:pt x="0" y="280"/>
                </a:lnTo>
                <a:lnTo>
                  <a:pt x="1" y="298"/>
                </a:lnTo>
                <a:lnTo>
                  <a:pt x="3" y="316"/>
                </a:lnTo>
                <a:lnTo>
                  <a:pt x="5" y="332"/>
                </a:lnTo>
                <a:lnTo>
                  <a:pt x="9" y="347"/>
                </a:lnTo>
                <a:lnTo>
                  <a:pt x="14" y="360"/>
                </a:lnTo>
                <a:lnTo>
                  <a:pt x="21" y="373"/>
                </a:lnTo>
                <a:lnTo>
                  <a:pt x="28" y="383"/>
                </a:lnTo>
                <a:lnTo>
                  <a:pt x="36" y="393"/>
                </a:lnTo>
                <a:lnTo>
                  <a:pt x="46" y="401"/>
                </a:lnTo>
                <a:lnTo>
                  <a:pt x="58" y="408"/>
                </a:lnTo>
                <a:lnTo>
                  <a:pt x="71" y="414"/>
                </a:lnTo>
                <a:lnTo>
                  <a:pt x="86" y="418"/>
                </a:lnTo>
                <a:lnTo>
                  <a:pt x="102" y="421"/>
                </a:lnTo>
                <a:lnTo>
                  <a:pt x="121" y="423"/>
                </a:lnTo>
                <a:lnTo>
                  <a:pt x="141" y="424"/>
                </a:lnTo>
                <a:lnTo>
                  <a:pt x="141" y="424"/>
                </a:lnTo>
                <a:lnTo>
                  <a:pt x="157" y="423"/>
                </a:lnTo>
                <a:lnTo>
                  <a:pt x="172" y="422"/>
                </a:lnTo>
                <a:lnTo>
                  <a:pt x="186" y="421"/>
                </a:lnTo>
                <a:lnTo>
                  <a:pt x="199" y="418"/>
                </a:lnTo>
                <a:lnTo>
                  <a:pt x="223" y="413"/>
                </a:lnTo>
                <a:lnTo>
                  <a:pt x="243" y="407"/>
                </a:lnTo>
                <a:lnTo>
                  <a:pt x="260" y="400"/>
                </a:lnTo>
                <a:lnTo>
                  <a:pt x="271" y="395"/>
                </a:lnTo>
                <a:lnTo>
                  <a:pt x="283" y="390"/>
                </a:lnTo>
                <a:lnTo>
                  <a:pt x="283" y="390"/>
                </a:lnTo>
                <a:lnTo>
                  <a:pt x="289" y="393"/>
                </a:lnTo>
                <a:lnTo>
                  <a:pt x="296" y="396"/>
                </a:lnTo>
                <a:lnTo>
                  <a:pt x="307" y="399"/>
                </a:lnTo>
                <a:lnTo>
                  <a:pt x="319" y="402"/>
                </a:lnTo>
                <a:lnTo>
                  <a:pt x="334" y="405"/>
                </a:lnTo>
                <a:lnTo>
                  <a:pt x="353" y="408"/>
                </a:lnTo>
                <a:lnTo>
                  <a:pt x="374" y="409"/>
                </a:lnTo>
                <a:lnTo>
                  <a:pt x="374" y="6"/>
                </a:lnTo>
                <a:lnTo>
                  <a:pt x="374" y="6"/>
                </a:lnTo>
                <a:lnTo>
                  <a:pt x="342" y="2"/>
                </a:lnTo>
                <a:lnTo>
                  <a:pt x="320" y="1"/>
                </a:lnTo>
                <a:lnTo>
                  <a:pt x="299" y="0"/>
                </a:lnTo>
                <a:lnTo>
                  <a:pt x="281" y="0"/>
                </a:lnTo>
                <a:lnTo>
                  <a:pt x="281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7" name="Freeform 13"/>
          <p:cNvSpPr>
            <a:spLocks/>
          </p:cNvSpPr>
          <p:nvPr/>
        </p:nvSpPr>
        <p:spPr bwMode="auto">
          <a:xfrm>
            <a:off x="8695590" y="6482312"/>
            <a:ext cx="98268" cy="179767"/>
          </a:xfrm>
          <a:custGeom>
            <a:avLst/>
            <a:gdLst>
              <a:gd name="T0" fmla="*/ 11 w 311"/>
              <a:gd name="T1" fmla="*/ 415 h 428"/>
              <a:gd name="T2" fmla="*/ 83 w 311"/>
              <a:gd name="T3" fmla="*/ 425 h 428"/>
              <a:gd name="T4" fmla="*/ 138 w 311"/>
              <a:gd name="T5" fmla="*/ 428 h 428"/>
              <a:gd name="T6" fmla="*/ 183 w 311"/>
              <a:gd name="T7" fmla="*/ 425 h 428"/>
              <a:gd name="T8" fmla="*/ 227 w 311"/>
              <a:gd name="T9" fmla="*/ 414 h 428"/>
              <a:gd name="T10" fmla="*/ 265 w 311"/>
              <a:gd name="T11" fmla="*/ 394 h 428"/>
              <a:gd name="T12" fmla="*/ 295 w 311"/>
              <a:gd name="T13" fmla="*/ 363 h 428"/>
              <a:gd name="T14" fmla="*/ 310 w 311"/>
              <a:gd name="T15" fmla="*/ 318 h 428"/>
              <a:gd name="T16" fmla="*/ 310 w 311"/>
              <a:gd name="T17" fmla="*/ 288 h 428"/>
              <a:gd name="T18" fmla="*/ 302 w 311"/>
              <a:gd name="T19" fmla="*/ 256 h 428"/>
              <a:gd name="T20" fmla="*/ 283 w 311"/>
              <a:gd name="T21" fmla="*/ 231 h 428"/>
              <a:gd name="T22" fmla="*/ 257 w 311"/>
              <a:gd name="T23" fmla="*/ 211 h 428"/>
              <a:gd name="T24" fmla="*/ 209 w 311"/>
              <a:gd name="T25" fmla="*/ 187 h 428"/>
              <a:gd name="T26" fmla="*/ 149 w 311"/>
              <a:gd name="T27" fmla="*/ 164 h 428"/>
              <a:gd name="T28" fmla="*/ 113 w 311"/>
              <a:gd name="T29" fmla="*/ 144 h 428"/>
              <a:gd name="T30" fmla="*/ 103 w 311"/>
              <a:gd name="T31" fmla="*/ 132 h 428"/>
              <a:gd name="T32" fmla="*/ 100 w 311"/>
              <a:gd name="T33" fmla="*/ 116 h 428"/>
              <a:gd name="T34" fmla="*/ 102 w 311"/>
              <a:gd name="T35" fmla="*/ 104 h 428"/>
              <a:gd name="T36" fmla="*/ 116 w 311"/>
              <a:gd name="T37" fmla="*/ 86 h 428"/>
              <a:gd name="T38" fmla="*/ 132 w 311"/>
              <a:gd name="T39" fmla="*/ 78 h 428"/>
              <a:gd name="T40" fmla="*/ 156 w 311"/>
              <a:gd name="T41" fmla="*/ 74 h 428"/>
              <a:gd name="T42" fmla="*/ 185 w 311"/>
              <a:gd name="T43" fmla="*/ 75 h 428"/>
              <a:gd name="T44" fmla="*/ 238 w 311"/>
              <a:gd name="T45" fmla="*/ 85 h 428"/>
              <a:gd name="T46" fmla="*/ 295 w 311"/>
              <a:gd name="T47" fmla="*/ 30 h 428"/>
              <a:gd name="T48" fmla="*/ 263 w 311"/>
              <a:gd name="T49" fmla="*/ 16 h 428"/>
              <a:gd name="T50" fmla="*/ 207 w 311"/>
              <a:gd name="T51" fmla="*/ 4 h 428"/>
              <a:gd name="T52" fmla="*/ 158 w 311"/>
              <a:gd name="T53" fmla="*/ 0 h 428"/>
              <a:gd name="T54" fmla="*/ 115 w 311"/>
              <a:gd name="T55" fmla="*/ 4 h 428"/>
              <a:gd name="T56" fmla="*/ 76 w 311"/>
              <a:gd name="T57" fmla="*/ 17 h 428"/>
              <a:gd name="T58" fmla="*/ 42 w 311"/>
              <a:gd name="T59" fmla="*/ 39 h 428"/>
              <a:gd name="T60" fmla="*/ 19 w 311"/>
              <a:gd name="T61" fmla="*/ 69 h 428"/>
              <a:gd name="T62" fmla="*/ 7 w 311"/>
              <a:gd name="T63" fmla="*/ 107 h 428"/>
              <a:gd name="T64" fmla="*/ 7 w 311"/>
              <a:gd name="T65" fmla="*/ 137 h 428"/>
              <a:gd name="T66" fmla="*/ 19 w 311"/>
              <a:gd name="T67" fmla="*/ 175 h 428"/>
              <a:gd name="T68" fmla="*/ 42 w 311"/>
              <a:gd name="T69" fmla="*/ 203 h 428"/>
              <a:gd name="T70" fmla="*/ 73 w 311"/>
              <a:gd name="T71" fmla="*/ 223 h 428"/>
              <a:gd name="T72" fmla="*/ 119 w 311"/>
              <a:gd name="T73" fmla="*/ 243 h 428"/>
              <a:gd name="T74" fmla="*/ 171 w 311"/>
              <a:gd name="T75" fmla="*/ 261 h 428"/>
              <a:gd name="T76" fmla="*/ 205 w 311"/>
              <a:gd name="T77" fmla="*/ 280 h 428"/>
              <a:gd name="T78" fmla="*/ 216 w 311"/>
              <a:gd name="T79" fmla="*/ 296 h 428"/>
              <a:gd name="T80" fmla="*/ 217 w 311"/>
              <a:gd name="T81" fmla="*/ 306 h 428"/>
              <a:gd name="T82" fmla="*/ 212 w 311"/>
              <a:gd name="T83" fmla="*/ 328 h 428"/>
              <a:gd name="T84" fmla="*/ 202 w 311"/>
              <a:gd name="T85" fmla="*/ 340 h 428"/>
              <a:gd name="T86" fmla="*/ 184 w 311"/>
              <a:gd name="T87" fmla="*/ 348 h 428"/>
              <a:gd name="T88" fmla="*/ 158 w 311"/>
              <a:gd name="T89" fmla="*/ 353 h 428"/>
              <a:gd name="T90" fmla="*/ 113 w 311"/>
              <a:gd name="T91" fmla="*/ 354 h 428"/>
              <a:gd name="T92" fmla="*/ 28 w 311"/>
              <a:gd name="T93" fmla="*/ 344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11" h="428">
                <a:moveTo>
                  <a:pt x="0" y="413"/>
                </a:moveTo>
                <a:lnTo>
                  <a:pt x="0" y="413"/>
                </a:lnTo>
                <a:lnTo>
                  <a:pt x="11" y="415"/>
                </a:lnTo>
                <a:lnTo>
                  <a:pt x="39" y="420"/>
                </a:lnTo>
                <a:lnTo>
                  <a:pt x="60" y="423"/>
                </a:lnTo>
                <a:lnTo>
                  <a:pt x="83" y="425"/>
                </a:lnTo>
                <a:lnTo>
                  <a:pt x="110" y="427"/>
                </a:lnTo>
                <a:lnTo>
                  <a:pt x="138" y="428"/>
                </a:lnTo>
                <a:lnTo>
                  <a:pt x="138" y="428"/>
                </a:lnTo>
                <a:lnTo>
                  <a:pt x="154" y="427"/>
                </a:lnTo>
                <a:lnTo>
                  <a:pt x="168" y="426"/>
                </a:lnTo>
                <a:lnTo>
                  <a:pt x="183" y="425"/>
                </a:lnTo>
                <a:lnTo>
                  <a:pt x="198" y="422"/>
                </a:lnTo>
                <a:lnTo>
                  <a:pt x="213" y="419"/>
                </a:lnTo>
                <a:lnTo>
                  <a:pt x="227" y="414"/>
                </a:lnTo>
                <a:lnTo>
                  <a:pt x="241" y="408"/>
                </a:lnTo>
                <a:lnTo>
                  <a:pt x="254" y="402"/>
                </a:lnTo>
                <a:lnTo>
                  <a:pt x="265" y="394"/>
                </a:lnTo>
                <a:lnTo>
                  <a:pt x="276" y="385"/>
                </a:lnTo>
                <a:lnTo>
                  <a:pt x="286" y="375"/>
                </a:lnTo>
                <a:lnTo>
                  <a:pt x="295" y="363"/>
                </a:lnTo>
                <a:lnTo>
                  <a:pt x="302" y="350"/>
                </a:lnTo>
                <a:lnTo>
                  <a:pt x="307" y="334"/>
                </a:lnTo>
                <a:lnTo>
                  <a:pt x="310" y="318"/>
                </a:lnTo>
                <a:lnTo>
                  <a:pt x="311" y="300"/>
                </a:lnTo>
                <a:lnTo>
                  <a:pt x="311" y="300"/>
                </a:lnTo>
                <a:lnTo>
                  <a:pt x="310" y="288"/>
                </a:lnTo>
                <a:lnTo>
                  <a:pt x="309" y="277"/>
                </a:lnTo>
                <a:lnTo>
                  <a:pt x="306" y="266"/>
                </a:lnTo>
                <a:lnTo>
                  <a:pt x="302" y="256"/>
                </a:lnTo>
                <a:lnTo>
                  <a:pt x="297" y="248"/>
                </a:lnTo>
                <a:lnTo>
                  <a:pt x="291" y="239"/>
                </a:lnTo>
                <a:lnTo>
                  <a:pt x="283" y="231"/>
                </a:lnTo>
                <a:lnTo>
                  <a:pt x="276" y="224"/>
                </a:lnTo>
                <a:lnTo>
                  <a:pt x="267" y="217"/>
                </a:lnTo>
                <a:lnTo>
                  <a:pt x="257" y="211"/>
                </a:lnTo>
                <a:lnTo>
                  <a:pt x="247" y="204"/>
                </a:lnTo>
                <a:lnTo>
                  <a:pt x="234" y="199"/>
                </a:lnTo>
                <a:lnTo>
                  <a:pt x="209" y="187"/>
                </a:lnTo>
                <a:lnTo>
                  <a:pt x="180" y="176"/>
                </a:lnTo>
                <a:lnTo>
                  <a:pt x="180" y="176"/>
                </a:lnTo>
                <a:lnTo>
                  <a:pt x="149" y="164"/>
                </a:lnTo>
                <a:lnTo>
                  <a:pt x="135" y="157"/>
                </a:lnTo>
                <a:lnTo>
                  <a:pt x="123" y="151"/>
                </a:lnTo>
                <a:lnTo>
                  <a:pt x="113" y="144"/>
                </a:lnTo>
                <a:lnTo>
                  <a:pt x="109" y="140"/>
                </a:lnTo>
                <a:lnTo>
                  <a:pt x="106" y="136"/>
                </a:lnTo>
                <a:lnTo>
                  <a:pt x="103" y="132"/>
                </a:lnTo>
                <a:lnTo>
                  <a:pt x="101" y="127"/>
                </a:lnTo>
                <a:lnTo>
                  <a:pt x="100" y="121"/>
                </a:lnTo>
                <a:lnTo>
                  <a:pt x="100" y="116"/>
                </a:lnTo>
                <a:lnTo>
                  <a:pt x="100" y="116"/>
                </a:lnTo>
                <a:lnTo>
                  <a:pt x="100" y="110"/>
                </a:lnTo>
                <a:lnTo>
                  <a:pt x="102" y="104"/>
                </a:lnTo>
                <a:lnTo>
                  <a:pt x="106" y="97"/>
                </a:lnTo>
                <a:lnTo>
                  <a:pt x="112" y="90"/>
                </a:lnTo>
                <a:lnTo>
                  <a:pt x="116" y="86"/>
                </a:lnTo>
                <a:lnTo>
                  <a:pt x="120" y="83"/>
                </a:lnTo>
                <a:lnTo>
                  <a:pt x="126" y="81"/>
                </a:lnTo>
                <a:lnTo>
                  <a:pt x="132" y="78"/>
                </a:lnTo>
                <a:lnTo>
                  <a:pt x="139" y="76"/>
                </a:lnTo>
                <a:lnTo>
                  <a:pt x="147" y="75"/>
                </a:lnTo>
                <a:lnTo>
                  <a:pt x="156" y="74"/>
                </a:lnTo>
                <a:lnTo>
                  <a:pt x="166" y="74"/>
                </a:lnTo>
                <a:lnTo>
                  <a:pt x="166" y="74"/>
                </a:lnTo>
                <a:lnTo>
                  <a:pt x="185" y="75"/>
                </a:lnTo>
                <a:lnTo>
                  <a:pt x="205" y="77"/>
                </a:lnTo>
                <a:lnTo>
                  <a:pt x="222" y="81"/>
                </a:lnTo>
                <a:lnTo>
                  <a:pt x="238" y="85"/>
                </a:lnTo>
                <a:lnTo>
                  <a:pt x="262" y="94"/>
                </a:lnTo>
                <a:lnTo>
                  <a:pt x="271" y="98"/>
                </a:lnTo>
                <a:lnTo>
                  <a:pt x="295" y="30"/>
                </a:lnTo>
                <a:lnTo>
                  <a:pt x="295" y="30"/>
                </a:lnTo>
                <a:lnTo>
                  <a:pt x="276" y="22"/>
                </a:lnTo>
                <a:lnTo>
                  <a:pt x="263" y="16"/>
                </a:lnTo>
                <a:lnTo>
                  <a:pt x="247" y="12"/>
                </a:lnTo>
                <a:lnTo>
                  <a:pt x="228" y="7"/>
                </a:lnTo>
                <a:lnTo>
                  <a:pt x="207" y="4"/>
                </a:lnTo>
                <a:lnTo>
                  <a:pt x="183" y="1"/>
                </a:lnTo>
                <a:lnTo>
                  <a:pt x="158" y="0"/>
                </a:lnTo>
                <a:lnTo>
                  <a:pt x="158" y="0"/>
                </a:lnTo>
                <a:lnTo>
                  <a:pt x="143" y="1"/>
                </a:lnTo>
                <a:lnTo>
                  <a:pt x="129" y="2"/>
                </a:lnTo>
                <a:lnTo>
                  <a:pt x="115" y="4"/>
                </a:lnTo>
                <a:lnTo>
                  <a:pt x="102" y="8"/>
                </a:lnTo>
                <a:lnTo>
                  <a:pt x="88" y="12"/>
                </a:lnTo>
                <a:lnTo>
                  <a:pt x="76" y="17"/>
                </a:lnTo>
                <a:lnTo>
                  <a:pt x="64" y="24"/>
                </a:lnTo>
                <a:lnTo>
                  <a:pt x="53" y="31"/>
                </a:lnTo>
                <a:lnTo>
                  <a:pt x="42" y="39"/>
                </a:lnTo>
                <a:lnTo>
                  <a:pt x="33" y="47"/>
                </a:lnTo>
                <a:lnTo>
                  <a:pt x="25" y="58"/>
                </a:lnTo>
                <a:lnTo>
                  <a:pt x="19" y="69"/>
                </a:lnTo>
                <a:lnTo>
                  <a:pt x="13" y="80"/>
                </a:lnTo>
                <a:lnTo>
                  <a:pt x="9" y="94"/>
                </a:lnTo>
                <a:lnTo>
                  <a:pt x="7" y="107"/>
                </a:lnTo>
                <a:lnTo>
                  <a:pt x="6" y="122"/>
                </a:lnTo>
                <a:lnTo>
                  <a:pt x="6" y="122"/>
                </a:lnTo>
                <a:lnTo>
                  <a:pt x="7" y="137"/>
                </a:lnTo>
                <a:lnTo>
                  <a:pt x="9" y="150"/>
                </a:lnTo>
                <a:lnTo>
                  <a:pt x="13" y="164"/>
                </a:lnTo>
                <a:lnTo>
                  <a:pt x="19" y="175"/>
                </a:lnTo>
                <a:lnTo>
                  <a:pt x="25" y="185"/>
                </a:lnTo>
                <a:lnTo>
                  <a:pt x="33" y="194"/>
                </a:lnTo>
                <a:lnTo>
                  <a:pt x="42" y="203"/>
                </a:lnTo>
                <a:lnTo>
                  <a:pt x="51" y="210"/>
                </a:lnTo>
                <a:lnTo>
                  <a:pt x="62" y="217"/>
                </a:lnTo>
                <a:lnTo>
                  <a:pt x="73" y="223"/>
                </a:lnTo>
                <a:lnTo>
                  <a:pt x="84" y="229"/>
                </a:lnTo>
                <a:lnTo>
                  <a:pt x="95" y="235"/>
                </a:lnTo>
                <a:lnTo>
                  <a:pt x="119" y="243"/>
                </a:lnTo>
                <a:lnTo>
                  <a:pt x="142" y="251"/>
                </a:lnTo>
                <a:lnTo>
                  <a:pt x="142" y="251"/>
                </a:lnTo>
                <a:lnTo>
                  <a:pt x="171" y="261"/>
                </a:lnTo>
                <a:lnTo>
                  <a:pt x="184" y="266"/>
                </a:lnTo>
                <a:lnTo>
                  <a:pt x="196" y="273"/>
                </a:lnTo>
                <a:lnTo>
                  <a:pt x="205" y="280"/>
                </a:lnTo>
                <a:lnTo>
                  <a:pt x="211" y="287"/>
                </a:lnTo>
                <a:lnTo>
                  <a:pt x="214" y="291"/>
                </a:lnTo>
                <a:lnTo>
                  <a:pt x="216" y="296"/>
                </a:lnTo>
                <a:lnTo>
                  <a:pt x="217" y="300"/>
                </a:lnTo>
                <a:lnTo>
                  <a:pt x="217" y="306"/>
                </a:lnTo>
                <a:lnTo>
                  <a:pt x="217" y="306"/>
                </a:lnTo>
                <a:lnTo>
                  <a:pt x="217" y="315"/>
                </a:lnTo>
                <a:lnTo>
                  <a:pt x="214" y="324"/>
                </a:lnTo>
                <a:lnTo>
                  <a:pt x="212" y="328"/>
                </a:lnTo>
                <a:lnTo>
                  <a:pt x="209" y="332"/>
                </a:lnTo>
                <a:lnTo>
                  <a:pt x="206" y="335"/>
                </a:lnTo>
                <a:lnTo>
                  <a:pt x="202" y="340"/>
                </a:lnTo>
                <a:lnTo>
                  <a:pt x="197" y="343"/>
                </a:lnTo>
                <a:lnTo>
                  <a:pt x="190" y="346"/>
                </a:lnTo>
                <a:lnTo>
                  <a:pt x="184" y="348"/>
                </a:lnTo>
                <a:lnTo>
                  <a:pt x="176" y="350"/>
                </a:lnTo>
                <a:lnTo>
                  <a:pt x="167" y="352"/>
                </a:lnTo>
                <a:lnTo>
                  <a:pt x="158" y="353"/>
                </a:lnTo>
                <a:lnTo>
                  <a:pt x="134" y="354"/>
                </a:lnTo>
                <a:lnTo>
                  <a:pt x="134" y="354"/>
                </a:lnTo>
                <a:lnTo>
                  <a:pt x="113" y="354"/>
                </a:lnTo>
                <a:lnTo>
                  <a:pt x="92" y="352"/>
                </a:lnTo>
                <a:lnTo>
                  <a:pt x="55" y="348"/>
                </a:lnTo>
                <a:lnTo>
                  <a:pt x="28" y="344"/>
                </a:lnTo>
                <a:lnTo>
                  <a:pt x="18" y="342"/>
                </a:lnTo>
                <a:lnTo>
                  <a:pt x="0" y="4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8" name="Freeform 14"/>
          <p:cNvSpPr>
            <a:spLocks/>
          </p:cNvSpPr>
          <p:nvPr/>
        </p:nvSpPr>
        <p:spPr bwMode="auto">
          <a:xfrm>
            <a:off x="8287398" y="6512553"/>
            <a:ext cx="60473" cy="119285"/>
          </a:xfrm>
          <a:custGeom>
            <a:avLst/>
            <a:gdLst>
              <a:gd name="T0" fmla="*/ 0 w 194"/>
              <a:gd name="T1" fmla="*/ 7 h 282"/>
              <a:gd name="T2" fmla="*/ 0 w 194"/>
              <a:gd name="T3" fmla="*/ 7 h 282"/>
              <a:gd name="T4" fmla="*/ 14 w 194"/>
              <a:gd name="T5" fmla="*/ 4 h 282"/>
              <a:gd name="T6" fmla="*/ 31 w 194"/>
              <a:gd name="T7" fmla="*/ 2 h 282"/>
              <a:gd name="T8" fmla="*/ 52 w 194"/>
              <a:gd name="T9" fmla="*/ 0 h 282"/>
              <a:gd name="T10" fmla="*/ 73 w 194"/>
              <a:gd name="T11" fmla="*/ 0 h 282"/>
              <a:gd name="T12" fmla="*/ 73 w 194"/>
              <a:gd name="T13" fmla="*/ 0 h 282"/>
              <a:gd name="T14" fmla="*/ 87 w 194"/>
              <a:gd name="T15" fmla="*/ 0 h 282"/>
              <a:gd name="T16" fmla="*/ 98 w 194"/>
              <a:gd name="T17" fmla="*/ 1 h 282"/>
              <a:gd name="T18" fmla="*/ 110 w 194"/>
              <a:gd name="T19" fmla="*/ 4 h 282"/>
              <a:gd name="T20" fmla="*/ 121 w 194"/>
              <a:gd name="T21" fmla="*/ 7 h 282"/>
              <a:gd name="T22" fmla="*/ 132 w 194"/>
              <a:gd name="T23" fmla="*/ 11 h 282"/>
              <a:gd name="T24" fmla="*/ 141 w 194"/>
              <a:gd name="T25" fmla="*/ 17 h 282"/>
              <a:gd name="T26" fmla="*/ 151 w 194"/>
              <a:gd name="T27" fmla="*/ 24 h 282"/>
              <a:gd name="T28" fmla="*/ 159 w 194"/>
              <a:gd name="T29" fmla="*/ 31 h 282"/>
              <a:gd name="T30" fmla="*/ 166 w 194"/>
              <a:gd name="T31" fmla="*/ 40 h 282"/>
              <a:gd name="T32" fmla="*/ 174 w 194"/>
              <a:gd name="T33" fmla="*/ 49 h 282"/>
              <a:gd name="T34" fmla="*/ 180 w 194"/>
              <a:gd name="T35" fmla="*/ 61 h 282"/>
              <a:gd name="T36" fmla="*/ 185 w 194"/>
              <a:gd name="T37" fmla="*/ 74 h 282"/>
              <a:gd name="T38" fmla="*/ 189 w 194"/>
              <a:gd name="T39" fmla="*/ 88 h 282"/>
              <a:gd name="T40" fmla="*/ 192 w 194"/>
              <a:gd name="T41" fmla="*/ 103 h 282"/>
              <a:gd name="T42" fmla="*/ 193 w 194"/>
              <a:gd name="T43" fmla="*/ 119 h 282"/>
              <a:gd name="T44" fmla="*/ 194 w 194"/>
              <a:gd name="T45" fmla="*/ 138 h 282"/>
              <a:gd name="T46" fmla="*/ 194 w 194"/>
              <a:gd name="T47" fmla="*/ 138 h 282"/>
              <a:gd name="T48" fmla="*/ 194 w 194"/>
              <a:gd name="T49" fmla="*/ 155 h 282"/>
              <a:gd name="T50" fmla="*/ 193 w 194"/>
              <a:gd name="T51" fmla="*/ 172 h 282"/>
              <a:gd name="T52" fmla="*/ 191 w 194"/>
              <a:gd name="T53" fmla="*/ 187 h 282"/>
              <a:gd name="T54" fmla="*/ 188 w 194"/>
              <a:gd name="T55" fmla="*/ 202 h 282"/>
              <a:gd name="T56" fmla="*/ 185 w 194"/>
              <a:gd name="T57" fmla="*/ 215 h 282"/>
              <a:gd name="T58" fmla="*/ 181 w 194"/>
              <a:gd name="T59" fmla="*/ 226 h 282"/>
              <a:gd name="T60" fmla="*/ 175 w 194"/>
              <a:gd name="T61" fmla="*/ 238 h 282"/>
              <a:gd name="T62" fmla="*/ 168 w 194"/>
              <a:gd name="T63" fmla="*/ 247 h 282"/>
              <a:gd name="T64" fmla="*/ 160 w 194"/>
              <a:gd name="T65" fmla="*/ 255 h 282"/>
              <a:gd name="T66" fmla="*/ 151 w 194"/>
              <a:gd name="T67" fmla="*/ 262 h 282"/>
              <a:gd name="T68" fmla="*/ 141 w 194"/>
              <a:gd name="T69" fmla="*/ 269 h 282"/>
              <a:gd name="T70" fmla="*/ 129 w 194"/>
              <a:gd name="T71" fmla="*/ 274 h 282"/>
              <a:gd name="T72" fmla="*/ 115 w 194"/>
              <a:gd name="T73" fmla="*/ 277 h 282"/>
              <a:gd name="T74" fmla="*/ 100 w 194"/>
              <a:gd name="T75" fmla="*/ 280 h 282"/>
              <a:gd name="T76" fmla="*/ 84 w 194"/>
              <a:gd name="T77" fmla="*/ 282 h 282"/>
              <a:gd name="T78" fmla="*/ 65 w 194"/>
              <a:gd name="T79" fmla="*/ 282 h 282"/>
              <a:gd name="T80" fmla="*/ 65 w 194"/>
              <a:gd name="T81" fmla="*/ 282 h 282"/>
              <a:gd name="T82" fmla="*/ 42 w 194"/>
              <a:gd name="T83" fmla="*/ 281 h 282"/>
              <a:gd name="T84" fmla="*/ 20 w 194"/>
              <a:gd name="T85" fmla="*/ 280 h 282"/>
              <a:gd name="T86" fmla="*/ 0 w 194"/>
              <a:gd name="T87" fmla="*/ 278 h 282"/>
              <a:gd name="T88" fmla="*/ 0 w 194"/>
              <a:gd name="T89" fmla="*/ 7 h 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94" h="282">
                <a:moveTo>
                  <a:pt x="0" y="7"/>
                </a:moveTo>
                <a:lnTo>
                  <a:pt x="0" y="7"/>
                </a:lnTo>
                <a:lnTo>
                  <a:pt x="14" y="4"/>
                </a:lnTo>
                <a:lnTo>
                  <a:pt x="31" y="2"/>
                </a:lnTo>
                <a:lnTo>
                  <a:pt x="52" y="0"/>
                </a:lnTo>
                <a:lnTo>
                  <a:pt x="73" y="0"/>
                </a:lnTo>
                <a:lnTo>
                  <a:pt x="73" y="0"/>
                </a:lnTo>
                <a:lnTo>
                  <a:pt x="87" y="0"/>
                </a:lnTo>
                <a:lnTo>
                  <a:pt x="98" y="1"/>
                </a:lnTo>
                <a:lnTo>
                  <a:pt x="110" y="4"/>
                </a:lnTo>
                <a:lnTo>
                  <a:pt x="121" y="7"/>
                </a:lnTo>
                <a:lnTo>
                  <a:pt x="132" y="11"/>
                </a:lnTo>
                <a:lnTo>
                  <a:pt x="141" y="17"/>
                </a:lnTo>
                <a:lnTo>
                  <a:pt x="151" y="24"/>
                </a:lnTo>
                <a:lnTo>
                  <a:pt x="159" y="31"/>
                </a:lnTo>
                <a:lnTo>
                  <a:pt x="166" y="40"/>
                </a:lnTo>
                <a:lnTo>
                  <a:pt x="174" y="49"/>
                </a:lnTo>
                <a:lnTo>
                  <a:pt x="180" y="61"/>
                </a:lnTo>
                <a:lnTo>
                  <a:pt x="185" y="74"/>
                </a:lnTo>
                <a:lnTo>
                  <a:pt x="189" y="88"/>
                </a:lnTo>
                <a:lnTo>
                  <a:pt x="192" y="103"/>
                </a:lnTo>
                <a:lnTo>
                  <a:pt x="193" y="119"/>
                </a:lnTo>
                <a:lnTo>
                  <a:pt x="194" y="138"/>
                </a:lnTo>
                <a:lnTo>
                  <a:pt x="194" y="138"/>
                </a:lnTo>
                <a:lnTo>
                  <a:pt x="194" y="155"/>
                </a:lnTo>
                <a:lnTo>
                  <a:pt x="193" y="172"/>
                </a:lnTo>
                <a:lnTo>
                  <a:pt x="191" y="187"/>
                </a:lnTo>
                <a:lnTo>
                  <a:pt x="188" y="202"/>
                </a:lnTo>
                <a:lnTo>
                  <a:pt x="185" y="215"/>
                </a:lnTo>
                <a:lnTo>
                  <a:pt x="181" y="226"/>
                </a:lnTo>
                <a:lnTo>
                  <a:pt x="175" y="238"/>
                </a:lnTo>
                <a:lnTo>
                  <a:pt x="168" y="247"/>
                </a:lnTo>
                <a:lnTo>
                  <a:pt x="160" y="255"/>
                </a:lnTo>
                <a:lnTo>
                  <a:pt x="151" y="262"/>
                </a:lnTo>
                <a:lnTo>
                  <a:pt x="141" y="269"/>
                </a:lnTo>
                <a:lnTo>
                  <a:pt x="129" y="274"/>
                </a:lnTo>
                <a:lnTo>
                  <a:pt x="115" y="277"/>
                </a:lnTo>
                <a:lnTo>
                  <a:pt x="100" y="280"/>
                </a:lnTo>
                <a:lnTo>
                  <a:pt x="84" y="282"/>
                </a:lnTo>
                <a:lnTo>
                  <a:pt x="65" y="282"/>
                </a:lnTo>
                <a:lnTo>
                  <a:pt x="65" y="282"/>
                </a:lnTo>
                <a:lnTo>
                  <a:pt x="42" y="281"/>
                </a:lnTo>
                <a:lnTo>
                  <a:pt x="20" y="280"/>
                </a:lnTo>
                <a:lnTo>
                  <a:pt x="0" y="278"/>
                </a:lnTo>
                <a:lnTo>
                  <a:pt x="0" y="7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9" name="Freeform 15"/>
          <p:cNvSpPr>
            <a:spLocks/>
          </p:cNvSpPr>
          <p:nvPr/>
        </p:nvSpPr>
        <p:spPr bwMode="auto">
          <a:xfrm>
            <a:off x="8257162" y="6482312"/>
            <a:ext cx="122206" cy="179767"/>
          </a:xfrm>
          <a:custGeom>
            <a:avLst/>
            <a:gdLst>
              <a:gd name="T0" fmla="*/ 171 w 385"/>
              <a:gd name="T1" fmla="*/ 0 h 428"/>
              <a:gd name="T2" fmla="*/ 171 w 385"/>
              <a:gd name="T3" fmla="*/ 0 h 428"/>
              <a:gd name="T4" fmla="*/ 150 w 385"/>
              <a:gd name="T5" fmla="*/ 1 h 428"/>
              <a:gd name="T6" fmla="*/ 129 w 385"/>
              <a:gd name="T7" fmla="*/ 2 h 428"/>
              <a:gd name="T8" fmla="*/ 106 w 385"/>
              <a:gd name="T9" fmla="*/ 4 h 428"/>
              <a:gd name="T10" fmla="*/ 83 w 385"/>
              <a:gd name="T11" fmla="*/ 7 h 428"/>
              <a:gd name="T12" fmla="*/ 60 w 385"/>
              <a:gd name="T13" fmla="*/ 10 h 428"/>
              <a:gd name="T14" fmla="*/ 39 w 385"/>
              <a:gd name="T15" fmla="*/ 14 h 428"/>
              <a:gd name="T16" fmla="*/ 18 w 385"/>
              <a:gd name="T17" fmla="*/ 20 h 428"/>
              <a:gd name="T18" fmla="*/ 0 w 385"/>
              <a:gd name="T19" fmla="*/ 26 h 428"/>
              <a:gd name="T20" fmla="*/ 0 w 385"/>
              <a:gd name="T21" fmla="*/ 415 h 428"/>
              <a:gd name="T22" fmla="*/ 0 w 385"/>
              <a:gd name="T23" fmla="*/ 415 h 428"/>
              <a:gd name="T24" fmla="*/ 15 w 385"/>
              <a:gd name="T25" fmla="*/ 418 h 428"/>
              <a:gd name="T26" fmla="*/ 34 w 385"/>
              <a:gd name="T27" fmla="*/ 420 h 428"/>
              <a:gd name="T28" fmla="*/ 73 w 385"/>
              <a:gd name="T29" fmla="*/ 424 h 428"/>
              <a:gd name="T30" fmla="*/ 116 w 385"/>
              <a:gd name="T31" fmla="*/ 427 h 428"/>
              <a:gd name="T32" fmla="*/ 155 w 385"/>
              <a:gd name="T33" fmla="*/ 428 h 428"/>
              <a:gd name="T34" fmla="*/ 155 w 385"/>
              <a:gd name="T35" fmla="*/ 428 h 428"/>
              <a:gd name="T36" fmla="*/ 186 w 385"/>
              <a:gd name="T37" fmla="*/ 427 h 428"/>
              <a:gd name="T38" fmla="*/ 212 w 385"/>
              <a:gd name="T39" fmla="*/ 425 h 428"/>
              <a:gd name="T40" fmla="*/ 238 w 385"/>
              <a:gd name="T41" fmla="*/ 421 h 428"/>
              <a:gd name="T42" fmla="*/ 261 w 385"/>
              <a:gd name="T43" fmla="*/ 415 h 428"/>
              <a:gd name="T44" fmla="*/ 282 w 385"/>
              <a:gd name="T45" fmla="*/ 408 h 428"/>
              <a:gd name="T46" fmla="*/ 301 w 385"/>
              <a:gd name="T47" fmla="*/ 399 h 428"/>
              <a:gd name="T48" fmla="*/ 309 w 385"/>
              <a:gd name="T49" fmla="*/ 394 h 428"/>
              <a:gd name="T50" fmla="*/ 318 w 385"/>
              <a:gd name="T51" fmla="*/ 389 h 428"/>
              <a:gd name="T52" fmla="*/ 326 w 385"/>
              <a:gd name="T53" fmla="*/ 383 h 428"/>
              <a:gd name="T54" fmla="*/ 333 w 385"/>
              <a:gd name="T55" fmla="*/ 377 h 428"/>
              <a:gd name="T56" fmla="*/ 339 w 385"/>
              <a:gd name="T57" fmla="*/ 369 h 428"/>
              <a:gd name="T58" fmla="*/ 345 w 385"/>
              <a:gd name="T59" fmla="*/ 362 h 428"/>
              <a:gd name="T60" fmla="*/ 351 w 385"/>
              <a:gd name="T61" fmla="*/ 355 h 428"/>
              <a:gd name="T62" fmla="*/ 356 w 385"/>
              <a:gd name="T63" fmla="*/ 347 h 428"/>
              <a:gd name="T64" fmla="*/ 361 w 385"/>
              <a:gd name="T65" fmla="*/ 337 h 428"/>
              <a:gd name="T66" fmla="*/ 366 w 385"/>
              <a:gd name="T67" fmla="*/ 329 h 428"/>
              <a:gd name="T68" fmla="*/ 373 w 385"/>
              <a:gd name="T69" fmla="*/ 309 h 428"/>
              <a:gd name="T70" fmla="*/ 378 w 385"/>
              <a:gd name="T71" fmla="*/ 287 h 428"/>
              <a:gd name="T72" fmla="*/ 382 w 385"/>
              <a:gd name="T73" fmla="*/ 264 h 428"/>
              <a:gd name="T74" fmla="*/ 384 w 385"/>
              <a:gd name="T75" fmla="*/ 239 h 428"/>
              <a:gd name="T76" fmla="*/ 385 w 385"/>
              <a:gd name="T77" fmla="*/ 211 h 428"/>
              <a:gd name="T78" fmla="*/ 385 w 385"/>
              <a:gd name="T79" fmla="*/ 211 h 428"/>
              <a:gd name="T80" fmla="*/ 384 w 385"/>
              <a:gd name="T81" fmla="*/ 187 h 428"/>
              <a:gd name="T82" fmla="*/ 381 w 385"/>
              <a:gd name="T83" fmla="*/ 164 h 428"/>
              <a:gd name="T84" fmla="*/ 377 w 385"/>
              <a:gd name="T85" fmla="*/ 143 h 428"/>
              <a:gd name="T86" fmla="*/ 371 w 385"/>
              <a:gd name="T87" fmla="*/ 122 h 428"/>
              <a:gd name="T88" fmla="*/ 363 w 385"/>
              <a:gd name="T89" fmla="*/ 104 h 428"/>
              <a:gd name="T90" fmla="*/ 352 w 385"/>
              <a:gd name="T91" fmla="*/ 86 h 428"/>
              <a:gd name="T92" fmla="*/ 341 w 385"/>
              <a:gd name="T93" fmla="*/ 71 h 428"/>
              <a:gd name="T94" fmla="*/ 328 w 385"/>
              <a:gd name="T95" fmla="*/ 57 h 428"/>
              <a:gd name="T96" fmla="*/ 314 w 385"/>
              <a:gd name="T97" fmla="*/ 43 h 428"/>
              <a:gd name="T98" fmla="*/ 297 w 385"/>
              <a:gd name="T99" fmla="*/ 32 h 428"/>
              <a:gd name="T100" fmla="*/ 280 w 385"/>
              <a:gd name="T101" fmla="*/ 23 h 428"/>
              <a:gd name="T102" fmla="*/ 260 w 385"/>
              <a:gd name="T103" fmla="*/ 14 h 428"/>
              <a:gd name="T104" fmla="*/ 240 w 385"/>
              <a:gd name="T105" fmla="*/ 8 h 428"/>
              <a:gd name="T106" fmla="*/ 218 w 385"/>
              <a:gd name="T107" fmla="*/ 4 h 428"/>
              <a:gd name="T108" fmla="*/ 195 w 385"/>
              <a:gd name="T109" fmla="*/ 1 h 428"/>
              <a:gd name="T110" fmla="*/ 171 w 385"/>
              <a:gd name="T111" fmla="*/ 0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85" h="428">
                <a:moveTo>
                  <a:pt x="171" y="0"/>
                </a:moveTo>
                <a:lnTo>
                  <a:pt x="171" y="0"/>
                </a:lnTo>
                <a:lnTo>
                  <a:pt x="150" y="1"/>
                </a:lnTo>
                <a:lnTo>
                  <a:pt x="129" y="2"/>
                </a:lnTo>
                <a:lnTo>
                  <a:pt x="106" y="4"/>
                </a:lnTo>
                <a:lnTo>
                  <a:pt x="83" y="7"/>
                </a:lnTo>
                <a:lnTo>
                  <a:pt x="60" y="10"/>
                </a:lnTo>
                <a:lnTo>
                  <a:pt x="39" y="14"/>
                </a:lnTo>
                <a:lnTo>
                  <a:pt x="18" y="20"/>
                </a:lnTo>
                <a:lnTo>
                  <a:pt x="0" y="26"/>
                </a:lnTo>
                <a:lnTo>
                  <a:pt x="0" y="415"/>
                </a:lnTo>
                <a:lnTo>
                  <a:pt x="0" y="415"/>
                </a:lnTo>
                <a:lnTo>
                  <a:pt x="15" y="418"/>
                </a:lnTo>
                <a:lnTo>
                  <a:pt x="34" y="420"/>
                </a:lnTo>
                <a:lnTo>
                  <a:pt x="73" y="424"/>
                </a:lnTo>
                <a:lnTo>
                  <a:pt x="116" y="427"/>
                </a:lnTo>
                <a:lnTo>
                  <a:pt x="155" y="428"/>
                </a:lnTo>
                <a:lnTo>
                  <a:pt x="155" y="428"/>
                </a:lnTo>
                <a:lnTo>
                  <a:pt x="186" y="427"/>
                </a:lnTo>
                <a:lnTo>
                  <a:pt x="212" y="425"/>
                </a:lnTo>
                <a:lnTo>
                  <a:pt x="238" y="421"/>
                </a:lnTo>
                <a:lnTo>
                  <a:pt x="261" y="415"/>
                </a:lnTo>
                <a:lnTo>
                  <a:pt x="282" y="408"/>
                </a:lnTo>
                <a:lnTo>
                  <a:pt x="301" y="399"/>
                </a:lnTo>
                <a:lnTo>
                  <a:pt x="309" y="394"/>
                </a:lnTo>
                <a:lnTo>
                  <a:pt x="318" y="389"/>
                </a:lnTo>
                <a:lnTo>
                  <a:pt x="326" y="383"/>
                </a:lnTo>
                <a:lnTo>
                  <a:pt x="333" y="377"/>
                </a:lnTo>
                <a:lnTo>
                  <a:pt x="339" y="369"/>
                </a:lnTo>
                <a:lnTo>
                  <a:pt x="345" y="362"/>
                </a:lnTo>
                <a:lnTo>
                  <a:pt x="351" y="355"/>
                </a:lnTo>
                <a:lnTo>
                  <a:pt x="356" y="347"/>
                </a:lnTo>
                <a:lnTo>
                  <a:pt x="361" y="337"/>
                </a:lnTo>
                <a:lnTo>
                  <a:pt x="366" y="329"/>
                </a:lnTo>
                <a:lnTo>
                  <a:pt x="373" y="309"/>
                </a:lnTo>
                <a:lnTo>
                  <a:pt x="378" y="287"/>
                </a:lnTo>
                <a:lnTo>
                  <a:pt x="382" y="264"/>
                </a:lnTo>
                <a:lnTo>
                  <a:pt x="384" y="239"/>
                </a:lnTo>
                <a:lnTo>
                  <a:pt x="385" y="211"/>
                </a:lnTo>
                <a:lnTo>
                  <a:pt x="385" y="211"/>
                </a:lnTo>
                <a:lnTo>
                  <a:pt x="384" y="187"/>
                </a:lnTo>
                <a:lnTo>
                  <a:pt x="381" y="164"/>
                </a:lnTo>
                <a:lnTo>
                  <a:pt x="377" y="143"/>
                </a:lnTo>
                <a:lnTo>
                  <a:pt x="371" y="122"/>
                </a:lnTo>
                <a:lnTo>
                  <a:pt x="363" y="104"/>
                </a:lnTo>
                <a:lnTo>
                  <a:pt x="352" y="86"/>
                </a:lnTo>
                <a:lnTo>
                  <a:pt x="341" y="71"/>
                </a:lnTo>
                <a:lnTo>
                  <a:pt x="328" y="57"/>
                </a:lnTo>
                <a:lnTo>
                  <a:pt x="314" y="43"/>
                </a:lnTo>
                <a:lnTo>
                  <a:pt x="297" y="32"/>
                </a:lnTo>
                <a:lnTo>
                  <a:pt x="280" y="23"/>
                </a:lnTo>
                <a:lnTo>
                  <a:pt x="260" y="14"/>
                </a:lnTo>
                <a:lnTo>
                  <a:pt x="240" y="8"/>
                </a:lnTo>
                <a:lnTo>
                  <a:pt x="218" y="4"/>
                </a:lnTo>
                <a:lnTo>
                  <a:pt x="195" y="1"/>
                </a:lnTo>
                <a:lnTo>
                  <a:pt x="17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grpSp>
        <p:nvGrpSpPr>
          <p:cNvPr id="60" name="Group 4"/>
          <p:cNvGrpSpPr>
            <a:grpSpLocks noChangeAspect="1"/>
          </p:cNvGrpSpPr>
          <p:nvPr/>
        </p:nvGrpSpPr>
        <p:grpSpPr bwMode="auto">
          <a:xfrm>
            <a:off x="7790558" y="6524917"/>
            <a:ext cx="1003300" cy="132209"/>
            <a:chOff x="4649" y="3974"/>
            <a:chExt cx="812" cy="107"/>
          </a:xfrm>
        </p:grpSpPr>
        <p:sp>
          <p:nvSpPr>
            <p:cNvPr id="61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4649" y="3974"/>
              <a:ext cx="812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4649" y="3974"/>
              <a:ext cx="812" cy="107"/>
            </a:xfrm>
            <a:custGeom>
              <a:avLst/>
              <a:gdLst>
                <a:gd name="T0" fmla="*/ 2293 w 3248"/>
                <a:gd name="T1" fmla="*/ 424 h 428"/>
                <a:gd name="T2" fmla="*/ 2209 w 3248"/>
                <a:gd name="T3" fmla="*/ 355 h 428"/>
                <a:gd name="T4" fmla="*/ 2159 w 3248"/>
                <a:gd name="T5" fmla="*/ 76 h 428"/>
                <a:gd name="T6" fmla="*/ 2306 w 3248"/>
                <a:gd name="T7" fmla="*/ 5 h 428"/>
                <a:gd name="T8" fmla="*/ 2042 w 3248"/>
                <a:gd name="T9" fmla="*/ 407 h 428"/>
                <a:gd name="T10" fmla="*/ 611 w 3248"/>
                <a:gd name="T11" fmla="*/ 11 h 428"/>
                <a:gd name="T12" fmla="*/ 672 w 3248"/>
                <a:gd name="T13" fmla="*/ 353 h 428"/>
                <a:gd name="T14" fmla="*/ 737 w 3248"/>
                <a:gd name="T15" fmla="*/ 376 h 428"/>
                <a:gd name="T16" fmla="*/ 909 w 3248"/>
                <a:gd name="T17" fmla="*/ 1 h 428"/>
                <a:gd name="T18" fmla="*/ 261 w 3248"/>
                <a:gd name="T19" fmla="*/ 332 h 428"/>
                <a:gd name="T20" fmla="*/ 114 w 3248"/>
                <a:gd name="T21" fmla="*/ 347 h 428"/>
                <a:gd name="T22" fmla="*/ 94 w 3248"/>
                <a:gd name="T23" fmla="*/ 277 h 428"/>
                <a:gd name="T24" fmla="*/ 261 w 3248"/>
                <a:gd name="T25" fmla="*/ 332 h 428"/>
                <a:gd name="T26" fmla="*/ 52 w 3248"/>
                <a:gd name="T27" fmla="*/ 102 h 428"/>
                <a:gd name="T28" fmla="*/ 234 w 3248"/>
                <a:gd name="T29" fmla="*/ 90 h 428"/>
                <a:gd name="T30" fmla="*/ 179 w 3248"/>
                <a:gd name="T31" fmla="*/ 176 h 428"/>
                <a:gd name="T32" fmla="*/ 9 w 3248"/>
                <a:gd name="T33" fmla="*/ 257 h 428"/>
                <a:gd name="T34" fmla="*/ 35 w 3248"/>
                <a:gd name="T35" fmla="*/ 394 h 428"/>
                <a:gd name="T36" fmla="*/ 164 w 3248"/>
                <a:gd name="T37" fmla="*/ 426 h 428"/>
                <a:gd name="T38" fmla="*/ 284 w 3248"/>
                <a:gd name="T39" fmla="*/ 404 h 428"/>
                <a:gd name="T40" fmla="*/ 331 w 3248"/>
                <a:gd name="T41" fmla="*/ 45 h 428"/>
                <a:gd name="T42" fmla="*/ 1319 w 3248"/>
                <a:gd name="T43" fmla="*/ 332 h 428"/>
                <a:gd name="T44" fmla="*/ 1168 w 3248"/>
                <a:gd name="T45" fmla="*/ 344 h 428"/>
                <a:gd name="T46" fmla="*/ 1155 w 3248"/>
                <a:gd name="T47" fmla="*/ 272 h 428"/>
                <a:gd name="T48" fmla="*/ 1264 w 3248"/>
                <a:gd name="T49" fmla="*/ 0 h 428"/>
                <a:gd name="T50" fmla="*/ 1122 w 3248"/>
                <a:gd name="T51" fmla="*/ 98 h 428"/>
                <a:gd name="T52" fmla="*/ 1298 w 3248"/>
                <a:gd name="T53" fmla="*/ 94 h 428"/>
                <a:gd name="T54" fmla="*/ 1212 w 3248"/>
                <a:gd name="T55" fmla="*/ 177 h 428"/>
                <a:gd name="T56" fmla="*/ 1064 w 3248"/>
                <a:gd name="T57" fmla="*/ 270 h 428"/>
                <a:gd name="T58" fmla="*/ 1102 w 3248"/>
                <a:gd name="T59" fmla="*/ 401 h 428"/>
                <a:gd name="T60" fmla="*/ 1246 w 3248"/>
                <a:gd name="T61" fmla="*/ 423 h 428"/>
                <a:gd name="T62" fmla="*/ 1354 w 3248"/>
                <a:gd name="T63" fmla="*/ 407 h 428"/>
                <a:gd name="T64" fmla="*/ 1381 w 3248"/>
                <a:gd name="T65" fmla="*/ 36 h 428"/>
                <a:gd name="T66" fmla="*/ 2714 w 3248"/>
                <a:gd name="T67" fmla="*/ 326 h 428"/>
                <a:gd name="T68" fmla="*/ 2576 w 3248"/>
                <a:gd name="T69" fmla="*/ 337 h 428"/>
                <a:gd name="T70" fmla="*/ 2533 w 3248"/>
                <a:gd name="T71" fmla="*/ 4 h 428"/>
                <a:gd name="T72" fmla="*/ 2468 w 3248"/>
                <a:gd name="T73" fmla="*/ 364 h 428"/>
                <a:gd name="T74" fmla="*/ 2611 w 3248"/>
                <a:gd name="T75" fmla="*/ 427 h 428"/>
                <a:gd name="T76" fmla="*/ 2761 w 3248"/>
                <a:gd name="T77" fmla="*/ 403 h 428"/>
                <a:gd name="T78" fmla="*/ 2937 w 3248"/>
                <a:gd name="T79" fmla="*/ 413 h 428"/>
                <a:gd name="T80" fmla="*/ 3135 w 3248"/>
                <a:gd name="T81" fmla="*/ 422 h 428"/>
                <a:gd name="T82" fmla="*/ 3248 w 3248"/>
                <a:gd name="T83" fmla="*/ 300 h 428"/>
                <a:gd name="T84" fmla="*/ 3184 w 3248"/>
                <a:gd name="T85" fmla="*/ 204 h 428"/>
                <a:gd name="T86" fmla="*/ 3038 w 3248"/>
                <a:gd name="T87" fmla="*/ 127 h 428"/>
                <a:gd name="T88" fmla="*/ 3076 w 3248"/>
                <a:gd name="T89" fmla="*/ 76 h 428"/>
                <a:gd name="T90" fmla="*/ 3232 w 3248"/>
                <a:gd name="T91" fmla="*/ 30 h 428"/>
                <a:gd name="T92" fmla="*/ 3039 w 3248"/>
                <a:gd name="T93" fmla="*/ 8 h 428"/>
                <a:gd name="T94" fmla="*/ 2943 w 3248"/>
                <a:gd name="T95" fmla="*/ 122 h 428"/>
                <a:gd name="T96" fmla="*/ 3021 w 3248"/>
                <a:gd name="T97" fmla="*/ 229 h 428"/>
                <a:gd name="T98" fmla="*/ 3154 w 3248"/>
                <a:gd name="T99" fmla="*/ 300 h 428"/>
                <a:gd name="T100" fmla="*/ 3113 w 3248"/>
                <a:gd name="T101" fmla="*/ 350 h 428"/>
                <a:gd name="T102" fmla="*/ 1639 w 3248"/>
                <a:gd name="T103" fmla="*/ 80 h 428"/>
                <a:gd name="T104" fmla="*/ 1790 w 3248"/>
                <a:gd name="T105" fmla="*/ 97 h 428"/>
                <a:gd name="T106" fmla="*/ 1832 w 3248"/>
                <a:gd name="T107" fmla="*/ 245 h 428"/>
                <a:gd name="T108" fmla="*/ 1739 w 3248"/>
                <a:gd name="T109" fmla="*/ 353 h 428"/>
                <a:gd name="T110" fmla="*/ 1652 w 3248"/>
                <a:gd name="T111" fmla="*/ 4 h 428"/>
                <a:gd name="T112" fmla="*/ 1701 w 3248"/>
                <a:gd name="T113" fmla="*/ 428 h 428"/>
                <a:gd name="T114" fmla="*/ 1885 w 3248"/>
                <a:gd name="T115" fmla="*/ 369 h 428"/>
                <a:gd name="T116" fmla="*/ 1930 w 3248"/>
                <a:gd name="T117" fmla="*/ 187 h 428"/>
                <a:gd name="T118" fmla="*/ 1786 w 3248"/>
                <a:gd name="T119" fmla="*/ 8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48" h="428">
                  <a:moveTo>
                    <a:pt x="2042" y="407"/>
                  </a:moveTo>
                  <a:lnTo>
                    <a:pt x="2042" y="407"/>
                  </a:lnTo>
                  <a:lnTo>
                    <a:pt x="2055" y="411"/>
                  </a:lnTo>
                  <a:lnTo>
                    <a:pt x="2089" y="418"/>
                  </a:lnTo>
                  <a:lnTo>
                    <a:pt x="2113" y="421"/>
                  </a:lnTo>
                  <a:lnTo>
                    <a:pt x="2140" y="425"/>
                  </a:lnTo>
                  <a:lnTo>
                    <a:pt x="2171" y="427"/>
                  </a:lnTo>
                  <a:lnTo>
                    <a:pt x="2205" y="428"/>
                  </a:lnTo>
                  <a:lnTo>
                    <a:pt x="2205" y="428"/>
                  </a:lnTo>
                  <a:lnTo>
                    <a:pt x="2239" y="427"/>
                  </a:lnTo>
                  <a:lnTo>
                    <a:pt x="2268" y="426"/>
                  </a:lnTo>
                  <a:lnTo>
                    <a:pt x="2293" y="424"/>
                  </a:lnTo>
                  <a:lnTo>
                    <a:pt x="2312" y="422"/>
                  </a:lnTo>
                  <a:lnTo>
                    <a:pt x="2339" y="419"/>
                  </a:lnTo>
                  <a:lnTo>
                    <a:pt x="2347" y="417"/>
                  </a:lnTo>
                  <a:lnTo>
                    <a:pt x="2347" y="346"/>
                  </a:lnTo>
                  <a:lnTo>
                    <a:pt x="2347" y="346"/>
                  </a:lnTo>
                  <a:lnTo>
                    <a:pt x="2339" y="347"/>
                  </a:lnTo>
                  <a:lnTo>
                    <a:pt x="2314" y="351"/>
                  </a:lnTo>
                  <a:lnTo>
                    <a:pt x="2277" y="354"/>
                  </a:lnTo>
                  <a:lnTo>
                    <a:pt x="2255" y="355"/>
                  </a:lnTo>
                  <a:lnTo>
                    <a:pt x="2230" y="355"/>
                  </a:lnTo>
                  <a:lnTo>
                    <a:pt x="2230" y="355"/>
                  </a:lnTo>
                  <a:lnTo>
                    <a:pt x="2209" y="355"/>
                  </a:lnTo>
                  <a:lnTo>
                    <a:pt x="2191" y="354"/>
                  </a:lnTo>
                  <a:lnTo>
                    <a:pt x="2160" y="351"/>
                  </a:lnTo>
                  <a:lnTo>
                    <a:pt x="2141" y="349"/>
                  </a:lnTo>
                  <a:lnTo>
                    <a:pt x="2134" y="348"/>
                  </a:lnTo>
                  <a:lnTo>
                    <a:pt x="2134" y="247"/>
                  </a:lnTo>
                  <a:lnTo>
                    <a:pt x="2318" y="247"/>
                  </a:lnTo>
                  <a:lnTo>
                    <a:pt x="2318" y="175"/>
                  </a:lnTo>
                  <a:lnTo>
                    <a:pt x="2134" y="175"/>
                  </a:lnTo>
                  <a:lnTo>
                    <a:pt x="2134" y="79"/>
                  </a:lnTo>
                  <a:lnTo>
                    <a:pt x="2134" y="79"/>
                  </a:lnTo>
                  <a:lnTo>
                    <a:pt x="2141" y="78"/>
                  </a:lnTo>
                  <a:lnTo>
                    <a:pt x="2159" y="76"/>
                  </a:lnTo>
                  <a:lnTo>
                    <a:pt x="2187" y="74"/>
                  </a:lnTo>
                  <a:lnTo>
                    <a:pt x="2224" y="73"/>
                  </a:lnTo>
                  <a:lnTo>
                    <a:pt x="2224" y="73"/>
                  </a:lnTo>
                  <a:lnTo>
                    <a:pt x="2247" y="73"/>
                  </a:lnTo>
                  <a:lnTo>
                    <a:pt x="2268" y="74"/>
                  </a:lnTo>
                  <a:lnTo>
                    <a:pt x="2305" y="77"/>
                  </a:lnTo>
                  <a:lnTo>
                    <a:pt x="2331" y="80"/>
                  </a:lnTo>
                  <a:lnTo>
                    <a:pt x="2340" y="82"/>
                  </a:lnTo>
                  <a:lnTo>
                    <a:pt x="2340" y="10"/>
                  </a:lnTo>
                  <a:lnTo>
                    <a:pt x="2340" y="10"/>
                  </a:lnTo>
                  <a:lnTo>
                    <a:pt x="2331" y="9"/>
                  </a:lnTo>
                  <a:lnTo>
                    <a:pt x="2306" y="5"/>
                  </a:lnTo>
                  <a:lnTo>
                    <a:pt x="2266" y="2"/>
                  </a:lnTo>
                  <a:lnTo>
                    <a:pt x="2242" y="1"/>
                  </a:lnTo>
                  <a:lnTo>
                    <a:pt x="2214" y="0"/>
                  </a:lnTo>
                  <a:lnTo>
                    <a:pt x="2214" y="0"/>
                  </a:lnTo>
                  <a:lnTo>
                    <a:pt x="2176" y="1"/>
                  </a:lnTo>
                  <a:lnTo>
                    <a:pt x="2144" y="3"/>
                  </a:lnTo>
                  <a:lnTo>
                    <a:pt x="2114" y="6"/>
                  </a:lnTo>
                  <a:lnTo>
                    <a:pt x="2089" y="9"/>
                  </a:lnTo>
                  <a:lnTo>
                    <a:pt x="2069" y="13"/>
                  </a:lnTo>
                  <a:lnTo>
                    <a:pt x="2055" y="15"/>
                  </a:lnTo>
                  <a:lnTo>
                    <a:pt x="2042" y="19"/>
                  </a:lnTo>
                  <a:lnTo>
                    <a:pt x="2042" y="407"/>
                  </a:lnTo>
                  <a:close/>
                  <a:moveTo>
                    <a:pt x="726" y="246"/>
                  </a:moveTo>
                  <a:lnTo>
                    <a:pt x="726" y="246"/>
                  </a:lnTo>
                  <a:lnTo>
                    <a:pt x="722" y="257"/>
                  </a:lnTo>
                  <a:lnTo>
                    <a:pt x="719" y="270"/>
                  </a:lnTo>
                  <a:lnTo>
                    <a:pt x="719" y="270"/>
                  </a:lnTo>
                  <a:lnTo>
                    <a:pt x="715" y="257"/>
                  </a:lnTo>
                  <a:lnTo>
                    <a:pt x="712" y="246"/>
                  </a:lnTo>
                  <a:lnTo>
                    <a:pt x="630" y="39"/>
                  </a:lnTo>
                  <a:lnTo>
                    <a:pt x="630" y="39"/>
                  </a:lnTo>
                  <a:lnTo>
                    <a:pt x="624" y="28"/>
                  </a:lnTo>
                  <a:lnTo>
                    <a:pt x="618" y="19"/>
                  </a:lnTo>
                  <a:lnTo>
                    <a:pt x="611" y="11"/>
                  </a:lnTo>
                  <a:lnTo>
                    <a:pt x="603" y="7"/>
                  </a:lnTo>
                  <a:lnTo>
                    <a:pt x="593" y="3"/>
                  </a:lnTo>
                  <a:lnTo>
                    <a:pt x="581" y="1"/>
                  </a:lnTo>
                  <a:lnTo>
                    <a:pt x="569" y="1"/>
                  </a:lnTo>
                  <a:lnTo>
                    <a:pt x="555" y="0"/>
                  </a:lnTo>
                  <a:lnTo>
                    <a:pt x="555" y="0"/>
                  </a:lnTo>
                  <a:lnTo>
                    <a:pt x="529" y="1"/>
                  </a:lnTo>
                  <a:lnTo>
                    <a:pt x="513" y="2"/>
                  </a:lnTo>
                  <a:lnTo>
                    <a:pt x="471" y="422"/>
                  </a:lnTo>
                  <a:lnTo>
                    <a:pt x="564" y="422"/>
                  </a:lnTo>
                  <a:lnTo>
                    <a:pt x="584" y="140"/>
                  </a:lnTo>
                  <a:lnTo>
                    <a:pt x="672" y="353"/>
                  </a:lnTo>
                  <a:lnTo>
                    <a:pt x="672" y="353"/>
                  </a:lnTo>
                  <a:lnTo>
                    <a:pt x="675" y="359"/>
                  </a:lnTo>
                  <a:lnTo>
                    <a:pt x="679" y="364"/>
                  </a:lnTo>
                  <a:lnTo>
                    <a:pt x="684" y="368"/>
                  </a:lnTo>
                  <a:lnTo>
                    <a:pt x="689" y="371"/>
                  </a:lnTo>
                  <a:lnTo>
                    <a:pt x="695" y="373"/>
                  </a:lnTo>
                  <a:lnTo>
                    <a:pt x="702" y="376"/>
                  </a:lnTo>
                  <a:lnTo>
                    <a:pt x="710" y="377"/>
                  </a:lnTo>
                  <a:lnTo>
                    <a:pt x="719" y="377"/>
                  </a:lnTo>
                  <a:lnTo>
                    <a:pt x="719" y="377"/>
                  </a:lnTo>
                  <a:lnTo>
                    <a:pt x="728" y="377"/>
                  </a:lnTo>
                  <a:lnTo>
                    <a:pt x="737" y="376"/>
                  </a:lnTo>
                  <a:lnTo>
                    <a:pt x="744" y="373"/>
                  </a:lnTo>
                  <a:lnTo>
                    <a:pt x="750" y="371"/>
                  </a:lnTo>
                  <a:lnTo>
                    <a:pt x="755" y="368"/>
                  </a:lnTo>
                  <a:lnTo>
                    <a:pt x="759" y="364"/>
                  </a:lnTo>
                  <a:lnTo>
                    <a:pt x="762" y="359"/>
                  </a:lnTo>
                  <a:lnTo>
                    <a:pt x="765" y="353"/>
                  </a:lnTo>
                  <a:lnTo>
                    <a:pt x="853" y="140"/>
                  </a:lnTo>
                  <a:lnTo>
                    <a:pt x="874" y="422"/>
                  </a:lnTo>
                  <a:lnTo>
                    <a:pt x="967" y="422"/>
                  </a:lnTo>
                  <a:lnTo>
                    <a:pt x="925" y="2"/>
                  </a:lnTo>
                  <a:lnTo>
                    <a:pt x="925" y="2"/>
                  </a:lnTo>
                  <a:lnTo>
                    <a:pt x="909" y="1"/>
                  </a:lnTo>
                  <a:lnTo>
                    <a:pt x="883" y="0"/>
                  </a:lnTo>
                  <a:lnTo>
                    <a:pt x="883" y="0"/>
                  </a:lnTo>
                  <a:lnTo>
                    <a:pt x="868" y="1"/>
                  </a:lnTo>
                  <a:lnTo>
                    <a:pt x="856" y="1"/>
                  </a:lnTo>
                  <a:lnTo>
                    <a:pt x="845" y="3"/>
                  </a:lnTo>
                  <a:lnTo>
                    <a:pt x="836" y="7"/>
                  </a:lnTo>
                  <a:lnTo>
                    <a:pt x="827" y="11"/>
                  </a:lnTo>
                  <a:lnTo>
                    <a:pt x="819" y="19"/>
                  </a:lnTo>
                  <a:lnTo>
                    <a:pt x="813" y="28"/>
                  </a:lnTo>
                  <a:lnTo>
                    <a:pt x="808" y="39"/>
                  </a:lnTo>
                  <a:lnTo>
                    <a:pt x="726" y="246"/>
                  </a:lnTo>
                  <a:close/>
                  <a:moveTo>
                    <a:pt x="261" y="332"/>
                  </a:moveTo>
                  <a:lnTo>
                    <a:pt x="261" y="332"/>
                  </a:lnTo>
                  <a:lnTo>
                    <a:pt x="241" y="338"/>
                  </a:lnTo>
                  <a:lnTo>
                    <a:pt x="215" y="347"/>
                  </a:lnTo>
                  <a:lnTo>
                    <a:pt x="200" y="350"/>
                  </a:lnTo>
                  <a:lnTo>
                    <a:pt x="186" y="353"/>
                  </a:lnTo>
                  <a:lnTo>
                    <a:pt x="172" y="355"/>
                  </a:lnTo>
                  <a:lnTo>
                    <a:pt x="157" y="355"/>
                  </a:lnTo>
                  <a:lnTo>
                    <a:pt x="157" y="355"/>
                  </a:lnTo>
                  <a:lnTo>
                    <a:pt x="144" y="355"/>
                  </a:lnTo>
                  <a:lnTo>
                    <a:pt x="131" y="353"/>
                  </a:lnTo>
                  <a:lnTo>
                    <a:pt x="120" y="349"/>
                  </a:lnTo>
                  <a:lnTo>
                    <a:pt x="114" y="347"/>
                  </a:lnTo>
                  <a:lnTo>
                    <a:pt x="109" y="344"/>
                  </a:lnTo>
                  <a:lnTo>
                    <a:pt x="105" y="340"/>
                  </a:lnTo>
                  <a:lnTo>
                    <a:pt x="101" y="336"/>
                  </a:lnTo>
                  <a:lnTo>
                    <a:pt x="98" y="331"/>
                  </a:lnTo>
                  <a:lnTo>
                    <a:pt x="95" y="326"/>
                  </a:lnTo>
                  <a:lnTo>
                    <a:pt x="93" y="321"/>
                  </a:lnTo>
                  <a:lnTo>
                    <a:pt x="92" y="315"/>
                  </a:lnTo>
                  <a:lnTo>
                    <a:pt x="91" y="308"/>
                  </a:lnTo>
                  <a:lnTo>
                    <a:pt x="90" y="300"/>
                  </a:lnTo>
                  <a:lnTo>
                    <a:pt x="90" y="300"/>
                  </a:lnTo>
                  <a:lnTo>
                    <a:pt x="91" y="288"/>
                  </a:lnTo>
                  <a:lnTo>
                    <a:pt x="94" y="277"/>
                  </a:lnTo>
                  <a:lnTo>
                    <a:pt x="96" y="272"/>
                  </a:lnTo>
                  <a:lnTo>
                    <a:pt x="99" y="266"/>
                  </a:lnTo>
                  <a:lnTo>
                    <a:pt x="103" y="262"/>
                  </a:lnTo>
                  <a:lnTo>
                    <a:pt x="106" y="258"/>
                  </a:lnTo>
                  <a:lnTo>
                    <a:pt x="111" y="255"/>
                  </a:lnTo>
                  <a:lnTo>
                    <a:pt x="116" y="252"/>
                  </a:lnTo>
                  <a:lnTo>
                    <a:pt x="123" y="249"/>
                  </a:lnTo>
                  <a:lnTo>
                    <a:pt x="129" y="247"/>
                  </a:lnTo>
                  <a:lnTo>
                    <a:pt x="145" y="244"/>
                  </a:lnTo>
                  <a:lnTo>
                    <a:pt x="162" y="242"/>
                  </a:lnTo>
                  <a:lnTo>
                    <a:pt x="261" y="239"/>
                  </a:lnTo>
                  <a:lnTo>
                    <a:pt x="261" y="332"/>
                  </a:lnTo>
                  <a:close/>
                  <a:moveTo>
                    <a:pt x="205" y="0"/>
                  </a:moveTo>
                  <a:lnTo>
                    <a:pt x="205" y="0"/>
                  </a:lnTo>
                  <a:lnTo>
                    <a:pt x="176" y="1"/>
                  </a:lnTo>
                  <a:lnTo>
                    <a:pt x="147" y="4"/>
                  </a:lnTo>
                  <a:lnTo>
                    <a:pt x="121" y="7"/>
                  </a:lnTo>
                  <a:lnTo>
                    <a:pt x="97" y="12"/>
                  </a:lnTo>
                  <a:lnTo>
                    <a:pt x="77" y="17"/>
                  </a:lnTo>
                  <a:lnTo>
                    <a:pt x="58" y="23"/>
                  </a:lnTo>
                  <a:lnTo>
                    <a:pt x="44" y="28"/>
                  </a:lnTo>
                  <a:lnTo>
                    <a:pt x="33" y="33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63" y="98"/>
                  </a:lnTo>
                  <a:lnTo>
                    <a:pt x="92" y="91"/>
                  </a:lnTo>
                  <a:lnTo>
                    <a:pt x="111" y="86"/>
                  </a:lnTo>
                  <a:lnTo>
                    <a:pt x="133" y="82"/>
                  </a:lnTo>
                  <a:lnTo>
                    <a:pt x="155" y="80"/>
                  </a:lnTo>
                  <a:lnTo>
                    <a:pt x="179" y="79"/>
                  </a:lnTo>
                  <a:lnTo>
                    <a:pt x="179" y="79"/>
                  </a:lnTo>
                  <a:lnTo>
                    <a:pt x="197" y="80"/>
                  </a:lnTo>
                  <a:lnTo>
                    <a:pt x="214" y="82"/>
                  </a:lnTo>
                  <a:lnTo>
                    <a:pt x="221" y="84"/>
                  </a:lnTo>
                  <a:lnTo>
                    <a:pt x="228" y="86"/>
                  </a:lnTo>
                  <a:lnTo>
                    <a:pt x="234" y="90"/>
                  </a:lnTo>
                  <a:lnTo>
                    <a:pt x="239" y="94"/>
                  </a:lnTo>
                  <a:lnTo>
                    <a:pt x="244" y="98"/>
                  </a:lnTo>
                  <a:lnTo>
                    <a:pt x="248" y="102"/>
                  </a:lnTo>
                  <a:lnTo>
                    <a:pt x="251" y="108"/>
                  </a:lnTo>
                  <a:lnTo>
                    <a:pt x="254" y="114"/>
                  </a:lnTo>
                  <a:lnTo>
                    <a:pt x="256" y="120"/>
                  </a:lnTo>
                  <a:lnTo>
                    <a:pt x="258" y="129"/>
                  </a:lnTo>
                  <a:lnTo>
                    <a:pt x="260" y="137"/>
                  </a:lnTo>
                  <a:lnTo>
                    <a:pt x="260" y="146"/>
                  </a:lnTo>
                  <a:lnTo>
                    <a:pt x="260" y="176"/>
                  </a:lnTo>
                  <a:lnTo>
                    <a:pt x="179" y="176"/>
                  </a:lnTo>
                  <a:lnTo>
                    <a:pt x="179" y="176"/>
                  </a:lnTo>
                  <a:lnTo>
                    <a:pt x="154" y="177"/>
                  </a:lnTo>
                  <a:lnTo>
                    <a:pt x="132" y="179"/>
                  </a:lnTo>
                  <a:lnTo>
                    <a:pt x="111" y="182"/>
                  </a:lnTo>
                  <a:lnTo>
                    <a:pt x="93" y="187"/>
                  </a:lnTo>
                  <a:lnTo>
                    <a:pt x="77" y="192"/>
                  </a:lnTo>
                  <a:lnTo>
                    <a:pt x="61" y="200"/>
                  </a:lnTo>
                  <a:lnTo>
                    <a:pt x="49" y="207"/>
                  </a:lnTo>
                  <a:lnTo>
                    <a:pt x="38" y="216"/>
                  </a:lnTo>
                  <a:lnTo>
                    <a:pt x="29" y="225"/>
                  </a:lnTo>
                  <a:lnTo>
                    <a:pt x="20" y="236"/>
                  </a:lnTo>
                  <a:lnTo>
                    <a:pt x="14" y="246"/>
                  </a:lnTo>
                  <a:lnTo>
                    <a:pt x="9" y="257"/>
                  </a:lnTo>
                  <a:lnTo>
                    <a:pt x="5" y="270"/>
                  </a:lnTo>
                  <a:lnTo>
                    <a:pt x="2" y="282"/>
                  </a:lnTo>
                  <a:lnTo>
                    <a:pt x="1" y="294"/>
                  </a:lnTo>
                  <a:lnTo>
                    <a:pt x="0" y="307"/>
                  </a:lnTo>
                  <a:lnTo>
                    <a:pt x="0" y="307"/>
                  </a:lnTo>
                  <a:lnTo>
                    <a:pt x="1" y="323"/>
                  </a:lnTo>
                  <a:lnTo>
                    <a:pt x="3" y="338"/>
                  </a:lnTo>
                  <a:lnTo>
                    <a:pt x="7" y="352"/>
                  </a:lnTo>
                  <a:lnTo>
                    <a:pt x="12" y="364"/>
                  </a:lnTo>
                  <a:lnTo>
                    <a:pt x="19" y="376"/>
                  </a:lnTo>
                  <a:lnTo>
                    <a:pt x="27" y="386"/>
                  </a:lnTo>
                  <a:lnTo>
                    <a:pt x="35" y="394"/>
                  </a:lnTo>
                  <a:lnTo>
                    <a:pt x="45" y="401"/>
                  </a:lnTo>
                  <a:lnTo>
                    <a:pt x="54" y="408"/>
                  </a:lnTo>
                  <a:lnTo>
                    <a:pt x="65" y="414"/>
                  </a:lnTo>
                  <a:lnTo>
                    <a:pt x="77" y="418"/>
                  </a:lnTo>
                  <a:lnTo>
                    <a:pt x="89" y="422"/>
                  </a:lnTo>
                  <a:lnTo>
                    <a:pt x="101" y="424"/>
                  </a:lnTo>
                  <a:lnTo>
                    <a:pt x="113" y="426"/>
                  </a:lnTo>
                  <a:lnTo>
                    <a:pt x="126" y="427"/>
                  </a:lnTo>
                  <a:lnTo>
                    <a:pt x="138" y="428"/>
                  </a:lnTo>
                  <a:lnTo>
                    <a:pt x="138" y="428"/>
                  </a:lnTo>
                  <a:lnTo>
                    <a:pt x="151" y="427"/>
                  </a:lnTo>
                  <a:lnTo>
                    <a:pt x="164" y="426"/>
                  </a:lnTo>
                  <a:lnTo>
                    <a:pt x="189" y="423"/>
                  </a:lnTo>
                  <a:lnTo>
                    <a:pt x="209" y="418"/>
                  </a:lnTo>
                  <a:lnTo>
                    <a:pt x="227" y="412"/>
                  </a:lnTo>
                  <a:lnTo>
                    <a:pt x="241" y="406"/>
                  </a:lnTo>
                  <a:lnTo>
                    <a:pt x="252" y="401"/>
                  </a:lnTo>
                  <a:lnTo>
                    <a:pt x="260" y="397"/>
                  </a:lnTo>
                  <a:lnTo>
                    <a:pt x="264" y="396"/>
                  </a:lnTo>
                  <a:lnTo>
                    <a:pt x="264" y="396"/>
                  </a:lnTo>
                  <a:lnTo>
                    <a:pt x="266" y="397"/>
                  </a:lnTo>
                  <a:lnTo>
                    <a:pt x="270" y="398"/>
                  </a:lnTo>
                  <a:lnTo>
                    <a:pt x="276" y="401"/>
                  </a:lnTo>
                  <a:lnTo>
                    <a:pt x="284" y="404"/>
                  </a:lnTo>
                  <a:lnTo>
                    <a:pt x="295" y="407"/>
                  </a:lnTo>
                  <a:lnTo>
                    <a:pt x="311" y="411"/>
                  </a:lnTo>
                  <a:lnTo>
                    <a:pt x="329" y="412"/>
                  </a:lnTo>
                  <a:lnTo>
                    <a:pt x="352" y="413"/>
                  </a:lnTo>
                  <a:lnTo>
                    <a:pt x="352" y="122"/>
                  </a:lnTo>
                  <a:lnTo>
                    <a:pt x="352" y="122"/>
                  </a:lnTo>
                  <a:lnTo>
                    <a:pt x="352" y="106"/>
                  </a:lnTo>
                  <a:lnTo>
                    <a:pt x="350" y="92"/>
                  </a:lnTo>
                  <a:lnTo>
                    <a:pt x="347" y="78"/>
                  </a:lnTo>
                  <a:lnTo>
                    <a:pt x="343" y="66"/>
                  </a:lnTo>
                  <a:lnTo>
                    <a:pt x="337" y="56"/>
                  </a:lnTo>
                  <a:lnTo>
                    <a:pt x="331" y="45"/>
                  </a:lnTo>
                  <a:lnTo>
                    <a:pt x="323" y="36"/>
                  </a:lnTo>
                  <a:lnTo>
                    <a:pt x="314" y="29"/>
                  </a:lnTo>
                  <a:lnTo>
                    <a:pt x="304" y="22"/>
                  </a:lnTo>
                  <a:lnTo>
                    <a:pt x="293" y="15"/>
                  </a:lnTo>
                  <a:lnTo>
                    <a:pt x="281" y="11"/>
                  </a:lnTo>
                  <a:lnTo>
                    <a:pt x="268" y="7"/>
                  </a:lnTo>
                  <a:lnTo>
                    <a:pt x="253" y="4"/>
                  </a:lnTo>
                  <a:lnTo>
                    <a:pt x="238" y="2"/>
                  </a:lnTo>
                  <a:lnTo>
                    <a:pt x="223" y="1"/>
                  </a:lnTo>
                  <a:lnTo>
                    <a:pt x="205" y="0"/>
                  </a:lnTo>
                  <a:close/>
                  <a:moveTo>
                    <a:pt x="1319" y="332"/>
                  </a:moveTo>
                  <a:lnTo>
                    <a:pt x="1319" y="332"/>
                  </a:lnTo>
                  <a:lnTo>
                    <a:pt x="1300" y="338"/>
                  </a:lnTo>
                  <a:lnTo>
                    <a:pt x="1273" y="347"/>
                  </a:lnTo>
                  <a:lnTo>
                    <a:pt x="1259" y="350"/>
                  </a:lnTo>
                  <a:lnTo>
                    <a:pt x="1243" y="353"/>
                  </a:lnTo>
                  <a:lnTo>
                    <a:pt x="1229" y="355"/>
                  </a:lnTo>
                  <a:lnTo>
                    <a:pt x="1216" y="355"/>
                  </a:lnTo>
                  <a:lnTo>
                    <a:pt x="1216" y="355"/>
                  </a:lnTo>
                  <a:lnTo>
                    <a:pt x="1202" y="355"/>
                  </a:lnTo>
                  <a:lnTo>
                    <a:pt x="1189" y="353"/>
                  </a:lnTo>
                  <a:lnTo>
                    <a:pt x="1177" y="349"/>
                  </a:lnTo>
                  <a:lnTo>
                    <a:pt x="1172" y="347"/>
                  </a:lnTo>
                  <a:lnTo>
                    <a:pt x="1168" y="344"/>
                  </a:lnTo>
                  <a:lnTo>
                    <a:pt x="1164" y="340"/>
                  </a:lnTo>
                  <a:lnTo>
                    <a:pt x="1160" y="336"/>
                  </a:lnTo>
                  <a:lnTo>
                    <a:pt x="1157" y="331"/>
                  </a:lnTo>
                  <a:lnTo>
                    <a:pt x="1154" y="326"/>
                  </a:lnTo>
                  <a:lnTo>
                    <a:pt x="1151" y="321"/>
                  </a:lnTo>
                  <a:lnTo>
                    <a:pt x="1149" y="315"/>
                  </a:lnTo>
                  <a:lnTo>
                    <a:pt x="1148" y="308"/>
                  </a:lnTo>
                  <a:lnTo>
                    <a:pt x="1148" y="300"/>
                  </a:lnTo>
                  <a:lnTo>
                    <a:pt x="1148" y="300"/>
                  </a:lnTo>
                  <a:lnTo>
                    <a:pt x="1149" y="288"/>
                  </a:lnTo>
                  <a:lnTo>
                    <a:pt x="1152" y="277"/>
                  </a:lnTo>
                  <a:lnTo>
                    <a:pt x="1155" y="272"/>
                  </a:lnTo>
                  <a:lnTo>
                    <a:pt x="1158" y="266"/>
                  </a:lnTo>
                  <a:lnTo>
                    <a:pt x="1161" y="262"/>
                  </a:lnTo>
                  <a:lnTo>
                    <a:pt x="1165" y="258"/>
                  </a:lnTo>
                  <a:lnTo>
                    <a:pt x="1170" y="255"/>
                  </a:lnTo>
                  <a:lnTo>
                    <a:pt x="1175" y="252"/>
                  </a:lnTo>
                  <a:lnTo>
                    <a:pt x="1181" y="249"/>
                  </a:lnTo>
                  <a:lnTo>
                    <a:pt x="1187" y="247"/>
                  </a:lnTo>
                  <a:lnTo>
                    <a:pt x="1203" y="244"/>
                  </a:lnTo>
                  <a:lnTo>
                    <a:pt x="1221" y="242"/>
                  </a:lnTo>
                  <a:lnTo>
                    <a:pt x="1319" y="239"/>
                  </a:lnTo>
                  <a:lnTo>
                    <a:pt x="1319" y="332"/>
                  </a:lnTo>
                  <a:close/>
                  <a:moveTo>
                    <a:pt x="1264" y="0"/>
                  </a:moveTo>
                  <a:lnTo>
                    <a:pt x="1264" y="0"/>
                  </a:lnTo>
                  <a:lnTo>
                    <a:pt x="1233" y="1"/>
                  </a:lnTo>
                  <a:lnTo>
                    <a:pt x="1206" y="4"/>
                  </a:lnTo>
                  <a:lnTo>
                    <a:pt x="1179" y="7"/>
                  </a:lnTo>
                  <a:lnTo>
                    <a:pt x="1156" y="12"/>
                  </a:lnTo>
                  <a:lnTo>
                    <a:pt x="1135" y="17"/>
                  </a:lnTo>
                  <a:lnTo>
                    <a:pt x="1117" y="23"/>
                  </a:lnTo>
                  <a:lnTo>
                    <a:pt x="1102" y="28"/>
                  </a:lnTo>
                  <a:lnTo>
                    <a:pt x="1091" y="33"/>
                  </a:lnTo>
                  <a:lnTo>
                    <a:pt x="1111" y="102"/>
                  </a:lnTo>
                  <a:lnTo>
                    <a:pt x="1111" y="102"/>
                  </a:lnTo>
                  <a:lnTo>
                    <a:pt x="1122" y="98"/>
                  </a:lnTo>
                  <a:lnTo>
                    <a:pt x="1150" y="91"/>
                  </a:lnTo>
                  <a:lnTo>
                    <a:pt x="1169" y="86"/>
                  </a:lnTo>
                  <a:lnTo>
                    <a:pt x="1190" y="82"/>
                  </a:lnTo>
                  <a:lnTo>
                    <a:pt x="1213" y="80"/>
                  </a:lnTo>
                  <a:lnTo>
                    <a:pt x="1236" y="79"/>
                  </a:lnTo>
                  <a:lnTo>
                    <a:pt x="1236" y="79"/>
                  </a:lnTo>
                  <a:lnTo>
                    <a:pt x="1256" y="80"/>
                  </a:lnTo>
                  <a:lnTo>
                    <a:pt x="1272" y="82"/>
                  </a:lnTo>
                  <a:lnTo>
                    <a:pt x="1279" y="84"/>
                  </a:lnTo>
                  <a:lnTo>
                    <a:pt x="1285" y="86"/>
                  </a:lnTo>
                  <a:lnTo>
                    <a:pt x="1291" y="90"/>
                  </a:lnTo>
                  <a:lnTo>
                    <a:pt x="1298" y="94"/>
                  </a:lnTo>
                  <a:lnTo>
                    <a:pt x="1302" y="98"/>
                  </a:lnTo>
                  <a:lnTo>
                    <a:pt x="1306" y="102"/>
                  </a:lnTo>
                  <a:lnTo>
                    <a:pt x="1310" y="108"/>
                  </a:lnTo>
                  <a:lnTo>
                    <a:pt x="1313" y="114"/>
                  </a:lnTo>
                  <a:lnTo>
                    <a:pt x="1315" y="120"/>
                  </a:lnTo>
                  <a:lnTo>
                    <a:pt x="1316" y="129"/>
                  </a:lnTo>
                  <a:lnTo>
                    <a:pt x="1317" y="137"/>
                  </a:lnTo>
                  <a:lnTo>
                    <a:pt x="1318" y="146"/>
                  </a:lnTo>
                  <a:lnTo>
                    <a:pt x="1318" y="176"/>
                  </a:lnTo>
                  <a:lnTo>
                    <a:pt x="1236" y="176"/>
                  </a:lnTo>
                  <a:lnTo>
                    <a:pt x="1236" y="176"/>
                  </a:lnTo>
                  <a:lnTo>
                    <a:pt x="1212" y="177"/>
                  </a:lnTo>
                  <a:lnTo>
                    <a:pt x="1189" y="179"/>
                  </a:lnTo>
                  <a:lnTo>
                    <a:pt x="1169" y="182"/>
                  </a:lnTo>
                  <a:lnTo>
                    <a:pt x="1150" y="187"/>
                  </a:lnTo>
                  <a:lnTo>
                    <a:pt x="1134" y="192"/>
                  </a:lnTo>
                  <a:lnTo>
                    <a:pt x="1120" y="200"/>
                  </a:lnTo>
                  <a:lnTo>
                    <a:pt x="1108" y="207"/>
                  </a:lnTo>
                  <a:lnTo>
                    <a:pt x="1096" y="216"/>
                  </a:lnTo>
                  <a:lnTo>
                    <a:pt x="1086" y="225"/>
                  </a:lnTo>
                  <a:lnTo>
                    <a:pt x="1079" y="236"/>
                  </a:lnTo>
                  <a:lnTo>
                    <a:pt x="1072" y="246"/>
                  </a:lnTo>
                  <a:lnTo>
                    <a:pt x="1067" y="257"/>
                  </a:lnTo>
                  <a:lnTo>
                    <a:pt x="1064" y="270"/>
                  </a:lnTo>
                  <a:lnTo>
                    <a:pt x="1061" y="282"/>
                  </a:lnTo>
                  <a:lnTo>
                    <a:pt x="1058" y="294"/>
                  </a:lnTo>
                  <a:lnTo>
                    <a:pt x="1058" y="307"/>
                  </a:lnTo>
                  <a:lnTo>
                    <a:pt x="1058" y="307"/>
                  </a:lnTo>
                  <a:lnTo>
                    <a:pt x="1060" y="323"/>
                  </a:lnTo>
                  <a:lnTo>
                    <a:pt x="1062" y="338"/>
                  </a:lnTo>
                  <a:lnTo>
                    <a:pt x="1066" y="352"/>
                  </a:lnTo>
                  <a:lnTo>
                    <a:pt x="1071" y="364"/>
                  </a:lnTo>
                  <a:lnTo>
                    <a:pt x="1077" y="376"/>
                  </a:lnTo>
                  <a:lnTo>
                    <a:pt x="1085" y="386"/>
                  </a:lnTo>
                  <a:lnTo>
                    <a:pt x="1093" y="394"/>
                  </a:lnTo>
                  <a:lnTo>
                    <a:pt x="1102" y="401"/>
                  </a:lnTo>
                  <a:lnTo>
                    <a:pt x="1113" y="408"/>
                  </a:lnTo>
                  <a:lnTo>
                    <a:pt x="1124" y="414"/>
                  </a:lnTo>
                  <a:lnTo>
                    <a:pt x="1135" y="418"/>
                  </a:lnTo>
                  <a:lnTo>
                    <a:pt x="1146" y="422"/>
                  </a:lnTo>
                  <a:lnTo>
                    <a:pt x="1159" y="424"/>
                  </a:lnTo>
                  <a:lnTo>
                    <a:pt x="1171" y="426"/>
                  </a:lnTo>
                  <a:lnTo>
                    <a:pt x="1183" y="427"/>
                  </a:lnTo>
                  <a:lnTo>
                    <a:pt x="1195" y="428"/>
                  </a:lnTo>
                  <a:lnTo>
                    <a:pt x="1195" y="428"/>
                  </a:lnTo>
                  <a:lnTo>
                    <a:pt x="1210" y="427"/>
                  </a:lnTo>
                  <a:lnTo>
                    <a:pt x="1223" y="426"/>
                  </a:lnTo>
                  <a:lnTo>
                    <a:pt x="1246" y="423"/>
                  </a:lnTo>
                  <a:lnTo>
                    <a:pt x="1268" y="418"/>
                  </a:lnTo>
                  <a:lnTo>
                    <a:pt x="1285" y="412"/>
                  </a:lnTo>
                  <a:lnTo>
                    <a:pt x="1300" y="406"/>
                  </a:lnTo>
                  <a:lnTo>
                    <a:pt x="1311" y="401"/>
                  </a:lnTo>
                  <a:lnTo>
                    <a:pt x="1318" y="397"/>
                  </a:lnTo>
                  <a:lnTo>
                    <a:pt x="1322" y="396"/>
                  </a:lnTo>
                  <a:lnTo>
                    <a:pt x="1322" y="396"/>
                  </a:lnTo>
                  <a:lnTo>
                    <a:pt x="1324" y="397"/>
                  </a:lnTo>
                  <a:lnTo>
                    <a:pt x="1327" y="398"/>
                  </a:lnTo>
                  <a:lnTo>
                    <a:pt x="1333" y="401"/>
                  </a:lnTo>
                  <a:lnTo>
                    <a:pt x="1341" y="404"/>
                  </a:lnTo>
                  <a:lnTo>
                    <a:pt x="1354" y="407"/>
                  </a:lnTo>
                  <a:lnTo>
                    <a:pt x="1368" y="411"/>
                  </a:lnTo>
                  <a:lnTo>
                    <a:pt x="1387" y="412"/>
                  </a:lnTo>
                  <a:lnTo>
                    <a:pt x="1411" y="413"/>
                  </a:lnTo>
                  <a:lnTo>
                    <a:pt x="1411" y="122"/>
                  </a:lnTo>
                  <a:lnTo>
                    <a:pt x="1411" y="122"/>
                  </a:lnTo>
                  <a:lnTo>
                    <a:pt x="1411" y="106"/>
                  </a:lnTo>
                  <a:lnTo>
                    <a:pt x="1409" y="92"/>
                  </a:lnTo>
                  <a:lnTo>
                    <a:pt x="1406" y="78"/>
                  </a:lnTo>
                  <a:lnTo>
                    <a:pt x="1401" y="66"/>
                  </a:lnTo>
                  <a:lnTo>
                    <a:pt x="1396" y="56"/>
                  </a:lnTo>
                  <a:lnTo>
                    <a:pt x="1388" y="45"/>
                  </a:lnTo>
                  <a:lnTo>
                    <a:pt x="1381" y="36"/>
                  </a:lnTo>
                  <a:lnTo>
                    <a:pt x="1372" y="29"/>
                  </a:lnTo>
                  <a:lnTo>
                    <a:pt x="1362" y="22"/>
                  </a:lnTo>
                  <a:lnTo>
                    <a:pt x="1351" y="15"/>
                  </a:lnTo>
                  <a:lnTo>
                    <a:pt x="1339" y="11"/>
                  </a:lnTo>
                  <a:lnTo>
                    <a:pt x="1326" y="7"/>
                  </a:lnTo>
                  <a:lnTo>
                    <a:pt x="1312" y="4"/>
                  </a:lnTo>
                  <a:lnTo>
                    <a:pt x="1297" y="2"/>
                  </a:lnTo>
                  <a:lnTo>
                    <a:pt x="1280" y="1"/>
                  </a:lnTo>
                  <a:lnTo>
                    <a:pt x="1264" y="0"/>
                  </a:lnTo>
                  <a:close/>
                  <a:moveTo>
                    <a:pt x="2735" y="317"/>
                  </a:moveTo>
                  <a:lnTo>
                    <a:pt x="2735" y="317"/>
                  </a:lnTo>
                  <a:lnTo>
                    <a:pt x="2714" y="326"/>
                  </a:lnTo>
                  <a:lnTo>
                    <a:pt x="2700" y="331"/>
                  </a:lnTo>
                  <a:lnTo>
                    <a:pt x="2686" y="335"/>
                  </a:lnTo>
                  <a:lnTo>
                    <a:pt x="2671" y="340"/>
                  </a:lnTo>
                  <a:lnTo>
                    <a:pt x="2654" y="343"/>
                  </a:lnTo>
                  <a:lnTo>
                    <a:pt x="2638" y="345"/>
                  </a:lnTo>
                  <a:lnTo>
                    <a:pt x="2621" y="346"/>
                  </a:lnTo>
                  <a:lnTo>
                    <a:pt x="2621" y="346"/>
                  </a:lnTo>
                  <a:lnTo>
                    <a:pt x="2609" y="346"/>
                  </a:lnTo>
                  <a:lnTo>
                    <a:pt x="2599" y="345"/>
                  </a:lnTo>
                  <a:lnTo>
                    <a:pt x="2590" y="343"/>
                  </a:lnTo>
                  <a:lnTo>
                    <a:pt x="2583" y="341"/>
                  </a:lnTo>
                  <a:lnTo>
                    <a:pt x="2576" y="337"/>
                  </a:lnTo>
                  <a:lnTo>
                    <a:pt x="2570" y="333"/>
                  </a:lnTo>
                  <a:lnTo>
                    <a:pt x="2564" y="328"/>
                  </a:lnTo>
                  <a:lnTo>
                    <a:pt x="2560" y="323"/>
                  </a:lnTo>
                  <a:lnTo>
                    <a:pt x="2556" y="317"/>
                  </a:lnTo>
                  <a:lnTo>
                    <a:pt x="2553" y="311"/>
                  </a:lnTo>
                  <a:lnTo>
                    <a:pt x="2551" y="302"/>
                  </a:lnTo>
                  <a:lnTo>
                    <a:pt x="2549" y="294"/>
                  </a:lnTo>
                  <a:lnTo>
                    <a:pt x="2547" y="275"/>
                  </a:lnTo>
                  <a:lnTo>
                    <a:pt x="2547" y="252"/>
                  </a:lnTo>
                  <a:lnTo>
                    <a:pt x="2547" y="4"/>
                  </a:lnTo>
                  <a:lnTo>
                    <a:pt x="2533" y="4"/>
                  </a:lnTo>
                  <a:lnTo>
                    <a:pt x="2533" y="4"/>
                  </a:lnTo>
                  <a:lnTo>
                    <a:pt x="2513" y="4"/>
                  </a:lnTo>
                  <a:lnTo>
                    <a:pt x="2490" y="6"/>
                  </a:lnTo>
                  <a:lnTo>
                    <a:pt x="2467" y="8"/>
                  </a:lnTo>
                  <a:lnTo>
                    <a:pt x="2454" y="10"/>
                  </a:lnTo>
                  <a:lnTo>
                    <a:pt x="2454" y="263"/>
                  </a:lnTo>
                  <a:lnTo>
                    <a:pt x="2454" y="263"/>
                  </a:lnTo>
                  <a:lnTo>
                    <a:pt x="2454" y="284"/>
                  </a:lnTo>
                  <a:lnTo>
                    <a:pt x="2455" y="302"/>
                  </a:lnTo>
                  <a:lnTo>
                    <a:pt x="2457" y="320"/>
                  </a:lnTo>
                  <a:lnTo>
                    <a:pt x="2459" y="336"/>
                  </a:lnTo>
                  <a:lnTo>
                    <a:pt x="2463" y="351"/>
                  </a:lnTo>
                  <a:lnTo>
                    <a:pt x="2468" y="364"/>
                  </a:lnTo>
                  <a:lnTo>
                    <a:pt x="2475" y="377"/>
                  </a:lnTo>
                  <a:lnTo>
                    <a:pt x="2482" y="387"/>
                  </a:lnTo>
                  <a:lnTo>
                    <a:pt x="2490" y="397"/>
                  </a:lnTo>
                  <a:lnTo>
                    <a:pt x="2500" y="405"/>
                  </a:lnTo>
                  <a:lnTo>
                    <a:pt x="2512" y="412"/>
                  </a:lnTo>
                  <a:lnTo>
                    <a:pt x="2525" y="418"/>
                  </a:lnTo>
                  <a:lnTo>
                    <a:pt x="2540" y="422"/>
                  </a:lnTo>
                  <a:lnTo>
                    <a:pt x="2556" y="425"/>
                  </a:lnTo>
                  <a:lnTo>
                    <a:pt x="2575" y="427"/>
                  </a:lnTo>
                  <a:lnTo>
                    <a:pt x="2595" y="428"/>
                  </a:lnTo>
                  <a:lnTo>
                    <a:pt x="2595" y="428"/>
                  </a:lnTo>
                  <a:lnTo>
                    <a:pt x="2611" y="427"/>
                  </a:lnTo>
                  <a:lnTo>
                    <a:pt x="2626" y="426"/>
                  </a:lnTo>
                  <a:lnTo>
                    <a:pt x="2640" y="425"/>
                  </a:lnTo>
                  <a:lnTo>
                    <a:pt x="2653" y="422"/>
                  </a:lnTo>
                  <a:lnTo>
                    <a:pt x="2677" y="417"/>
                  </a:lnTo>
                  <a:lnTo>
                    <a:pt x="2697" y="411"/>
                  </a:lnTo>
                  <a:lnTo>
                    <a:pt x="2714" y="404"/>
                  </a:lnTo>
                  <a:lnTo>
                    <a:pt x="2725" y="399"/>
                  </a:lnTo>
                  <a:lnTo>
                    <a:pt x="2737" y="394"/>
                  </a:lnTo>
                  <a:lnTo>
                    <a:pt x="2737" y="394"/>
                  </a:lnTo>
                  <a:lnTo>
                    <a:pt x="2743" y="397"/>
                  </a:lnTo>
                  <a:lnTo>
                    <a:pt x="2750" y="400"/>
                  </a:lnTo>
                  <a:lnTo>
                    <a:pt x="2761" y="403"/>
                  </a:lnTo>
                  <a:lnTo>
                    <a:pt x="2773" y="406"/>
                  </a:lnTo>
                  <a:lnTo>
                    <a:pt x="2788" y="409"/>
                  </a:lnTo>
                  <a:lnTo>
                    <a:pt x="2807" y="412"/>
                  </a:lnTo>
                  <a:lnTo>
                    <a:pt x="2828" y="413"/>
                  </a:lnTo>
                  <a:lnTo>
                    <a:pt x="2828" y="10"/>
                  </a:lnTo>
                  <a:lnTo>
                    <a:pt x="2828" y="10"/>
                  </a:lnTo>
                  <a:lnTo>
                    <a:pt x="2796" y="6"/>
                  </a:lnTo>
                  <a:lnTo>
                    <a:pt x="2774" y="5"/>
                  </a:lnTo>
                  <a:lnTo>
                    <a:pt x="2753" y="4"/>
                  </a:lnTo>
                  <a:lnTo>
                    <a:pt x="2735" y="4"/>
                  </a:lnTo>
                  <a:lnTo>
                    <a:pt x="2735" y="317"/>
                  </a:lnTo>
                  <a:close/>
                  <a:moveTo>
                    <a:pt x="2937" y="413"/>
                  </a:moveTo>
                  <a:lnTo>
                    <a:pt x="2937" y="413"/>
                  </a:lnTo>
                  <a:lnTo>
                    <a:pt x="2948" y="415"/>
                  </a:lnTo>
                  <a:lnTo>
                    <a:pt x="2976" y="420"/>
                  </a:lnTo>
                  <a:lnTo>
                    <a:pt x="2997" y="423"/>
                  </a:lnTo>
                  <a:lnTo>
                    <a:pt x="3020" y="425"/>
                  </a:lnTo>
                  <a:lnTo>
                    <a:pt x="3047" y="427"/>
                  </a:lnTo>
                  <a:lnTo>
                    <a:pt x="3075" y="428"/>
                  </a:lnTo>
                  <a:lnTo>
                    <a:pt x="3075" y="428"/>
                  </a:lnTo>
                  <a:lnTo>
                    <a:pt x="3091" y="427"/>
                  </a:lnTo>
                  <a:lnTo>
                    <a:pt x="3105" y="426"/>
                  </a:lnTo>
                  <a:lnTo>
                    <a:pt x="3120" y="425"/>
                  </a:lnTo>
                  <a:lnTo>
                    <a:pt x="3135" y="422"/>
                  </a:lnTo>
                  <a:lnTo>
                    <a:pt x="3150" y="419"/>
                  </a:lnTo>
                  <a:lnTo>
                    <a:pt x="3164" y="414"/>
                  </a:lnTo>
                  <a:lnTo>
                    <a:pt x="3178" y="408"/>
                  </a:lnTo>
                  <a:lnTo>
                    <a:pt x="3191" y="402"/>
                  </a:lnTo>
                  <a:lnTo>
                    <a:pt x="3202" y="394"/>
                  </a:lnTo>
                  <a:lnTo>
                    <a:pt x="3213" y="385"/>
                  </a:lnTo>
                  <a:lnTo>
                    <a:pt x="3223" y="375"/>
                  </a:lnTo>
                  <a:lnTo>
                    <a:pt x="3232" y="363"/>
                  </a:lnTo>
                  <a:lnTo>
                    <a:pt x="3239" y="350"/>
                  </a:lnTo>
                  <a:lnTo>
                    <a:pt x="3244" y="334"/>
                  </a:lnTo>
                  <a:lnTo>
                    <a:pt x="3247" y="318"/>
                  </a:lnTo>
                  <a:lnTo>
                    <a:pt x="3248" y="300"/>
                  </a:lnTo>
                  <a:lnTo>
                    <a:pt x="3248" y="300"/>
                  </a:lnTo>
                  <a:lnTo>
                    <a:pt x="3247" y="288"/>
                  </a:lnTo>
                  <a:lnTo>
                    <a:pt x="3246" y="277"/>
                  </a:lnTo>
                  <a:lnTo>
                    <a:pt x="3243" y="266"/>
                  </a:lnTo>
                  <a:lnTo>
                    <a:pt x="3239" y="256"/>
                  </a:lnTo>
                  <a:lnTo>
                    <a:pt x="3234" y="248"/>
                  </a:lnTo>
                  <a:lnTo>
                    <a:pt x="3228" y="239"/>
                  </a:lnTo>
                  <a:lnTo>
                    <a:pt x="3220" y="231"/>
                  </a:lnTo>
                  <a:lnTo>
                    <a:pt x="3213" y="224"/>
                  </a:lnTo>
                  <a:lnTo>
                    <a:pt x="3204" y="217"/>
                  </a:lnTo>
                  <a:lnTo>
                    <a:pt x="3194" y="211"/>
                  </a:lnTo>
                  <a:lnTo>
                    <a:pt x="3184" y="204"/>
                  </a:lnTo>
                  <a:lnTo>
                    <a:pt x="3171" y="199"/>
                  </a:lnTo>
                  <a:lnTo>
                    <a:pt x="3146" y="187"/>
                  </a:lnTo>
                  <a:lnTo>
                    <a:pt x="3117" y="176"/>
                  </a:lnTo>
                  <a:lnTo>
                    <a:pt x="3117" y="176"/>
                  </a:lnTo>
                  <a:lnTo>
                    <a:pt x="3086" y="164"/>
                  </a:lnTo>
                  <a:lnTo>
                    <a:pt x="3072" y="157"/>
                  </a:lnTo>
                  <a:lnTo>
                    <a:pt x="3060" y="151"/>
                  </a:lnTo>
                  <a:lnTo>
                    <a:pt x="3050" y="144"/>
                  </a:lnTo>
                  <a:lnTo>
                    <a:pt x="3046" y="140"/>
                  </a:lnTo>
                  <a:lnTo>
                    <a:pt x="3043" y="136"/>
                  </a:lnTo>
                  <a:lnTo>
                    <a:pt x="3040" y="132"/>
                  </a:lnTo>
                  <a:lnTo>
                    <a:pt x="3038" y="127"/>
                  </a:lnTo>
                  <a:lnTo>
                    <a:pt x="3037" y="121"/>
                  </a:lnTo>
                  <a:lnTo>
                    <a:pt x="3037" y="116"/>
                  </a:lnTo>
                  <a:lnTo>
                    <a:pt x="3037" y="116"/>
                  </a:lnTo>
                  <a:lnTo>
                    <a:pt x="3037" y="110"/>
                  </a:lnTo>
                  <a:lnTo>
                    <a:pt x="3039" y="104"/>
                  </a:lnTo>
                  <a:lnTo>
                    <a:pt x="3043" y="97"/>
                  </a:lnTo>
                  <a:lnTo>
                    <a:pt x="3049" y="90"/>
                  </a:lnTo>
                  <a:lnTo>
                    <a:pt x="3053" y="86"/>
                  </a:lnTo>
                  <a:lnTo>
                    <a:pt x="3057" y="83"/>
                  </a:lnTo>
                  <a:lnTo>
                    <a:pt x="3063" y="81"/>
                  </a:lnTo>
                  <a:lnTo>
                    <a:pt x="3069" y="78"/>
                  </a:lnTo>
                  <a:lnTo>
                    <a:pt x="3076" y="76"/>
                  </a:lnTo>
                  <a:lnTo>
                    <a:pt x="3084" y="75"/>
                  </a:lnTo>
                  <a:lnTo>
                    <a:pt x="3093" y="74"/>
                  </a:lnTo>
                  <a:lnTo>
                    <a:pt x="3103" y="74"/>
                  </a:lnTo>
                  <a:lnTo>
                    <a:pt x="3103" y="74"/>
                  </a:lnTo>
                  <a:lnTo>
                    <a:pt x="3122" y="75"/>
                  </a:lnTo>
                  <a:lnTo>
                    <a:pt x="3142" y="77"/>
                  </a:lnTo>
                  <a:lnTo>
                    <a:pt x="3159" y="81"/>
                  </a:lnTo>
                  <a:lnTo>
                    <a:pt x="3175" y="85"/>
                  </a:lnTo>
                  <a:lnTo>
                    <a:pt x="3199" y="94"/>
                  </a:lnTo>
                  <a:lnTo>
                    <a:pt x="3208" y="98"/>
                  </a:lnTo>
                  <a:lnTo>
                    <a:pt x="3232" y="30"/>
                  </a:lnTo>
                  <a:lnTo>
                    <a:pt x="3232" y="30"/>
                  </a:lnTo>
                  <a:lnTo>
                    <a:pt x="3213" y="22"/>
                  </a:lnTo>
                  <a:lnTo>
                    <a:pt x="3200" y="16"/>
                  </a:lnTo>
                  <a:lnTo>
                    <a:pt x="3184" y="12"/>
                  </a:lnTo>
                  <a:lnTo>
                    <a:pt x="3165" y="7"/>
                  </a:lnTo>
                  <a:lnTo>
                    <a:pt x="3144" y="4"/>
                  </a:lnTo>
                  <a:lnTo>
                    <a:pt x="3120" y="1"/>
                  </a:lnTo>
                  <a:lnTo>
                    <a:pt x="3095" y="0"/>
                  </a:lnTo>
                  <a:lnTo>
                    <a:pt x="3095" y="0"/>
                  </a:lnTo>
                  <a:lnTo>
                    <a:pt x="3080" y="1"/>
                  </a:lnTo>
                  <a:lnTo>
                    <a:pt x="3066" y="2"/>
                  </a:lnTo>
                  <a:lnTo>
                    <a:pt x="3052" y="4"/>
                  </a:lnTo>
                  <a:lnTo>
                    <a:pt x="3039" y="8"/>
                  </a:lnTo>
                  <a:lnTo>
                    <a:pt x="3025" y="12"/>
                  </a:lnTo>
                  <a:lnTo>
                    <a:pt x="3013" y="17"/>
                  </a:lnTo>
                  <a:lnTo>
                    <a:pt x="3001" y="24"/>
                  </a:lnTo>
                  <a:lnTo>
                    <a:pt x="2990" y="31"/>
                  </a:lnTo>
                  <a:lnTo>
                    <a:pt x="2979" y="39"/>
                  </a:lnTo>
                  <a:lnTo>
                    <a:pt x="2970" y="47"/>
                  </a:lnTo>
                  <a:lnTo>
                    <a:pt x="2962" y="58"/>
                  </a:lnTo>
                  <a:lnTo>
                    <a:pt x="2956" y="69"/>
                  </a:lnTo>
                  <a:lnTo>
                    <a:pt x="2950" y="80"/>
                  </a:lnTo>
                  <a:lnTo>
                    <a:pt x="2946" y="94"/>
                  </a:lnTo>
                  <a:lnTo>
                    <a:pt x="2944" y="107"/>
                  </a:lnTo>
                  <a:lnTo>
                    <a:pt x="2943" y="122"/>
                  </a:lnTo>
                  <a:lnTo>
                    <a:pt x="2943" y="122"/>
                  </a:lnTo>
                  <a:lnTo>
                    <a:pt x="2944" y="137"/>
                  </a:lnTo>
                  <a:lnTo>
                    <a:pt x="2946" y="150"/>
                  </a:lnTo>
                  <a:lnTo>
                    <a:pt x="2950" y="164"/>
                  </a:lnTo>
                  <a:lnTo>
                    <a:pt x="2956" y="175"/>
                  </a:lnTo>
                  <a:lnTo>
                    <a:pt x="2962" y="185"/>
                  </a:lnTo>
                  <a:lnTo>
                    <a:pt x="2970" y="194"/>
                  </a:lnTo>
                  <a:lnTo>
                    <a:pt x="2979" y="203"/>
                  </a:lnTo>
                  <a:lnTo>
                    <a:pt x="2988" y="210"/>
                  </a:lnTo>
                  <a:lnTo>
                    <a:pt x="2999" y="217"/>
                  </a:lnTo>
                  <a:lnTo>
                    <a:pt x="3010" y="223"/>
                  </a:lnTo>
                  <a:lnTo>
                    <a:pt x="3021" y="229"/>
                  </a:lnTo>
                  <a:lnTo>
                    <a:pt x="3032" y="235"/>
                  </a:lnTo>
                  <a:lnTo>
                    <a:pt x="3056" y="243"/>
                  </a:lnTo>
                  <a:lnTo>
                    <a:pt x="3079" y="251"/>
                  </a:lnTo>
                  <a:lnTo>
                    <a:pt x="3079" y="251"/>
                  </a:lnTo>
                  <a:lnTo>
                    <a:pt x="3108" y="261"/>
                  </a:lnTo>
                  <a:lnTo>
                    <a:pt x="3121" y="266"/>
                  </a:lnTo>
                  <a:lnTo>
                    <a:pt x="3133" y="273"/>
                  </a:lnTo>
                  <a:lnTo>
                    <a:pt x="3142" y="280"/>
                  </a:lnTo>
                  <a:lnTo>
                    <a:pt x="3148" y="287"/>
                  </a:lnTo>
                  <a:lnTo>
                    <a:pt x="3151" y="291"/>
                  </a:lnTo>
                  <a:lnTo>
                    <a:pt x="3153" y="296"/>
                  </a:lnTo>
                  <a:lnTo>
                    <a:pt x="3154" y="300"/>
                  </a:lnTo>
                  <a:lnTo>
                    <a:pt x="3154" y="306"/>
                  </a:lnTo>
                  <a:lnTo>
                    <a:pt x="3154" y="306"/>
                  </a:lnTo>
                  <a:lnTo>
                    <a:pt x="3154" y="315"/>
                  </a:lnTo>
                  <a:lnTo>
                    <a:pt x="3151" y="324"/>
                  </a:lnTo>
                  <a:lnTo>
                    <a:pt x="3149" y="328"/>
                  </a:lnTo>
                  <a:lnTo>
                    <a:pt x="3146" y="332"/>
                  </a:lnTo>
                  <a:lnTo>
                    <a:pt x="3143" y="335"/>
                  </a:lnTo>
                  <a:lnTo>
                    <a:pt x="3139" y="340"/>
                  </a:lnTo>
                  <a:lnTo>
                    <a:pt x="3134" y="343"/>
                  </a:lnTo>
                  <a:lnTo>
                    <a:pt x="3127" y="346"/>
                  </a:lnTo>
                  <a:lnTo>
                    <a:pt x="3121" y="348"/>
                  </a:lnTo>
                  <a:lnTo>
                    <a:pt x="3113" y="350"/>
                  </a:lnTo>
                  <a:lnTo>
                    <a:pt x="3104" y="352"/>
                  </a:lnTo>
                  <a:lnTo>
                    <a:pt x="3095" y="353"/>
                  </a:lnTo>
                  <a:lnTo>
                    <a:pt x="3071" y="354"/>
                  </a:lnTo>
                  <a:lnTo>
                    <a:pt x="3071" y="354"/>
                  </a:lnTo>
                  <a:lnTo>
                    <a:pt x="3050" y="354"/>
                  </a:lnTo>
                  <a:lnTo>
                    <a:pt x="3029" y="352"/>
                  </a:lnTo>
                  <a:lnTo>
                    <a:pt x="2992" y="348"/>
                  </a:lnTo>
                  <a:lnTo>
                    <a:pt x="2965" y="344"/>
                  </a:lnTo>
                  <a:lnTo>
                    <a:pt x="2955" y="342"/>
                  </a:lnTo>
                  <a:lnTo>
                    <a:pt x="2937" y="413"/>
                  </a:lnTo>
                  <a:close/>
                  <a:moveTo>
                    <a:pt x="1639" y="80"/>
                  </a:moveTo>
                  <a:lnTo>
                    <a:pt x="1639" y="80"/>
                  </a:lnTo>
                  <a:lnTo>
                    <a:pt x="1653" y="77"/>
                  </a:lnTo>
                  <a:lnTo>
                    <a:pt x="1670" y="75"/>
                  </a:lnTo>
                  <a:lnTo>
                    <a:pt x="1691" y="73"/>
                  </a:lnTo>
                  <a:lnTo>
                    <a:pt x="1712" y="73"/>
                  </a:lnTo>
                  <a:lnTo>
                    <a:pt x="1712" y="73"/>
                  </a:lnTo>
                  <a:lnTo>
                    <a:pt x="1726" y="73"/>
                  </a:lnTo>
                  <a:lnTo>
                    <a:pt x="1737" y="74"/>
                  </a:lnTo>
                  <a:lnTo>
                    <a:pt x="1749" y="77"/>
                  </a:lnTo>
                  <a:lnTo>
                    <a:pt x="1760" y="80"/>
                  </a:lnTo>
                  <a:lnTo>
                    <a:pt x="1771" y="84"/>
                  </a:lnTo>
                  <a:lnTo>
                    <a:pt x="1780" y="90"/>
                  </a:lnTo>
                  <a:lnTo>
                    <a:pt x="1790" y="97"/>
                  </a:lnTo>
                  <a:lnTo>
                    <a:pt x="1798" y="104"/>
                  </a:lnTo>
                  <a:lnTo>
                    <a:pt x="1805" y="113"/>
                  </a:lnTo>
                  <a:lnTo>
                    <a:pt x="1813" y="122"/>
                  </a:lnTo>
                  <a:lnTo>
                    <a:pt x="1819" y="134"/>
                  </a:lnTo>
                  <a:lnTo>
                    <a:pt x="1824" y="147"/>
                  </a:lnTo>
                  <a:lnTo>
                    <a:pt x="1828" y="161"/>
                  </a:lnTo>
                  <a:lnTo>
                    <a:pt x="1831" y="176"/>
                  </a:lnTo>
                  <a:lnTo>
                    <a:pt x="1832" y="192"/>
                  </a:lnTo>
                  <a:lnTo>
                    <a:pt x="1833" y="211"/>
                  </a:lnTo>
                  <a:lnTo>
                    <a:pt x="1833" y="211"/>
                  </a:lnTo>
                  <a:lnTo>
                    <a:pt x="1833" y="228"/>
                  </a:lnTo>
                  <a:lnTo>
                    <a:pt x="1832" y="245"/>
                  </a:lnTo>
                  <a:lnTo>
                    <a:pt x="1830" y="260"/>
                  </a:lnTo>
                  <a:lnTo>
                    <a:pt x="1827" y="275"/>
                  </a:lnTo>
                  <a:lnTo>
                    <a:pt x="1824" y="288"/>
                  </a:lnTo>
                  <a:lnTo>
                    <a:pt x="1820" y="299"/>
                  </a:lnTo>
                  <a:lnTo>
                    <a:pt x="1814" y="311"/>
                  </a:lnTo>
                  <a:lnTo>
                    <a:pt x="1807" y="320"/>
                  </a:lnTo>
                  <a:lnTo>
                    <a:pt x="1799" y="328"/>
                  </a:lnTo>
                  <a:lnTo>
                    <a:pt x="1790" y="335"/>
                  </a:lnTo>
                  <a:lnTo>
                    <a:pt x="1780" y="342"/>
                  </a:lnTo>
                  <a:lnTo>
                    <a:pt x="1768" y="347"/>
                  </a:lnTo>
                  <a:lnTo>
                    <a:pt x="1754" y="350"/>
                  </a:lnTo>
                  <a:lnTo>
                    <a:pt x="1739" y="353"/>
                  </a:lnTo>
                  <a:lnTo>
                    <a:pt x="1723" y="355"/>
                  </a:lnTo>
                  <a:lnTo>
                    <a:pt x="1704" y="355"/>
                  </a:lnTo>
                  <a:lnTo>
                    <a:pt x="1704" y="355"/>
                  </a:lnTo>
                  <a:lnTo>
                    <a:pt x="1681" y="354"/>
                  </a:lnTo>
                  <a:lnTo>
                    <a:pt x="1659" y="353"/>
                  </a:lnTo>
                  <a:lnTo>
                    <a:pt x="1639" y="351"/>
                  </a:lnTo>
                  <a:lnTo>
                    <a:pt x="1639" y="80"/>
                  </a:lnTo>
                  <a:close/>
                  <a:moveTo>
                    <a:pt x="1717" y="0"/>
                  </a:moveTo>
                  <a:lnTo>
                    <a:pt x="1717" y="0"/>
                  </a:lnTo>
                  <a:lnTo>
                    <a:pt x="1696" y="1"/>
                  </a:lnTo>
                  <a:lnTo>
                    <a:pt x="1675" y="2"/>
                  </a:lnTo>
                  <a:lnTo>
                    <a:pt x="1652" y="4"/>
                  </a:lnTo>
                  <a:lnTo>
                    <a:pt x="1629" y="7"/>
                  </a:lnTo>
                  <a:lnTo>
                    <a:pt x="1606" y="10"/>
                  </a:lnTo>
                  <a:lnTo>
                    <a:pt x="1585" y="14"/>
                  </a:lnTo>
                  <a:lnTo>
                    <a:pt x="1564" y="20"/>
                  </a:lnTo>
                  <a:lnTo>
                    <a:pt x="1546" y="26"/>
                  </a:lnTo>
                  <a:lnTo>
                    <a:pt x="1546" y="415"/>
                  </a:lnTo>
                  <a:lnTo>
                    <a:pt x="1546" y="415"/>
                  </a:lnTo>
                  <a:lnTo>
                    <a:pt x="1561" y="418"/>
                  </a:lnTo>
                  <a:lnTo>
                    <a:pt x="1580" y="420"/>
                  </a:lnTo>
                  <a:lnTo>
                    <a:pt x="1619" y="424"/>
                  </a:lnTo>
                  <a:lnTo>
                    <a:pt x="1662" y="427"/>
                  </a:lnTo>
                  <a:lnTo>
                    <a:pt x="1701" y="428"/>
                  </a:lnTo>
                  <a:lnTo>
                    <a:pt x="1701" y="428"/>
                  </a:lnTo>
                  <a:lnTo>
                    <a:pt x="1732" y="427"/>
                  </a:lnTo>
                  <a:lnTo>
                    <a:pt x="1758" y="425"/>
                  </a:lnTo>
                  <a:lnTo>
                    <a:pt x="1784" y="421"/>
                  </a:lnTo>
                  <a:lnTo>
                    <a:pt x="1807" y="415"/>
                  </a:lnTo>
                  <a:lnTo>
                    <a:pt x="1828" y="408"/>
                  </a:lnTo>
                  <a:lnTo>
                    <a:pt x="1847" y="399"/>
                  </a:lnTo>
                  <a:lnTo>
                    <a:pt x="1855" y="394"/>
                  </a:lnTo>
                  <a:lnTo>
                    <a:pt x="1864" y="389"/>
                  </a:lnTo>
                  <a:lnTo>
                    <a:pt x="1872" y="383"/>
                  </a:lnTo>
                  <a:lnTo>
                    <a:pt x="1879" y="377"/>
                  </a:lnTo>
                  <a:lnTo>
                    <a:pt x="1885" y="369"/>
                  </a:lnTo>
                  <a:lnTo>
                    <a:pt x="1891" y="362"/>
                  </a:lnTo>
                  <a:lnTo>
                    <a:pt x="1897" y="355"/>
                  </a:lnTo>
                  <a:lnTo>
                    <a:pt x="1902" y="347"/>
                  </a:lnTo>
                  <a:lnTo>
                    <a:pt x="1907" y="337"/>
                  </a:lnTo>
                  <a:lnTo>
                    <a:pt x="1912" y="329"/>
                  </a:lnTo>
                  <a:lnTo>
                    <a:pt x="1919" y="309"/>
                  </a:lnTo>
                  <a:lnTo>
                    <a:pt x="1924" y="287"/>
                  </a:lnTo>
                  <a:lnTo>
                    <a:pt x="1928" y="264"/>
                  </a:lnTo>
                  <a:lnTo>
                    <a:pt x="1930" y="239"/>
                  </a:lnTo>
                  <a:lnTo>
                    <a:pt x="1931" y="211"/>
                  </a:lnTo>
                  <a:lnTo>
                    <a:pt x="1931" y="211"/>
                  </a:lnTo>
                  <a:lnTo>
                    <a:pt x="1930" y="187"/>
                  </a:lnTo>
                  <a:lnTo>
                    <a:pt x="1927" y="164"/>
                  </a:lnTo>
                  <a:lnTo>
                    <a:pt x="1923" y="143"/>
                  </a:lnTo>
                  <a:lnTo>
                    <a:pt x="1917" y="122"/>
                  </a:lnTo>
                  <a:lnTo>
                    <a:pt x="1909" y="104"/>
                  </a:lnTo>
                  <a:lnTo>
                    <a:pt x="1898" y="86"/>
                  </a:lnTo>
                  <a:lnTo>
                    <a:pt x="1887" y="71"/>
                  </a:lnTo>
                  <a:lnTo>
                    <a:pt x="1874" y="57"/>
                  </a:lnTo>
                  <a:lnTo>
                    <a:pt x="1860" y="43"/>
                  </a:lnTo>
                  <a:lnTo>
                    <a:pt x="1843" y="32"/>
                  </a:lnTo>
                  <a:lnTo>
                    <a:pt x="1826" y="23"/>
                  </a:lnTo>
                  <a:lnTo>
                    <a:pt x="1806" y="14"/>
                  </a:lnTo>
                  <a:lnTo>
                    <a:pt x="1786" y="8"/>
                  </a:lnTo>
                  <a:lnTo>
                    <a:pt x="1764" y="4"/>
                  </a:lnTo>
                  <a:lnTo>
                    <a:pt x="1741" y="1"/>
                  </a:lnTo>
                  <a:lnTo>
                    <a:pt x="1717" y="0"/>
                  </a:lnTo>
                  <a:close/>
                </a:path>
              </a:pathLst>
            </a:custGeom>
            <a:solidFill>
              <a:srgbClr val="005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5160" y="3974"/>
              <a:ext cx="76" cy="107"/>
            </a:xfrm>
            <a:custGeom>
              <a:avLst/>
              <a:gdLst>
                <a:gd name="T0" fmla="*/ 0 w 305"/>
                <a:gd name="T1" fmla="*/ 407 h 428"/>
                <a:gd name="T2" fmla="*/ 0 w 305"/>
                <a:gd name="T3" fmla="*/ 407 h 428"/>
                <a:gd name="T4" fmla="*/ 13 w 305"/>
                <a:gd name="T5" fmla="*/ 411 h 428"/>
                <a:gd name="T6" fmla="*/ 47 w 305"/>
                <a:gd name="T7" fmla="*/ 418 h 428"/>
                <a:gd name="T8" fmla="*/ 71 w 305"/>
                <a:gd name="T9" fmla="*/ 421 h 428"/>
                <a:gd name="T10" fmla="*/ 98 w 305"/>
                <a:gd name="T11" fmla="*/ 425 h 428"/>
                <a:gd name="T12" fmla="*/ 129 w 305"/>
                <a:gd name="T13" fmla="*/ 427 h 428"/>
                <a:gd name="T14" fmla="*/ 163 w 305"/>
                <a:gd name="T15" fmla="*/ 428 h 428"/>
                <a:gd name="T16" fmla="*/ 163 w 305"/>
                <a:gd name="T17" fmla="*/ 428 h 428"/>
                <a:gd name="T18" fmla="*/ 197 w 305"/>
                <a:gd name="T19" fmla="*/ 427 h 428"/>
                <a:gd name="T20" fmla="*/ 226 w 305"/>
                <a:gd name="T21" fmla="*/ 426 h 428"/>
                <a:gd name="T22" fmla="*/ 251 w 305"/>
                <a:gd name="T23" fmla="*/ 424 h 428"/>
                <a:gd name="T24" fmla="*/ 270 w 305"/>
                <a:gd name="T25" fmla="*/ 422 h 428"/>
                <a:gd name="T26" fmla="*/ 297 w 305"/>
                <a:gd name="T27" fmla="*/ 419 h 428"/>
                <a:gd name="T28" fmla="*/ 305 w 305"/>
                <a:gd name="T29" fmla="*/ 417 h 428"/>
                <a:gd name="T30" fmla="*/ 305 w 305"/>
                <a:gd name="T31" fmla="*/ 346 h 428"/>
                <a:gd name="T32" fmla="*/ 305 w 305"/>
                <a:gd name="T33" fmla="*/ 346 h 428"/>
                <a:gd name="T34" fmla="*/ 297 w 305"/>
                <a:gd name="T35" fmla="*/ 347 h 428"/>
                <a:gd name="T36" fmla="*/ 272 w 305"/>
                <a:gd name="T37" fmla="*/ 351 h 428"/>
                <a:gd name="T38" fmla="*/ 235 w 305"/>
                <a:gd name="T39" fmla="*/ 354 h 428"/>
                <a:gd name="T40" fmla="*/ 213 w 305"/>
                <a:gd name="T41" fmla="*/ 355 h 428"/>
                <a:gd name="T42" fmla="*/ 188 w 305"/>
                <a:gd name="T43" fmla="*/ 355 h 428"/>
                <a:gd name="T44" fmla="*/ 188 w 305"/>
                <a:gd name="T45" fmla="*/ 355 h 428"/>
                <a:gd name="T46" fmla="*/ 167 w 305"/>
                <a:gd name="T47" fmla="*/ 355 h 428"/>
                <a:gd name="T48" fmla="*/ 149 w 305"/>
                <a:gd name="T49" fmla="*/ 354 h 428"/>
                <a:gd name="T50" fmla="*/ 118 w 305"/>
                <a:gd name="T51" fmla="*/ 351 h 428"/>
                <a:gd name="T52" fmla="*/ 99 w 305"/>
                <a:gd name="T53" fmla="*/ 349 h 428"/>
                <a:gd name="T54" fmla="*/ 92 w 305"/>
                <a:gd name="T55" fmla="*/ 348 h 428"/>
                <a:gd name="T56" fmla="*/ 92 w 305"/>
                <a:gd name="T57" fmla="*/ 247 h 428"/>
                <a:gd name="T58" fmla="*/ 276 w 305"/>
                <a:gd name="T59" fmla="*/ 247 h 428"/>
                <a:gd name="T60" fmla="*/ 276 w 305"/>
                <a:gd name="T61" fmla="*/ 175 h 428"/>
                <a:gd name="T62" fmla="*/ 92 w 305"/>
                <a:gd name="T63" fmla="*/ 175 h 428"/>
                <a:gd name="T64" fmla="*/ 92 w 305"/>
                <a:gd name="T65" fmla="*/ 79 h 428"/>
                <a:gd name="T66" fmla="*/ 92 w 305"/>
                <a:gd name="T67" fmla="*/ 79 h 428"/>
                <a:gd name="T68" fmla="*/ 99 w 305"/>
                <a:gd name="T69" fmla="*/ 78 h 428"/>
                <a:gd name="T70" fmla="*/ 117 w 305"/>
                <a:gd name="T71" fmla="*/ 76 h 428"/>
                <a:gd name="T72" fmla="*/ 145 w 305"/>
                <a:gd name="T73" fmla="*/ 74 h 428"/>
                <a:gd name="T74" fmla="*/ 182 w 305"/>
                <a:gd name="T75" fmla="*/ 73 h 428"/>
                <a:gd name="T76" fmla="*/ 182 w 305"/>
                <a:gd name="T77" fmla="*/ 73 h 428"/>
                <a:gd name="T78" fmla="*/ 205 w 305"/>
                <a:gd name="T79" fmla="*/ 73 h 428"/>
                <a:gd name="T80" fmla="*/ 226 w 305"/>
                <a:gd name="T81" fmla="*/ 74 h 428"/>
                <a:gd name="T82" fmla="*/ 263 w 305"/>
                <a:gd name="T83" fmla="*/ 77 h 428"/>
                <a:gd name="T84" fmla="*/ 289 w 305"/>
                <a:gd name="T85" fmla="*/ 80 h 428"/>
                <a:gd name="T86" fmla="*/ 298 w 305"/>
                <a:gd name="T87" fmla="*/ 82 h 428"/>
                <a:gd name="T88" fmla="*/ 298 w 305"/>
                <a:gd name="T89" fmla="*/ 10 h 428"/>
                <a:gd name="T90" fmla="*/ 298 w 305"/>
                <a:gd name="T91" fmla="*/ 10 h 428"/>
                <a:gd name="T92" fmla="*/ 289 w 305"/>
                <a:gd name="T93" fmla="*/ 9 h 428"/>
                <a:gd name="T94" fmla="*/ 264 w 305"/>
                <a:gd name="T95" fmla="*/ 5 h 428"/>
                <a:gd name="T96" fmla="*/ 224 w 305"/>
                <a:gd name="T97" fmla="*/ 2 h 428"/>
                <a:gd name="T98" fmla="*/ 200 w 305"/>
                <a:gd name="T99" fmla="*/ 1 h 428"/>
                <a:gd name="T100" fmla="*/ 172 w 305"/>
                <a:gd name="T101" fmla="*/ 0 h 428"/>
                <a:gd name="T102" fmla="*/ 172 w 305"/>
                <a:gd name="T103" fmla="*/ 0 h 428"/>
                <a:gd name="T104" fmla="*/ 134 w 305"/>
                <a:gd name="T105" fmla="*/ 1 h 428"/>
                <a:gd name="T106" fmla="*/ 102 w 305"/>
                <a:gd name="T107" fmla="*/ 3 h 428"/>
                <a:gd name="T108" fmla="*/ 72 w 305"/>
                <a:gd name="T109" fmla="*/ 6 h 428"/>
                <a:gd name="T110" fmla="*/ 47 w 305"/>
                <a:gd name="T111" fmla="*/ 9 h 428"/>
                <a:gd name="T112" fmla="*/ 27 w 305"/>
                <a:gd name="T113" fmla="*/ 13 h 428"/>
                <a:gd name="T114" fmla="*/ 13 w 305"/>
                <a:gd name="T115" fmla="*/ 15 h 428"/>
                <a:gd name="T116" fmla="*/ 0 w 305"/>
                <a:gd name="T117" fmla="*/ 19 h 428"/>
                <a:gd name="T118" fmla="*/ 0 w 305"/>
                <a:gd name="T119" fmla="*/ 407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05" h="428">
                  <a:moveTo>
                    <a:pt x="0" y="407"/>
                  </a:moveTo>
                  <a:lnTo>
                    <a:pt x="0" y="407"/>
                  </a:lnTo>
                  <a:lnTo>
                    <a:pt x="13" y="411"/>
                  </a:lnTo>
                  <a:lnTo>
                    <a:pt x="47" y="418"/>
                  </a:lnTo>
                  <a:lnTo>
                    <a:pt x="71" y="421"/>
                  </a:lnTo>
                  <a:lnTo>
                    <a:pt x="98" y="425"/>
                  </a:lnTo>
                  <a:lnTo>
                    <a:pt x="129" y="427"/>
                  </a:lnTo>
                  <a:lnTo>
                    <a:pt x="163" y="428"/>
                  </a:lnTo>
                  <a:lnTo>
                    <a:pt x="163" y="428"/>
                  </a:lnTo>
                  <a:lnTo>
                    <a:pt x="197" y="427"/>
                  </a:lnTo>
                  <a:lnTo>
                    <a:pt x="226" y="426"/>
                  </a:lnTo>
                  <a:lnTo>
                    <a:pt x="251" y="424"/>
                  </a:lnTo>
                  <a:lnTo>
                    <a:pt x="270" y="422"/>
                  </a:lnTo>
                  <a:lnTo>
                    <a:pt x="297" y="419"/>
                  </a:lnTo>
                  <a:lnTo>
                    <a:pt x="305" y="417"/>
                  </a:lnTo>
                  <a:lnTo>
                    <a:pt x="305" y="346"/>
                  </a:lnTo>
                  <a:lnTo>
                    <a:pt x="305" y="346"/>
                  </a:lnTo>
                  <a:lnTo>
                    <a:pt x="297" y="347"/>
                  </a:lnTo>
                  <a:lnTo>
                    <a:pt x="272" y="351"/>
                  </a:lnTo>
                  <a:lnTo>
                    <a:pt x="235" y="354"/>
                  </a:lnTo>
                  <a:lnTo>
                    <a:pt x="213" y="355"/>
                  </a:lnTo>
                  <a:lnTo>
                    <a:pt x="188" y="355"/>
                  </a:lnTo>
                  <a:lnTo>
                    <a:pt x="188" y="355"/>
                  </a:lnTo>
                  <a:lnTo>
                    <a:pt x="167" y="355"/>
                  </a:lnTo>
                  <a:lnTo>
                    <a:pt x="149" y="354"/>
                  </a:lnTo>
                  <a:lnTo>
                    <a:pt x="118" y="351"/>
                  </a:lnTo>
                  <a:lnTo>
                    <a:pt x="99" y="349"/>
                  </a:lnTo>
                  <a:lnTo>
                    <a:pt x="92" y="348"/>
                  </a:lnTo>
                  <a:lnTo>
                    <a:pt x="92" y="247"/>
                  </a:lnTo>
                  <a:lnTo>
                    <a:pt x="276" y="247"/>
                  </a:lnTo>
                  <a:lnTo>
                    <a:pt x="276" y="175"/>
                  </a:lnTo>
                  <a:lnTo>
                    <a:pt x="92" y="175"/>
                  </a:lnTo>
                  <a:lnTo>
                    <a:pt x="92" y="79"/>
                  </a:lnTo>
                  <a:lnTo>
                    <a:pt x="92" y="79"/>
                  </a:lnTo>
                  <a:lnTo>
                    <a:pt x="99" y="78"/>
                  </a:lnTo>
                  <a:lnTo>
                    <a:pt x="117" y="76"/>
                  </a:lnTo>
                  <a:lnTo>
                    <a:pt x="145" y="74"/>
                  </a:lnTo>
                  <a:lnTo>
                    <a:pt x="182" y="73"/>
                  </a:lnTo>
                  <a:lnTo>
                    <a:pt x="182" y="73"/>
                  </a:lnTo>
                  <a:lnTo>
                    <a:pt x="205" y="73"/>
                  </a:lnTo>
                  <a:lnTo>
                    <a:pt x="226" y="74"/>
                  </a:lnTo>
                  <a:lnTo>
                    <a:pt x="263" y="77"/>
                  </a:lnTo>
                  <a:lnTo>
                    <a:pt x="289" y="80"/>
                  </a:lnTo>
                  <a:lnTo>
                    <a:pt x="298" y="82"/>
                  </a:lnTo>
                  <a:lnTo>
                    <a:pt x="298" y="10"/>
                  </a:lnTo>
                  <a:lnTo>
                    <a:pt x="298" y="10"/>
                  </a:lnTo>
                  <a:lnTo>
                    <a:pt x="289" y="9"/>
                  </a:lnTo>
                  <a:lnTo>
                    <a:pt x="264" y="5"/>
                  </a:lnTo>
                  <a:lnTo>
                    <a:pt x="224" y="2"/>
                  </a:lnTo>
                  <a:lnTo>
                    <a:pt x="200" y="1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34" y="1"/>
                  </a:lnTo>
                  <a:lnTo>
                    <a:pt x="102" y="3"/>
                  </a:lnTo>
                  <a:lnTo>
                    <a:pt x="72" y="6"/>
                  </a:lnTo>
                  <a:lnTo>
                    <a:pt x="47" y="9"/>
                  </a:lnTo>
                  <a:lnTo>
                    <a:pt x="27" y="13"/>
                  </a:lnTo>
                  <a:lnTo>
                    <a:pt x="13" y="15"/>
                  </a:lnTo>
                  <a:lnTo>
                    <a:pt x="0" y="19"/>
                  </a:lnTo>
                  <a:lnTo>
                    <a:pt x="0" y="40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4" name="Freeform 63"/>
            <p:cNvSpPr>
              <a:spLocks/>
            </p:cNvSpPr>
            <p:nvPr userDrawn="1"/>
          </p:nvSpPr>
          <p:spPr bwMode="auto">
            <a:xfrm>
              <a:off x="4767" y="3974"/>
              <a:ext cx="124" cy="105"/>
            </a:xfrm>
            <a:custGeom>
              <a:avLst/>
              <a:gdLst>
                <a:gd name="T0" fmla="*/ 255 w 496"/>
                <a:gd name="T1" fmla="*/ 246 h 422"/>
                <a:gd name="T2" fmla="*/ 255 w 496"/>
                <a:gd name="T3" fmla="*/ 246 h 422"/>
                <a:gd name="T4" fmla="*/ 251 w 496"/>
                <a:gd name="T5" fmla="*/ 257 h 422"/>
                <a:gd name="T6" fmla="*/ 248 w 496"/>
                <a:gd name="T7" fmla="*/ 270 h 422"/>
                <a:gd name="T8" fmla="*/ 248 w 496"/>
                <a:gd name="T9" fmla="*/ 270 h 422"/>
                <a:gd name="T10" fmla="*/ 244 w 496"/>
                <a:gd name="T11" fmla="*/ 257 h 422"/>
                <a:gd name="T12" fmla="*/ 241 w 496"/>
                <a:gd name="T13" fmla="*/ 246 h 422"/>
                <a:gd name="T14" fmla="*/ 159 w 496"/>
                <a:gd name="T15" fmla="*/ 39 h 422"/>
                <a:gd name="T16" fmla="*/ 159 w 496"/>
                <a:gd name="T17" fmla="*/ 39 h 422"/>
                <a:gd name="T18" fmla="*/ 153 w 496"/>
                <a:gd name="T19" fmla="*/ 28 h 422"/>
                <a:gd name="T20" fmla="*/ 147 w 496"/>
                <a:gd name="T21" fmla="*/ 19 h 422"/>
                <a:gd name="T22" fmla="*/ 140 w 496"/>
                <a:gd name="T23" fmla="*/ 11 h 422"/>
                <a:gd name="T24" fmla="*/ 132 w 496"/>
                <a:gd name="T25" fmla="*/ 7 h 422"/>
                <a:gd name="T26" fmla="*/ 122 w 496"/>
                <a:gd name="T27" fmla="*/ 3 h 422"/>
                <a:gd name="T28" fmla="*/ 110 w 496"/>
                <a:gd name="T29" fmla="*/ 1 h 422"/>
                <a:gd name="T30" fmla="*/ 98 w 496"/>
                <a:gd name="T31" fmla="*/ 1 h 422"/>
                <a:gd name="T32" fmla="*/ 84 w 496"/>
                <a:gd name="T33" fmla="*/ 0 h 422"/>
                <a:gd name="T34" fmla="*/ 84 w 496"/>
                <a:gd name="T35" fmla="*/ 0 h 422"/>
                <a:gd name="T36" fmla="*/ 58 w 496"/>
                <a:gd name="T37" fmla="*/ 1 h 422"/>
                <a:gd name="T38" fmla="*/ 42 w 496"/>
                <a:gd name="T39" fmla="*/ 2 h 422"/>
                <a:gd name="T40" fmla="*/ 0 w 496"/>
                <a:gd name="T41" fmla="*/ 422 h 422"/>
                <a:gd name="T42" fmla="*/ 93 w 496"/>
                <a:gd name="T43" fmla="*/ 422 h 422"/>
                <a:gd name="T44" fmla="*/ 113 w 496"/>
                <a:gd name="T45" fmla="*/ 140 h 422"/>
                <a:gd name="T46" fmla="*/ 201 w 496"/>
                <a:gd name="T47" fmla="*/ 353 h 422"/>
                <a:gd name="T48" fmla="*/ 201 w 496"/>
                <a:gd name="T49" fmla="*/ 353 h 422"/>
                <a:gd name="T50" fmla="*/ 204 w 496"/>
                <a:gd name="T51" fmla="*/ 359 h 422"/>
                <a:gd name="T52" fmla="*/ 208 w 496"/>
                <a:gd name="T53" fmla="*/ 364 h 422"/>
                <a:gd name="T54" fmla="*/ 213 w 496"/>
                <a:gd name="T55" fmla="*/ 368 h 422"/>
                <a:gd name="T56" fmla="*/ 218 w 496"/>
                <a:gd name="T57" fmla="*/ 371 h 422"/>
                <a:gd name="T58" fmla="*/ 224 w 496"/>
                <a:gd name="T59" fmla="*/ 373 h 422"/>
                <a:gd name="T60" fmla="*/ 231 w 496"/>
                <a:gd name="T61" fmla="*/ 376 h 422"/>
                <a:gd name="T62" fmla="*/ 239 w 496"/>
                <a:gd name="T63" fmla="*/ 377 h 422"/>
                <a:gd name="T64" fmla="*/ 248 w 496"/>
                <a:gd name="T65" fmla="*/ 377 h 422"/>
                <a:gd name="T66" fmla="*/ 248 w 496"/>
                <a:gd name="T67" fmla="*/ 377 h 422"/>
                <a:gd name="T68" fmla="*/ 257 w 496"/>
                <a:gd name="T69" fmla="*/ 377 h 422"/>
                <a:gd name="T70" fmla="*/ 266 w 496"/>
                <a:gd name="T71" fmla="*/ 376 h 422"/>
                <a:gd name="T72" fmla="*/ 273 w 496"/>
                <a:gd name="T73" fmla="*/ 373 h 422"/>
                <a:gd name="T74" fmla="*/ 279 w 496"/>
                <a:gd name="T75" fmla="*/ 371 h 422"/>
                <a:gd name="T76" fmla="*/ 284 w 496"/>
                <a:gd name="T77" fmla="*/ 368 h 422"/>
                <a:gd name="T78" fmla="*/ 288 w 496"/>
                <a:gd name="T79" fmla="*/ 364 h 422"/>
                <a:gd name="T80" fmla="*/ 291 w 496"/>
                <a:gd name="T81" fmla="*/ 359 h 422"/>
                <a:gd name="T82" fmla="*/ 294 w 496"/>
                <a:gd name="T83" fmla="*/ 353 h 422"/>
                <a:gd name="T84" fmla="*/ 382 w 496"/>
                <a:gd name="T85" fmla="*/ 140 h 422"/>
                <a:gd name="T86" fmla="*/ 403 w 496"/>
                <a:gd name="T87" fmla="*/ 422 h 422"/>
                <a:gd name="T88" fmla="*/ 496 w 496"/>
                <a:gd name="T89" fmla="*/ 422 h 422"/>
                <a:gd name="T90" fmla="*/ 454 w 496"/>
                <a:gd name="T91" fmla="*/ 2 h 422"/>
                <a:gd name="T92" fmla="*/ 454 w 496"/>
                <a:gd name="T93" fmla="*/ 2 h 422"/>
                <a:gd name="T94" fmla="*/ 438 w 496"/>
                <a:gd name="T95" fmla="*/ 1 h 422"/>
                <a:gd name="T96" fmla="*/ 412 w 496"/>
                <a:gd name="T97" fmla="*/ 0 h 422"/>
                <a:gd name="T98" fmla="*/ 412 w 496"/>
                <a:gd name="T99" fmla="*/ 0 h 422"/>
                <a:gd name="T100" fmla="*/ 397 w 496"/>
                <a:gd name="T101" fmla="*/ 1 h 422"/>
                <a:gd name="T102" fmla="*/ 385 w 496"/>
                <a:gd name="T103" fmla="*/ 1 h 422"/>
                <a:gd name="T104" fmla="*/ 374 w 496"/>
                <a:gd name="T105" fmla="*/ 3 h 422"/>
                <a:gd name="T106" fmla="*/ 365 w 496"/>
                <a:gd name="T107" fmla="*/ 7 h 422"/>
                <a:gd name="T108" fmla="*/ 356 w 496"/>
                <a:gd name="T109" fmla="*/ 11 h 422"/>
                <a:gd name="T110" fmla="*/ 348 w 496"/>
                <a:gd name="T111" fmla="*/ 19 h 422"/>
                <a:gd name="T112" fmla="*/ 342 w 496"/>
                <a:gd name="T113" fmla="*/ 28 h 422"/>
                <a:gd name="T114" fmla="*/ 337 w 496"/>
                <a:gd name="T115" fmla="*/ 39 h 422"/>
                <a:gd name="T116" fmla="*/ 255 w 496"/>
                <a:gd name="T117" fmla="*/ 246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" h="422">
                  <a:moveTo>
                    <a:pt x="255" y="246"/>
                  </a:moveTo>
                  <a:lnTo>
                    <a:pt x="255" y="246"/>
                  </a:lnTo>
                  <a:lnTo>
                    <a:pt x="251" y="257"/>
                  </a:lnTo>
                  <a:lnTo>
                    <a:pt x="248" y="270"/>
                  </a:lnTo>
                  <a:lnTo>
                    <a:pt x="248" y="270"/>
                  </a:lnTo>
                  <a:lnTo>
                    <a:pt x="244" y="257"/>
                  </a:lnTo>
                  <a:lnTo>
                    <a:pt x="241" y="246"/>
                  </a:lnTo>
                  <a:lnTo>
                    <a:pt x="159" y="39"/>
                  </a:lnTo>
                  <a:lnTo>
                    <a:pt x="159" y="39"/>
                  </a:lnTo>
                  <a:lnTo>
                    <a:pt x="153" y="28"/>
                  </a:lnTo>
                  <a:lnTo>
                    <a:pt x="147" y="19"/>
                  </a:lnTo>
                  <a:lnTo>
                    <a:pt x="140" y="11"/>
                  </a:lnTo>
                  <a:lnTo>
                    <a:pt x="132" y="7"/>
                  </a:lnTo>
                  <a:lnTo>
                    <a:pt x="122" y="3"/>
                  </a:lnTo>
                  <a:lnTo>
                    <a:pt x="110" y="1"/>
                  </a:lnTo>
                  <a:lnTo>
                    <a:pt x="98" y="1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58" y="1"/>
                  </a:lnTo>
                  <a:lnTo>
                    <a:pt x="42" y="2"/>
                  </a:lnTo>
                  <a:lnTo>
                    <a:pt x="0" y="422"/>
                  </a:lnTo>
                  <a:lnTo>
                    <a:pt x="93" y="422"/>
                  </a:lnTo>
                  <a:lnTo>
                    <a:pt x="113" y="140"/>
                  </a:lnTo>
                  <a:lnTo>
                    <a:pt x="201" y="353"/>
                  </a:lnTo>
                  <a:lnTo>
                    <a:pt x="201" y="353"/>
                  </a:lnTo>
                  <a:lnTo>
                    <a:pt x="204" y="359"/>
                  </a:lnTo>
                  <a:lnTo>
                    <a:pt x="208" y="364"/>
                  </a:lnTo>
                  <a:lnTo>
                    <a:pt x="213" y="368"/>
                  </a:lnTo>
                  <a:lnTo>
                    <a:pt x="218" y="371"/>
                  </a:lnTo>
                  <a:lnTo>
                    <a:pt x="224" y="373"/>
                  </a:lnTo>
                  <a:lnTo>
                    <a:pt x="231" y="376"/>
                  </a:lnTo>
                  <a:lnTo>
                    <a:pt x="239" y="377"/>
                  </a:lnTo>
                  <a:lnTo>
                    <a:pt x="248" y="377"/>
                  </a:lnTo>
                  <a:lnTo>
                    <a:pt x="248" y="377"/>
                  </a:lnTo>
                  <a:lnTo>
                    <a:pt x="257" y="377"/>
                  </a:lnTo>
                  <a:lnTo>
                    <a:pt x="266" y="376"/>
                  </a:lnTo>
                  <a:lnTo>
                    <a:pt x="273" y="373"/>
                  </a:lnTo>
                  <a:lnTo>
                    <a:pt x="279" y="371"/>
                  </a:lnTo>
                  <a:lnTo>
                    <a:pt x="284" y="368"/>
                  </a:lnTo>
                  <a:lnTo>
                    <a:pt x="288" y="364"/>
                  </a:lnTo>
                  <a:lnTo>
                    <a:pt x="291" y="359"/>
                  </a:lnTo>
                  <a:lnTo>
                    <a:pt x="294" y="353"/>
                  </a:lnTo>
                  <a:lnTo>
                    <a:pt x="382" y="140"/>
                  </a:lnTo>
                  <a:lnTo>
                    <a:pt x="403" y="422"/>
                  </a:lnTo>
                  <a:lnTo>
                    <a:pt x="496" y="422"/>
                  </a:lnTo>
                  <a:lnTo>
                    <a:pt x="454" y="2"/>
                  </a:lnTo>
                  <a:lnTo>
                    <a:pt x="454" y="2"/>
                  </a:lnTo>
                  <a:lnTo>
                    <a:pt x="438" y="1"/>
                  </a:lnTo>
                  <a:lnTo>
                    <a:pt x="412" y="0"/>
                  </a:lnTo>
                  <a:lnTo>
                    <a:pt x="412" y="0"/>
                  </a:lnTo>
                  <a:lnTo>
                    <a:pt x="397" y="1"/>
                  </a:lnTo>
                  <a:lnTo>
                    <a:pt x="385" y="1"/>
                  </a:lnTo>
                  <a:lnTo>
                    <a:pt x="374" y="3"/>
                  </a:lnTo>
                  <a:lnTo>
                    <a:pt x="365" y="7"/>
                  </a:lnTo>
                  <a:lnTo>
                    <a:pt x="356" y="11"/>
                  </a:lnTo>
                  <a:lnTo>
                    <a:pt x="348" y="19"/>
                  </a:lnTo>
                  <a:lnTo>
                    <a:pt x="342" y="28"/>
                  </a:lnTo>
                  <a:lnTo>
                    <a:pt x="337" y="39"/>
                  </a:lnTo>
                  <a:lnTo>
                    <a:pt x="255" y="24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5" name="Freeform 64"/>
            <p:cNvSpPr>
              <a:spLocks/>
            </p:cNvSpPr>
            <p:nvPr userDrawn="1"/>
          </p:nvSpPr>
          <p:spPr bwMode="auto">
            <a:xfrm>
              <a:off x="4671" y="4034"/>
              <a:ext cx="43" cy="29"/>
            </a:xfrm>
            <a:custGeom>
              <a:avLst/>
              <a:gdLst>
                <a:gd name="T0" fmla="*/ 171 w 171"/>
                <a:gd name="T1" fmla="*/ 93 h 116"/>
                <a:gd name="T2" fmla="*/ 171 w 171"/>
                <a:gd name="T3" fmla="*/ 93 h 116"/>
                <a:gd name="T4" fmla="*/ 151 w 171"/>
                <a:gd name="T5" fmla="*/ 99 h 116"/>
                <a:gd name="T6" fmla="*/ 125 w 171"/>
                <a:gd name="T7" fmla="*/ 108 h 116"/>
                <a:gd name="T8" fmla="*/ 110 w 171"/>
                <a:gd name="T9" fmla="*/ 111 h 116"/>
                <a:gd name="T10" fmla="*/ 96 w 171"/>
                <a:gd name="T11" fmla="*/ 114 h 116"/>
                <a:gd name="T12" fmla="*/ 82 w 171"/>
                <a:gd name="T13" fmla="*/ 116 h 116"/>
                <a:gd name="T14" fmla="*/ 67 w 171"/>
                <a:gd name="T15" fmla="*/ 116 h 116"/>
                <a:gd name="T16" fmla="*/ 67 w 171"/>
                <a:gd name="T17" fmla="*/ 116 h 116"/>
                <a:gd name="T18" fmla="*/ 54 w 171"/>
                <a:gd name="T19" fmla="*/ 116 h 116"/>
                <a:gd name="T20" fmla="*/ 41 w 171"/>
                <a:gd name="T21" fmla="*/ 114 h 116"/>
                <a:gd name="T22" fmla="*/ 30 w 171"/>
                <a:gd name="T23" fmla="*/ 110 h 116"/>
                <a:gd name="T24" fmla="*/ 24 w 171"/>
                <a:gd name="T25" fmla="*/ 108 h 116"/>
                <a:gd name="T26" fmla="*/ 19 w 171"/>
                <a:gd name="T27" fmla="*/ 105 h 116"/>
                <a:gd name="T28" fmla="*/ 15 w 171"/>
                <a:gd name="T29" fmla="*/ 101 h 116"/>
                <a:gd name="T30" fmla="*/ 11 w 171"/>
                <a:gd name="T31" fmla="*/ 97 h 116"/>
                <a:gd name="T32" fmla="*/ 8 w 171"/>
                <a:gd name="T33" fmla="*/ 92 h 116"/>
                <a:gd name="T34" fmla="*/ 5 w 171"/>
                <a:gd name="T35" fmla="*/ 87 h 116"/>
                <a:gd name="T36" fmla="*/ 3 w 171"/>
                <a:gd name="T37" fmla="*/ 82 h 116"/>
                <a:gd name="T38" fmla="*/ 2 w 171"/>
                <a:gd name="T39" fmla="*/ 76 h 116"/>
                <a:gd name="T40" fmla="*/ 1 w 171"/>
                <a:gd name="T41" fmla="*/ 69 h 116"/>
                <a:gd name="T42" fmla="*/ 0 w 171"/>
                <a:gd name="T43" fmla="*/ 61 h 116"/>
                <a:gd name="T44" fmla="*/ 0 w 171"/>
                <a:gd name="T45" fmla="*/ 61 h 116"/>
                <a:gd name="T46" fmla="*/ 1 w 171"/>
                <a:gd name="T47" fmla="*/ 49 h 116"/>
                <a:gd name="T48" fmla="*/ 4 w 171"/>
                <a:gd name="T49" fmla="*/ 38 h 116"/>
                <a:gd name="T50" fmla="*/ 6 w 171"/>
                <a:gd name="T51" fmla="*/ 33 h 116"/>
                <a:gd name="T52" fmla="*/ 9 w 171"/>
                <a:gd name="T53" fmla="*/ 27 h 116"/>
                <a:gd name="T54" fmla="*/ 13 w 171"/>
                <a:gd name="T55" fmla="*/ 23 h 116"/>
                <a:gd name="T56" fmla="*/ 16 w 171"/>
                <a:gd name="T57" fmla="*/ 19 h 116"/>
                <a:gd name="T58" fmla="*/ 21 w 171"/>
                <a:gd name="T59" fmla="*/ 16 h 116"/>
                <a:gd name="T60" fmla="*/ 26 w 171"/>
                <a:gd name="T61" fmla="*/ 13 h 116"/>
                <a:gd name="T62" fmla="*/ 33 w 171"/>
                <a:gd name="T63" fmla="*/ 10 h 116"/>
                <a:gd name="T64" fmla="*/ 39 w 171"/>
                <a:gd name="T65" fmla="*/ 8 h 116"/>
                <a:gd name="T66" fmla="*/ 55 w 171"/>
                <a:gd name="T67" fmla="*/ 5 h 116"/>
                <a:gd name="T68" fmla="*/ 72 w 171"/>
                <a:gd name="T69" fmla="*/ 3 h 116"/>
                <a:gd name="T70" fmla="*/ 171 w 171"/>
                <a:gd name="T71" fmla="*/ 0 h 116"/>
                <a:gd name="T72" fmla="*/ 171 w 171"/>
                <a:gd name="T73" fmla="*/ 93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1" h="116">
                  <a:moveTo>
                    <a:pt x="171" y="93"/>
                  </a:moveTo>
                  <a:lnTo>
                    <a:pt x="171" y="93"/>
                  </a:lnTo>
                  <a:lnTo>
                    <a:pt x="151" y="99"/>
                  </a:lnTo>
                  <a:lnTo>
                    <a:pt x="125" y="108"/>
                  </a:lnTo>
                  <a:lnTo>
                    <a:pt x="110" y="111"/>
                  </a:lnTo>
                  <a:lnTo>
                    <a:pt x="96" y="114"/>
                  </a:lnTo>
                  <a:lnTo>
                    <a:pt x="82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54" y="116"/>
                  </a:lnTo>
                  <a:lnTo>
                    <a:pt x="41" y="114"/>
                  </a:lnTo>
                  <a:lnTo>
                    <a:pt x="30" y="110"/>
                  </a:lnTo>
                  <a:lnTo>
                    <a:pt x="24" y="108"/>
                  </a:lnTo>
                  <a:lnTo>
                    <a:pt x="19" y="105"/>
                  </a:lnTo>
                  <a:lnTo>
                    <a:pt x="15" y="101"/>
                  </a:lnTo>
                  <a:lnTo>
                    <a:pt x="11" y="97"/>
                  </a:lnTo>
                  <a:lnTo>
                    <a:pt x="8" y="92"/>
                  </a:lnTo>
                  <a:lnTo>
                    <a:pt x="5" y="87"/>
                  </a:lnTo>
                  <a:lnTo>
                    <a:pt x="3" y="82"/>
                  </a:lnTo>
                  <a:lnTo>
                    <a:pt x="2" y="76"/>
                  </a:lnTo>
                  <a:lnTo>
                    <a:pt x="1" y="69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1" y="49"/>
                  </a:lnTo>
                  <a:lnTo>
                    <a:pt x="4" y="38"/>
                  </a:lnTo>
                  <a:lnTo>
                    <a:pt x="6" y="33"/>
                  </a:lnTo>
                  <a:lnTo>
                    <a:pt x="9" y="27"/>
                  </a:lnTo>
                  <a:lnTo>
                    <a:pt x="13" y="23"/>
                  </a:lnTo>
                  <a:lnTo>
                    <a:pt x="16" y="19"/>
                  </a:lnTo>
                  <a:lnTo>
                    <a:pt x="21" y="16"/>
                  </a:lnTo>
                  <a:lnTo>
                    <a:pt x="26" y="13"/>
                  </a:lnTo>
                  <a:lnTo>
                    <a:pt x="33" y="10"/>
                  </a:lnTo>
                  <a:lnTo>
                    <a:pt x="39" y="8"/>
                  </a:lnTo>
                  <a:lnTo>
                    <a:pt x="55" y="5"/>
                  </a:lnTo>
                  <a:lnTo>
                    <a:pt x="72" y="3"/>
                  </a:lnTo>
                  <a:lnTo>
                    <a:pt x="171" y="0"/>
                  </a:lnTo>
                  <a:lnTo>
                    <a:pt x="171" y="9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6" name="Freeform 65"/>
            <p:cNvSpPr>
              <a:spLocks/>
            </p:cNvSpPr>
            <p:nvPr userDrawn="1"/>
          </p:nvSpPr>
          <p:spPr bwMode="auto">
            <a:xfrm>
              <a:off x="4649" y="3974"/>
              <a:ext cx="88" cy="107"/>
            </a:xfrm>
            <a:custGeom>
              <a:avLst/>
              <a:gdLst>
                <a:gd name="T0" fmla="*/ 205 w 352"/>
                <a:gd name="T1" fmla="*/ 0 h 428"/>
                <a:gd name="T2" fmla="*/ 147 w 352"/>
                <a:gd name="T3" fmla="*/ 4 h 428"/>
                <a:gd name="T4" fmla="*/ 97 w 352"/>
                <a:gd name="T5" fmla="*/ 12 h 428"/>
                <a:gd name="T6" fmla="*/ 58 w 352"/>
                <a:gd name="T7" fmla="*/ 23 h 428"/>
                <a:gd name="T8" fmla="*/ 33 w 352"/>
                <a:gd name="T9" fmla="*/ 33 h 428"/>
                <a:gd name="T10" fmla="*/ 52 w 352"/>
                <a:gd name="T11" fmla="*/ 102 h 428"/>
                <a:gd name="T12" fmla="*/ 92 w 352"/>
                <a:gd name="T13" fmla="*/ 91 h 428"/>
                <a:gd name="T14" fmla="*/ 133 w 352"/>
                <a:gd name="T15" fmla="*/ 82 h 428"/>
                <a:gd name="T16" fmla="*/ 179 w 352"/>
                <a:gd name="T17" fmla="*/ 79 h 428"/>
                <a:gd name="T18" fmla="*/ 197 w 352"/>
                <a:gd name="T19" fmla="*/ 80 h 428"/>
                <a:gd name="T20" fmla="*/ 221 w 352"/>
                <a:gd name="T21" fmla="*/ 84 h 428"/>
                <a:gd name="T22" fmla="*/ 234 w 352"/>
                <a:gd name="T23" fmla="*/ 90 h 428"/>
                <a:gd name="T24" fmla="*/ 244 w 352"/>
                <a:gd name="T25" fmla="*/ 98 h 428"/>
                <a:gd name="T26" fmla="*/ 251 w 352"/>
                <a:gd name="T27" fmla="*/ 108 h 428"/>
                <a:gd name="T28" fmla="*/ 256 w 352"/>
                <a:gd name="T29" fmla="*/ 120 h 428"/>
                <a:gd name="T30" fmla="*/ 260 w 352"/>
                <a:gd name="T31" fmla="*/ 137 h 428"/>
                <a:gd name="T32" fmla="*/ 260 w 352"/>
                <a:gd name="T33" fmla="*/ 176 h 428"/>
                <a:gd name="T34" fmla="*/ 179 w 352"/>
                <a:gd name="T35" fmla="*/ 176 h 428"/>
                <a:gd name="T36" fmla="*/ 132 w 352"/>
                <a:gd name="T37" fmla="*/ 179 h 428"/>
                <a:gd name="T38" fmla="*/ 93 w 352"/>
                <a:gd name="T39" fmla="*/ 187 h 428"/>
                <a:gd name="T40" fmla="*/ 61 w 352"/>
                <a:gd name="T41" fmla="*/ 200 h 428"/>
                <a:gd name="T42" fmla="*/ 38 w 352"/>
                <a:gd name="T43" fmla="*/ 216 h 428"/>
                <a:gd name="T44" fmla="*/ 20 w 352"/>
                <a:gd name="T45" fmla="*/ 236 h 428"/>
                <a:gd name="T46" fmla="*/ 9 w 352"/>
                <a:gd name="T47" fmla="*/ 257 h 428"/>
                <a:gd name="T48" fmla="*/ 2 w 352"/>
                <a:gd name="T49" fmla="*/ 282 h 428"/>
                <a:gd name="T50" fmla="*/ 0 w 352"/>
                <a:gd name="T51" fmla="*/ 307 h 428"/>
                <a:gd name="T52" fmla="*/ 1 w 352"/>
                <a:gd name="T53" fmla="*/ 323 h 428"/>
                <a:gd name="T54" fmla="*/ 7 w 352"/>
                <a:gd name="T55" fmla="*/ 352 h 428"/>
                <a:gd name="T56" fmla="*/ 19 w 352"/>
                <a:gd name="T57" fmla="*/ 376 h 428"/>
                <a:gd name="T58" fmla="*/ 35 w 352"/>
                <a:gd name="T59" fmla="*/ 394 h 428"/>
                <a:gd name="T60" fmla="*/ 54 w 352"/>
                <a:gd name="T61" fmla="*/ 408 h 428"/>
                <a:gd name="T62" fmla="*/ 77 w 352"/>
                <a:gd name="T63" fmla="*/ 418 h 428"/>
                <a:gd name="T64" fmla="*/ 101 w 352"/>
                <a:gd name="T65" fmla="*/ 424 h 428"/>
                <a:gd name="T66" fmla="*/ 126 w 352"/>
                <a:gd name="T67" fmla="*/ 427 h 428"/>
                <a:gd name="T68" fmla="*/ 138 w 352"/>
                <a:gd name="T69" fmla="*/ 428 h 428"/>
                <a:gd name="T70" fmla="*/ 164 w 352"/>
                <a:gd name="T71" fmla="*/ 426 h 428"/>
                <a:gd name="T72" fmla="*/ 209 w 352"/>
                <a:gd name="T73" fmla="*/ 418 h 428"/>
                <a:gd name="T74" fmla="*/ 241 w 352"/>
                <a:gd name="T75" fmla="*/ 406 h 428"/>
                <a:gd name="T76" fmla="*/ 260 w 352"/>
                <a:gd name="T77" fmla="*/ 397 h 428"/>
                <a:gd name="T78" fmla="*/ 264 w 352"/>
                <a:gd name="T79" fmla="*/ 396 h 428"/>
                <a:gd name="T80" fmla="*/ 270 w 352"/>
                <a:gd name="T81" fmla="*/ 398 h 428"/>
                <a:gd name="T82" fmla="*/ 284 w 352"/>
                <a:gd name="T83" fmla="*/ 404 h 428"/>
                <a:gd name="T84" fmla="*/ 311 w 352"/>
                <a:gd name="T85" fmla="*/ 411 h 428"/>
                <a:gd name="T86" fmla="*/ 352 w 352"/>
                <a:gd name="T87" fmla="*/ 413 h 428"/>
                <a:gd name="T88" fmla="*/ 352 w 352"/>
                <a:gd name="T89" fmla="*/ 122 h 428"/>
                <a:gd name="T90" fmla="*/ 350 w 352"/>
                <a:gd name="T91" fmla="*/ 92 h 428"/>
                <a:gd name="T92" fmla="*/ 343 w 352"/>
                <a:gd name="T93" fmla="*/ 66 h 428"/>
                <a:gd name="T94" fmla="*/ 331 w 352"/>
                <a:gd name="T95" fmla="*/ 45 h 428"/>
                <a:gd name="T96" fmla="*/ 314 w 352"/>
                <a:gd name="T97" fmla="*/ 29 h 428"/>
                <a:gd name="T98" fmla="*/ 293 w 352"/>
                <a:gd name="T99" fmla="*/ 15 h 428"/>
                <a:gd name="T100" fmla="*/ 268 w 352"/>
                <a:gd name="T101" fmla="*/ 7 h 428"/>
                <a:gd name="T102" fmla="*/ 238 w 352"/>
                <a:gd name="T103" fmla="*/ 2 h 428"/>
                <a:gd name="T104" fmla="*/ 205 w 352"/>
                <a:gd name="T105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2" h="428">
                  <a:moveTo>
                    <a:pt x="205" y="0"/>
                  </a:moveTo>
                  <a:lnTo>
                    <a:pt x="205" y="0"/>
                  </a:lnTo>
                  <a:lnTo>
                    <a:pt x="176" y="1"/>
                  </a:lnTo>
                  <a:lnTo>
                    <a:pt x="147" y="4"/>
                  </a:lnTo>
                  <a:lnTo>
                    <a:pt x="121" y="7"/>
                  </a:lnTo>
                  <a:lnTo>
                    <a:pt x="97" y="12"/>
                  </a:lnTo>
                  <a:lnTo>
                    <a:pt x="77" y="17"/>
                  </a:lnTo>
                  <a:lnTo>
                    <a:pt x="58" y="23"/>
                  </a:lnTo>
                  <a:lnTo>
                    <a:pt x="44" y="28"/>
                  </a:lnTo>
                  <a:lnTo>
                    <a:pt x="33" y="33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63" y="98"/>
                  </a:lnTo>
                  <a:lnTo>
                    <a:pt x="92" y="91"/>
                  </a:lnTo>
                  <a:lnTo>
                    <a:pt x="111" y="86"/>
                  </a:lnTo>
                  <a:lnTo>
                    <a:pt x="133" y="82"/>
                  </a:lnTo>
                  <a:lnTo>
                    <a:pt x="155" y="80"/>
                  </a:lnTo>
                  <a:lnTo>
                    <a:pt x="179" y="79"/>
                  </a:lnTo>
                  <a:lnTo>
                    <a:pt x="179" y="79"/>
                  </a:lnTo>
                  <a:lnTo>
                    <a:pt x="197" y="80"/>
                  </a:lnTo>
                  <a:lnTo>
                    <a:pt x="214" y="82"/>
                  </a:lnTo>
                  <a:lnTo>
                    <a:pt x="221" y="84"/>
                  </a:lnTo>
                  <a:lnTo>
                    <a:pt x="228" y="86"/>
                  </a:lnTo>
                  <a:lnTo>
                    <a:pt x="234" y="90"/>
                  </a:lnTo>
                  <a:lnTo>
                    <a:pt x="239" y="94"/>
                  </a:lnTo>
                  <a:lnTo>
                    <a:pt x="244" y="98"/>
                  </a:lnTo>
                  <a:lnTo>
                    <a:pt x="248" y="102"/>
                  </a:lnTo>
                  <a:lnTo>
                    <a:pt x="251" y="108"/>
                  </a:lnTo>
                  <a:lnTo>
                    <a:pt x="254" y="114"/>
                  </a:lnTo>
                  <a:lnTo>
                    <a:pt x="256" y="120"/>
                  </a:lnTo>
                  <a:lnTo>
                    <a:pt x="258" y="129"/>
                  </a:lnTo>
                  <a:lnTo>
                    <a:pt x="260" y="137"/>
                  </a:lnTo>
                  <a:lnTo>
                    <a:pt x="260" y="146"/>
                  </a:lnTo>
                  <a:lnTo>
                    <a:pt x="260" y="176"/>
                  </a:lnTo>
                  <a:lnTo>
                    <a:pt x="179" y="176"/>
                  </a:lnTo>
                  <a:lnTo>
                    <a:pt x="179" y="176"/>
                  </a:lnTo>
                  <a:lnTo>
                    <a:pt x="154" y="177"/>
                  </a:lnTo>
                  <a:lnTo>
                    <a:pt x="132" y="179"/>
                  </a:lnTo>
                  <a:lnTo>
                    <a:pt x="111" y="182"/>
                  </a:lnTo>
                  <a:lnTo>
                    <a:pt x="93" y="187"/>
                  </a:lnTo>
                  <a:lnTo>
                    <a:pt x="77" y="192"/>
                  </a:lnTo>
                  <a:lnTo>
                    <a:pt x="61" y="200"/>
                  </a:lnTo>
                  <a:lnTo>
                    <a:pt x="49" y="207"/>
                  </a:lnTo>
                  <a:lnTo>
                    <a:pt x="38" y="216"/>
                  </a:lnTo>
                  <a:lnTo>
                    <a:pt x="29" y="225"/>
                  </a:lnTo>
                  <a:lnTo>
                    <a:pt x="20" y="236"/>
                  </a:lnTo>
                  <a:lnTo>
                    <a:pt x="14" y="246"/>
                  </a:lnTo>
                  <a:lnTo>
                    <a:pt x="9" y="257"/>
                  </a:lnTo>
                  <a:lnTo>
                    <a:pt x="5" y="270"/>
                  </a:lnTo>
                  <a:lnTo>
                    <a:pt x="2" y="282"/>
                  </a:lnTo>
                  <a:lnTo>
                    <a:pt x="1" y="294"/>
                  </a:lnTo>
                  <a:lnTo>
                    <a:pt x="0" y="307"/>
                  </a:lnTo>
                  <a:lnTo>
                    <a:pt x="0" y="307"/>
                  </a:lnTo>
                  <a:lnTo>
                    <a:pt x="1" y="323"/>
                  </a:lnTo>
                  <a:lnTo>
                    <a:pt x="3" y="338"/>
                  </a:lnTo>
                  <a:lnTo>
                    <a:pt x="7" y="352"/>
                  </a:lnTo>
                  <a:lnTo>
                    <a:pt x="12" y="364"/>
                  </a:lnTo>
                  <a:lnTo>
                    <a:pt x="19" y="376"/>
                  </a:lnTo>
                  <a:lnTo>
                    <a:pt x="27" y="386"/>
                  </a:lnTo>
                  <a:lnTo>
                    <a:pt x="35" y="394"/>
                  </a:lnTo>
                  <a:lnTo>
                    <a:pt x="45" y="401"/>
                  </a:lnTo>
                  <a:lnTo>
                    <a:pt x="54" y="408"/>
                  </a:lnTo>
                  <a:lnTo>
                    <a:pt x="65" y="414"/>
                  </a:lnTo>
                  <a:lnTo>
                    <a:pt x="77" y="418"/>
                  </a:lnTo>
                  <a:lnTo>
                    <a:pt x="89" y="422"/>
                  </a:lnTo>
                  <a:lnTo>
                    <a:pt x="101" y="424"/>
                  </a:lnTo>
                  <a:lnTo>
                    <a:pt x="113" y="426"/>
                  </a:lnTo>
                  <a:lnTo>
                    <a:pt x="126" y="427"/>
                  </a:lnTo>
                  <a:lnTo>
                    <a:pt x="138" y="428"/>
                  </a:lnTo>
                  <a:lnTo>
                    <a:pt x="138" y="428"/>
                  </a:lnTo>
                  <a:lnTo>
                    <a:pt x="151" y="427"/>
                  </a:lnTo>
                  <a:lnTo>
                    <a:pt x="164" y="426"/>
                  </a:lnTo>
                  <a:lnTo>
                    <a:pt x="189" y="423"/>
                  </a:lnTo>
                  <a:lnTo>
                    <a:pt x="209" y="418"/>
                  </a:lnTo>
                  <a:lnTo>
                    <a:pt x="227" y="412"/>
                  </a:lnTo>
                  <a:lnTo>
                    <a:pt x="241" y="406"/>
                  </a:lnTo>
                  <a:lnTo>
                    <a:pt x="252" y="401"/>
                  </a:lnTo>
                  <a:lnTo>
                    <a:pt x="260" y="397"/>
                  </a:lnTo>
                  <a:lnTo>
                    <a:pt x="264" y="396"/>
                  </a:lnTo>
                  <a:lnTo>
                    <a:pt x="264" y="396"/>
                  </a:lnTo>
                  <a:lnTo>
                    <a:pt x="266" y="397"/>
                  </a:lnTo>
                  <a:lnTo>
                    <a:pt x="270" y="398"/>
                  </a:lnTo>
                  <a:lnTo>
                    <a:pt x="276" y="401"/>
                  </a:lnTo>
                  <a:lnTo>
                    <a:pt x="284" y="404"/>
                  </a:lnTo>
                  <a:lnTo>
                    <a:pt x="295" y="407"/>
                  </a:lnTo>
                  <a:lnTo>
                    <a:pt x="311" y="411"/>
                  </a:lnTo>
                  <a:lnTo>
                    <a:pt x="329" y="412"/>
                  </a:lnTo>
                  <a:lnTo>
                    <a:pt x="352" y="413"/>
                  </a:lnTo>
                  <a:lnTo>
                    <a:pt x="352" y="122"/>
                  </a:lnTo>
                  <a:lnTo>
                    <a:pt x="352" y="122"/>
                  </a:lnTo>
                  <a:lnTo>
                    <a:pt x="352" y="106"/>
                  </a:lnTo>
                  <a:lnTo>
                    <a:pt x="350" y="92"/>
                  </a:lnTo>
                  <a:lnTo>
                    <a:pt x="347" y="78"/>
                  </a:lnTo>
                  <a:lnTo>
                    <a:pt x="343" y="66"/>
                  </a:lnTo>
                  <a:lnTo>
                    <a:pt x="337" y="56"/>
                  </a:lnTo>
                  <a:lnTo>
                    <a:pt x="331" y="45"/>
                  </a:lnTo>
                  <a:lnTo>
                    <a:pt x="323" y="36"/>
                  </a:lnTo>
                  <a:lnTo>
                    <a:pt x="314" y="29"/>
                  </a:lnTo>
                  <a:lnTo>
                    <a:pt x="304" y="22"/>
                  </a:lnTo>
                  <a:lnTo>
                    <a:pt x="293" y="15"/>
                  </a:lnTo>
                  <a:lnTo>
                    <a:pt x="281" y="11"/>
                  </a:lnTo>
                  <a:lnTo>
                    <a:pt x="268" y="7"/>
                  </a:lnTo>
                  <a:lnTo>
                    <a:pt x="253" y="4"/>
                  </a:lnTo>
                  <a:lnTo>
                    <a:pt x="238" y="2"/>
                  </a:lnTo>
                  <a:lnTo>
                    <a:pt x="223" y="1"/>
                  </a:lnTo>
                  <a:lnTo>
                    <a:pt x="20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7" name="Freeform 10"/>
            <p:cNvSpPr>
              <a:spLocks/>
            </p:cNvSpPr>
            <p:nvPr userDrawn="1"/>
          </p:nvSpPr>
          <p:spPr bwMode="auto">
            <a:xfrm>
              <a:off x="4936" y="4034"/>
              <a:ext cx="43" cy="29"/>
            </a:xfrm>
            <a:custGeom>
              <a:avLst/>
              <a:gdLst>
                <a:gd name="T0" fmla="*/ 171 w 171"/>
                <a:gd name="T1" fmla="*/ 93 h 116"/>
                <a:gd name="T2" fmla="*/ 171 w 171"/>
                <a:gd name="T3" fmla="*/ 93 h 116"/>
                <a:gd name="T4" fmla="*/ 152 w 171"/>
                <a:gd name="T5" fmla="*/ 99 h 116"/>
                <a:gd name="T6" fmla="*/ 125 w 171"/>
                <a:gd name="T7" fmla="*/ 108 h 116"/>
                <a:gd name="T8" fmla="*/ 111 w 171"/>
                <a:gd name="T9" fmla="*/ 111 h 116"/>
                <a:gd name="T10" fmla="*/ 95 w 171"/>
                <a:gd name="T11" fmla="*/ 114 h 116"/>
                <a:gd name="T12" fmla="*/ 81 w 171"/>
                <a:gd name="T13" fmla="*/ 116 h 116"/>
                <a:gd name="T14" fmla="*/ 68 w 171"/>
                <a:gd name="T15" fmla="*/ 116 h 116"/>
                <a:gd name="T16" fmla="*/ 68 w 171"/>
                <a:gd name="T17" fmla="*/ 116 h 116"/>
                <a:gd name="T18" fmla="*/ 54 w 171"/>
                <a:gd name="T19" fmla="*/ 116 h 116"/>
                <a:gd name="T20" fmla="*/ 41 w 171"/>
                <a:gd name="T21" fmla="*/ 114 h 116"/>
                <a:gd name="T22" fmla="*/ 29 w 171"/>
                <a:gd name="T23" fmla="*/ 110 h 116"/>
                <a:gd name="T24" fmla="*/ 24 w 171"/>
                <a:gd name="T25" fmla="*/ 108 h 116"/>
                <a:gd name="T26" fmla="*/ 20 w 171"/>
                <a:gd name="T27" fmla="*/ 105 h 116"/>
                <a:gd name="T28" fmla="*/ 16 w 171"/>
                <a:gd name="T29" fmla="*/ 101 h 116"/>
                <a:gd name="T30" fmla="*/ 12 w 171"/>
                <a:gd name="T31" fmla="*/ 97 h 116"/>
                <a:gd name="T32" fmla="*/ 9 w 171"/>
                <a:gd name="T33" fmla="*/ 92 h 116"/>
                <a:gd name="T34" fmla="*/ 6 w 171"/>
                <a:gd name="T35" fmla="*/ 87 h 116"/>
                <a:gd name="T36" fmla="*/ 3 w 171"/>
                <a:gd name="T37" fmla="*/ 82 h 116"/>
                <a:gd name="T38" fmla="*/ 1 w 171"/>
                <a:gd name="T39" fmla="*/ 76 h 116"/>
                <a:gd name="T40" fmla="*/ 0 w 171"/>
                <a:gd name="T41" fmla="*/ 69 h 116"/>
                <a:gd name="T42" fmla="*/ 0 w 171"/>
                <a:gd name="T43" fmla="*/ 61 h 116"/>
                <a:gd name="T44" fmla="*/ 0 w 171"/>
                <a:gd name="T45" fmla="*/ 61 h 116"/>
                <a:gd name="T46" fmla="*/ 1 w 171"/>
                <a:gd name="T47" fmla="*/ 49 h 116"/>
                <a:gd name="T48" fmla="*/ 4 w 171"/>
                <a:gd name="T49" fmla="*/ 38 h 116"/>
                <a:gd name="T50" fmla="*/ 7 w 171"/>
                <a:gd name="T51" fmla="*/ 33 h 116"/>
                <a:gd name="T52" fmla="*/ 10 w 171"/>
                <a:gd name="T53" fmla="*/ 27 h 116"/>
                <a:gd name="T54" fmla="*/ 13 w 171"/>
                <a:gd name="T55" fmla="*/ 23 h 116"/>
                <a:gd name="T56" fmla="*/ 17 w 171"/>
                <a:gd name="T57" fmla="*/ 19 h 116"/>
                <a:gd name="T58" fmla="*/ 22 w 171"/>
                <a:gd name="T59" fmla="*/ 16 h 116"/>
                <a:gd name="T60" fmla="*/ 27 w 171"/>
                <a:gd name="T61" fmla="*/ 13 h 116"/>
                <a:gd name="T62" fmla="*/ 33 w 171"/>
                <a:gd name="T63" fmla="*/ 10 h 116"/>
                <a:gd name="T64" fmla="*/ 39 w 171"/>
                <a:gd name="T65" fmla="*/ 8 h 116"/>
                <a:gd name="T66" fmla="*/ 55 w 171"/>
                <a:gd name="T67" fmla="*/ 5 h 116"/>
                <a:gd name="T68" fmla="*/ 73 w 171"/>
                <a:gd name="T69" fmla="*/ 3 h 116"/>
                <a:gd name="T70" fmla="*/ 171 w 171"/>
                <a:gd name="T71" fmla="*/ 0 h 116"/>
                <a:gd name="T72" fmla="*/ 171 w 171"/>
                <a:gd name="T73" fmla="*/ 93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1" h="116">
                  <a:moveTo>
                    <a:pt x="171" y="93"/>
                  </a:moveTo>
                  <a:lnTo>
                    <a:pt x="171" y="93"/>
                  </a:lnTo>
                  <a:lnTo>
                    <a:pt x="152" y="99"/>
                  </a:lnTo>
                  <a:lnTo>
                    <a:pt x="125" y="108"/>
                  </a:lnTo>
                  <a:lnTo>
                    <a:pt x="111" y="111"/>
                  </a:lnTo>
                  <a:lnTo>
                    <a:pt x="95" y="114"/>
                  </a:lnTo>
                  <a:lnTo>
                    <a:pt x="81" y="116"/>
                  </a:lnTo>
                  <a:lnTo>
                    <a:pt x="68" y="116"/>
                  </a:lnTo>
                  <a:lnTo>
                    <a:pt x="68" y="116"/>
                  </a:lnTo>
                  <a:lnTo>
                    <a:pt x="54" y="116"/>
                  </a:lnTo>
                  <a:lnTo>
                    <a:pt x="41" y="114"/>
                  </a:lnTo>
                  <a:lnTo>
                    <a:pt x="29" y="110"/>
                  </a:lnTo>
                  <a:lnTo>
                    <a:pt x="24" y="108"/>
                  </a:lnTo>
                  <a:lnTo>
                    <a:pt x="20" y="105"/>
                  </a:lnTo>
                  <a:lnTo>
                    <a:pt x="16" y="101"/>
                  </a:lnTo>
                  <a:lnTo>
                    <a:pt x="12" y="97"/>
                  </a:lnTo>
                  <a:lnTo>
                    <a:pt x="9" y="92"/>
                  </a:lnTo>
                  <a:lnTo>
                    <a:pt x="6" y="87"/>
                  </a:lnTo>
                  <a:lnTo>
                    <a:pt x="3" y="82"/>
                  </a:lnTo>
                  <a:lnTo>
                    <a:pt x="1" y="76"/>
                  </a:lnTo>
                  <a:lnTo>
                    <a:pt x="0" y="69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1" y="49"/>
                  </a:lnTo>
                  <a:lnTo>
                    <a:pt x="4" y="38"/>
                  </a:lnTo>
                  <a:lnTo>
                    <a:pt x="7" y="33"/>
                  </a:lnTo>
                  <a:lnTo>
                    <a:pt x="10" y="27"/>
                  </a:lnTo>
                  <a:lnTo>
                    <a:pt x="13" y="23"/>
                  </a:lnTo>
                  <a:lnTo>
                    <a:pt x="17" y="19"/>
                  </a:lnTo>
                  <a:lnTo>
                    <a:pt x="22" y="16"/>
                  </a:lnTo>
                  <a:lnTo>
                    <a:pt x="27" y="13"/>
                  </a:lnTo>
                  <a:lnTo>
                    <a:pt x="33" y="10"/>
                  </a:lnTo>
                  <a:lnTo>
                    <a:pt x="39" y="8"/>
                  </a:lnTo>
                  <a:lnTo>
                    <a:pt x="55" y="5"/>
                  </a:lnTo>
                  <a:lnTo>
                    <a:pt x="73" y="3"/>
                  </a:lnTo>
                  <a:lnTo>
                    <a:pt x="171" y="0"/>
                  </a:lnTo>
                  <a:lnTo>
                    <a:pt x="171" y="9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8" name="Freeform 11"/>
            <p:cNvSpPr>
              <a:spLocks/>
            </p:cNvSpPr>
            <p:nvPr userDrawn="1"/>
          </p:nvSpPr>
          <p:spPr bwMode="auto">
            <a:xfrm>
              <a:off x="4914" y="3974"/>
              <a:ext cx="88" cy="107"/>
            </a:xfrm>
            <a:custGeom>
              <a:avLst/>
              <a:gdLst>
                <a:gd name="T0" fmla="*/ 206 w 353"/>
                <a:gd name="T1" fmla="*/ 0 h 428"/>
                <a:gd name="T2" fmla="*/ 148 w 353"/>
                <a:gd name="T3" fmla="*/ 4 h 428"/>
                <a:gd name="T4" fmla="*/ 98 w 353"/>
                <a:gd name="T5" fmla="*/ 12 h 428"/>
                <a:gd name="T6" fmla="*/ 59 w 353"/>
                <a:gd name="T7" fmla="*/ 23 h 428"/>
                <a:gd name="T8" fmla="*/ 33 w 353"/>
                <a:gd name="T9" fmla="*/ 33 h 428"/>
                <a:gd name="T10" fmla="*/ 53 w 353"/>
                <a:gd name="T11" fmla="*/ 102 h 428"/>
                <a:gd name="T12" fmla="*/ 92 w 353"/>
                <a:gd name="T13" fmla="*/ 91 h 428"/>
                <a:gd name="T14" fmla="*/ 132 w 353"/>
                <a:gd name="T15" fmla="*/ 82 h 428"/>
                <a:gd name="T16" fmla="*/ 178 w 353"/>
                <a:gd name="T17" fmla="*/ 79 h 428"/>
                <a:gd name="T18" fmla="*/ 198 w 353"/>
                <a:gd name="T19" fmla="*/ 80 h 428"/>
                <a:gd name="T20" fmla="*/ 221 w 353"/>
                <a:gd name="T21" fmla="*/ 84 h 428"/>
                <a:gd name="T22" fmla="*/ 233 w 353"/>
                <a:gd name="T23" fmla="*/ 90 h 428"/>
                <a:gd name="T24" fmla="*/ 244 w 353"/>
                <a:gd name="T25" fmla="*/ 98 h 428"/>
                <a:gd name="T26" fmla="*/ 252 w 353"/>
                <a:gd name="T27" fmla="*/ 108 h 428"/>
                <a:gd name="T28" fmla="*/ 257 w 353"/>
                <a:gd name="T29" fmla="*/ 120 h 428"/>
                <a:gd name="T30" fmla="*/ 259 w 353"/>
                <a:gd name="T31" fmla="*/ 137 h 428"/>
                <a:gd name="T32" fmla="*/ 260 w 353"/>
                <a:gd name="T33" fmla="*/ 176 h 428"/>
                <a:gd name="T34" fmla="*/ 178 w 353"/>
                <a:gd name="T35" fmla="*/ 176 h 428"/>
                <a:gd name="T36" fmla="*/ 131 w 353"/>
                <a:gd name="T37" fmla="*/ 179 h 428"/>
                <a:gd name="T38" fmla="*/ 92 w 353"/>
                <a:gd name="T39" fmla="*/ 187 h 428"/>
                <a:gd name="T40" fmla="*/ 62 w 353"/>
                <a:gd name="T41" fmla="*/ 200 h 428"/>
                <a:gd name="T42" fmla="*/ 38 w 353"/>
                <a:gd name="T43" fmla="*/ 216 h 428"/>
                <a:gd name="T44" fmla="*/ 21 w 353"/>
                <a:gd name="T45" fmla="*/ 236 h 428"/>
                <a:gd name="T46" fmla="*/ 9 w 353"/>
                <a:gd name="T47" fmla="*/ 257 h 428"/>
                <a:gd name="T48" fmla="*/ 3 w 353"/>
                <a:gd name="T49" fmla="*/ 282 h 428"/>
                <a:gd name="T50" fmla="*/ 0 w 353"/>
                <a:gd name="T51" fmla="*/ 307 h 428"/>
                <a:gd name="T52" fmla="*/ 2 w 353"/>
                <a:gd name="T53" fmla="*/ 323 h 428"/>
                <a:gd name="T54" fmla="*/ 8 w 353"/>
                <a:gd name="T55" fmla="*/ 352 h 428"/>
                <a:gd name="T56" fmla="*/ 19 w 353"/>
                <a:gd name="T57" fmla="*/ 376 h 428"/>
                <a:gd name="T58" fmla="*/ 35 w 353"/>
                <a:gd name="T59" fmla="*/ 394 h 428"/>
                <a:gd name="T60" fmla="*/ 55 w 353"/>
                <a:gd name="T61" fmla="*/ 408 h 428"/>
                <a:gd name="T62" fmla="*/ 77 w 353"/>
                <a:gd name="T63" fmla="*/ 418 h 428"/>
                <a:gd name="T64" fmla="*/ 101 w 353"/>
                <a:gd name="T65" fmla="*/ 424 h 428"/>
                <a:gd name="T66" fmla="*/ 125 w 353"/>
                <a:gd name="T67" fmla="*/ 427 h 428"/>
                <a:gd name="T68" fmla="*/ 137 w 353"/>
                <a:gd name="T69" fmla="*/ 428 h 428"/>
                <a:gd name="T70" fmla="*/ 165 w 353"/>
                <a:gd name="T71" fmla="*/ 426 h 428"/>
                <a:gd name="T72" fmla="*/ 210 w 353"/>
                <a:gd name="T73" fmla="*/ 418 h 428"/>
                <a:gd name="T74" fmla="*/ 242 w 353"/>
                <a:gd name="T75" fmla="*/ 406 h 428"/>
                <a:gd name="T76" fmla="*/ 260 w 353"/>
                <a:gd name="T77" fmla="*/ 397 h 428"/>
                <a:gd name="T78" fmla="*/ 264 w 353"/>
                <a:gd name="T79" fmla="*/ 396 h 428"/>
                <a:gd name="T80" fmla="*/ 269 w 353"/>
                <a:gd name="T81" fmla="*/ 398 h 428"/>
                <a:gd name="T82" fmla="*/ 283 w 353"/>
                <a:gd name="T83" fmla="*/ 404 h 428"/>
                <a:gd name="T84" fmla="*/ 310 w 353"/>
                <a:gd name="T85" fmla="*/ 411 h 428"/>
                <a:gd name="T86" fmla="*/ 353 w 353"/>
                <a:gd name="T87" fmla="*/ 413 h 428"/>
                <a:gd name="T88" fmla="*/ 353 w 353"/>
                <a:gd name="T89" fmla="*/ 122 h 428"/>
                <a:gd name="T90" fmla="*/ 351 w 353"/>
                <a:gd name="T91" fmla="*/ 92 h 428"/>
                <a:gd name="T92" fmla="*/ 343 w 353"/>
                <a:gd name="T93" fmla="*/ 66 h 428"/>
                <a:gd name="T94" fmla="*/ 330 w 353"/>
                <a:gd name="T95" fmla="*/ 45 h 428"/>
                <a:gd name="T96" fmla="*/ 314 w 353"/>
                <a:gd name="T97" fmla="*/ 29 h 428"/>
                <a:gd name="T98" fmla="*/ 293 w 353"/>
                <a:gd name="T99" fmla="*/ 15 h 428"/>
                <a:gd name="T100" fmla="*/ 268 w 353"/>
                <a:gd name="T101" fmla="*/ 7 h 428"/>
                <a:gd name="T102" fmla="*/ 239 w 353"/>
                <a:gd name="T103" fmla="*/ 2 h 428"/>
                <a:gd name="T104" fmla="*/ 206 w 353"/>
                <a:gd name="T105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3" h="428">
                  <a:moveTo>
                    <a:pt x="206" y="0"/>
                  </a:moveTo>
                  <a:lnTo>
                    <a:pt x="206" y="0"/>
                  </a:lnTo>
                  <a:lnTo>
                    <a:pt x="175" y="1"/>
                  </a:lnTo>
                  <a:lnTo>
                    <a:pt x="148" y="4"/>
                  </a:lnTo>
                  <a:lnTo>
                    <a:pt x="121" y="7"/>
                  </a:lnTo>
                  <a:lnTo>
                    <a:pt x="98" y="12"/>
                  </a:lnTo>
                  <a:lnTo>
                    <a:pt x="77" y="17"/>
                  </a:lnTo>
                  <a:lnTo>
                    <a:pt x="59" y="23"/>
                  </a:lnTo>
                  <a:lnTo>
                    <a:pt x="44" y="28"/>
                  </a:lnTo>
                  <a:lnTo>
                    <a:pt x="33" y="33"/>
                  </a:lnTo>
                  <a:lnTo>
                    <a:pt x="53" y="102"/>
                  </a:lnTo>
                  <a:lnTo>
                    <a:pt x="53" y="102"/>
                  </a:lnTo>
                  <a:lnTo>
                    <a:pt x="64" y="98"/>
                  </a:lnTo>
                  <a:lnTo>
                    <a:pt x="92" y="91"/>
                  </a:lnTo>
                  <a:lnTo>
                    <a:pt x="111" y="86"/>
                  </a:lnTo>
                  <a:lnTo>
                    <a:pt x="132" y="82"/>
                  </a:lnTo>
                  <a:lnTo>
                    <a:pt x="155" y="80"/>
                  </a:lnTo>
                  <a:lnTo>
                    <a:pt x="178" y="79"/>
                  </a:lnTo>
                  <a:lnTo>
                    <a:pt x="178" y="79"/>
                  </a:lnTo>
                  <a:lnTo>
                    <a:pt x="198" y="80"/>
                  </a:lnTo>
                  <a:lnTo>
                    <a:pt x="214" y="82"/>
                  </a:lnTo>
                  <a:lnTo>
                    <a:pt x="221" y="84"/>
                  </a:lnTo>
                  <a:lnTo>
                    <a:pt x="227" y="86"/>
                  </a:lnTo>
                  <a:lnTo>
                    <a:pt x="233" y="90"/>
                  </a:lnTo>
                  <a:lnTo>
                    <a:pt x="240" y="94"/>
                  </a:lnTo>
                  <a:lnTo>
                    <a:pt x="244" y="98"/>
                  </a:lnTo>
                  <a:lnTo>
                    <a:pt x="248" y="102"/>
                  </a:lnTo>
                  <a:lnTo>
                    <a:pt x="252" y="108"/>
                  </a:lnTo>
                  <a:lnTo>
                    <a:pt x="255" y="114"/>
                  </a:lnTo>
                  <a:lnTo>
                    <a:pt x="257" y="120"/>
                  </a:lnTo>
                  <a:lnTo>
                    <a:pt x="258" y="129"/>
                  </a:lnTo>
                  <a:lnTo>
                    <a:pt x="259" y="137"/>
                  </a:lnTo>
                  <a:lnTo>
                    <a:pt x="260" y="146"/>
                  </a:lnTo>
                  <a:lnTo>
                    <a:pt x="260" y="176"/>
                  </a:lnTo>
                  <a:lnTo>
                    <a:pt x="178" y="176"/>
                  </a:lnTo>
                  <a:lnTo>
                    <a:pt x="178" y="176"/>
                  </a:lnTo>
                  <a:lnTo>
                    <a:pt x="154" y="177"/>
                  </a:lnTo>
                  <a:lnTo>
                    <a:pt x="131" y="179"/>
                  </a:lnTo>
                  <a:lnTo>
                    <a:pt x="111" y="182"/>
                  </a:lnTo>
                  <a:lnTo>
                    <a:pt x="92" y="187"/>
                  </a:lnTo>
                  <a:lnTo>
                    <a:pt x="76" y="192"/>
                  </a:lnTo>
                  <a:lnTo>
                    <a:pt x="62" y="200"/>
                  </a:lnTo>
                  <a:lnTo>
                    <a:pt x="50" y="207"/>
                  </a:lnTo>
                  <a:lnTo>
                    <a:pt x="38" y="216"/>
                  </a:lnTo>
                  <a:lnTo>
                    <a:pt x="28" y="225"/>
                  </a:lnTo>
                  <a:lnTo>
                    <a:pt x="21" y="236"/>
                  </a:lnTo>
                  <a:lnTo>
                    <a:pt x="14" y="246"/>
                  </a:lnTo>
                  <a:lnTo>
                    <a:pt x="9" y="257"/>
                  </a:lnTo>
                  <a:lnTo>
                    <a:pt x="6" y="270"/>
                  </a:lnTo>
                  <a:lnTo>
                    <a:pt x="3" y="282"/>
                  </a:lnTo>
                  <a:lnTo>
                    <a:pt x="0" y="294"/>
                  </a:lnTo>
                  <a:lnTo>
                    <a:pt x="0" y="307"/>
                  </a:lnTo>
                  <a:lnTo>
                    <a:pt x="0" y="307"/>
                  </a:lnTo>
                  <a:lnTo>
                    <a:pt x="2" y="323"/>
                  </a:lnTo>
                  <a:lnTo>
                    <a:pt x="4" y="338"/>
                  </a:lnTo>
                  <a:lnTo>
                    <a:pt x="8" y="352"/>
                  </a:lnTo>
                  <a:lnTo>
                    <a:pt x="13" y="364"/>
                  </a:lnTo>
                  <a:lnTo>
                    <a:pt x="19" y="376"/>
                  </a:lnTo>
                  <a:lnTo>
                    <a:pt x="27" y="386"/>
                  </a:lnTo>
                  <a:lnTo>
                    <a:pt x="35" y="394"/>
                  </a:lnTo>
                  <a:lnTo>
                    <a:pt x="44" y="401"/>
                  </a:lnTo>
                  <a:lnTo>
                    <a:pt x="55" y="408"/>
                  </a:lnTo>
                  <a:lnTo>
                    <a:pt x="66" y="414"/>
                  </a:lnTo>
                  <a:lnTo>
                    <a:pt x="77" y="418"/>
                  </a:lnTo>
                  <a:lnTo>
                    <a:pt x="88" y="422"/>
                  </a:lnTo>
                  <a:lnTo>
                    <a:pt x="101" y="424"/>
                  </a:lnTo>
                  <a:lnTo>
                    <a:pt x="113" y="426"/>
                  </a:lnTo>
                  <a:lnTo>
                    <a:pt x="125" y="427"/>
                  </a:lnTo>
                  <a:lnTo>
                    <a:pt x="137" y="428"/>
                  </a:lnTo>
                  <a:lnTo>
                    <a:pt x="137" y="428"/>
                  </a:lnTo>
                  <a:lnTo>
                    <a:pt x="152" y="427"/>
                  </a:lnTo>
                  <a:lnTo>
                    <a:pt x="165" y="426"/>
                  </a:lnTo>
                  <a:lnTo>
                    <a:pt x="188" y="423"/>
                  </a:lnTo>
                  <a:lnTo>
                    <a:pt x="210" y="418"/>
                  </a:lnTo>
                  <a:lnTo>
                    <a:pt x="227" y="412"/>
                  </a:lnTo>
                  <a:lnTo>
                    <a:pt x="242" y="406"/>
                  </a:lnTo>
                  <a:lnTo>
                    <a:pt x="253" y="401"/>
                  </a:lnTo>
                  <a:lnTo>
                    <a:pt x="260" y="397"/>
                  </a:lnTo>
                  <a:lnTo>
                    <a:pt x="264" y="396"/>
                  </a:lnTo>
                  <a:lnTo>
                    <a:pt x="264" y="396"/>
                  </a:lnTo>
                  <a:lnTo>
                    <a:pt x="266" y="397"/>
                  </a:lnTo>
                  <a:lnTo>
                    <a:pt x="269" y="398"/>
                  </a:lnTo>
                  <a:lnTo>
                    <a:pt x="275" y="401"/>
                  </a:lnTo>
                  <a:lnTo>
                    <a:pt x="283" y="404"/>
                  </a:lnTo>
                  <a:lnTo>
                    <a:pt x="296" y="407"/>
                  </a:lnTo>
                  <a:lnTo>
                    <a:pt x="310" y="411"/>
                  </a:lnTo>
                  <a:lnTo>
                    <a:pt x="329" y="412"/>
                  </a:lnTo>
                  <a:lnTo>
                    <a:pt x="353" y="413"/>
                  </a:lnTo>
                  <a:lnTo>
                    <a:pt x="353" y="122"/>
                  </a:lnTo>
                  <a:lnTo>
                    <a:pt x="353" y="122"/>
                  </a:lnTo>
                  <a:lnTo>
                    <a:pt x="353" y="106"/>
                  </a:lnTo>
                  <a:lnTo>
                    <a:pt x="351" y="92"/>
                  </a:lnTo>
                  <a:lnTo>
                    <a:pt x="348" y="78"/>
                  </a:lnTo>
                  <a:lnTo>
                    <a:pt x="343" y="66"/>
                  </a:lnTo>
                  <a:lnTo>
                    <a:pt x="338" y="56"/>
                  </a:lnTo>
                  <a:lnTo>
                    <a:pt x="330" y="45"/>
                  </a:lnTo>
                  <a:lnTo>
                    <a:pt x="323" y="36"/>
                  </a:lnTo>
                  <a:lnTo>
                    <a:pt x="314" y="29"/>
                  </a:lnTo>
                  <a:lnTo>
                    <a:pt x="304" y="22"/>
                  </a:lnTo>
                  <a:lnTo>
                    <a:pt x="293" y="15"/>
                  </a:lnTo>
                  <a:lnTo>
                    <a:pt x="281" y="11"/>
                  </a:lnTo>
                  <a:lnTo>
                    <a:pt x="268" y="7"/>
                  </a:lnTo>
                  <a:lnTo>
                    <a:pt x="254" y="4"/>
                  </a:lnTo>
                  <a:lnTo>
                    <a:pt x="239" y="2"/>
                  </a:lnTo>
                  <a:lnTo>
                    <a:pt x="222" y="1"/>
                  </a:lnTo>
                  <a:lnTo>
                    <a:pt x="20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9" name="Freeform 12"/>
            <p:cNvSpPr>
              <a:spLocks/>
            </p:cNvSpPr>
            <p:nvPr userDrawn="1"/>
          </p:nvSpPr>
          <p:spPr bwMode="auto">
            <a:xfrm>
              <a:off x="5263" y="3975"/>
              <a:ext cx="93" cy="106"/>
            </a:xfrm>
            <a:custGeom>
              <a:avLst/>
              <a:gdLst>
                <a:gd name="T0" fmla="*/ 281 w 374"/>
                <a:gd name="T1" fmla="*/ 313 h 424"/>
                <a:gd name="T2" fmla="*/ 246 w 374"/>
                <a:gd name="T3" fmla="*/ 327 h 424"/>
                <a:gd name="T4" fmla="*/ 217 w 374"/>
                <a:gd name="T5" fmla="*/ 336 h 424"/>
                <a:gd name="T6" fmla="*/ 184 w 374"/>
                <a:gd name="T7" fmla="*/ 341 h 424"/>
                <a:gd name="T8" fmla="*/ 167 w 374"/>
                <a:gd name="T9" fmla="*/ 342 h 424"/>
                <a:gd name="T10" fmla="*/ 145 w 374"/>
                <a:gd name="T11" fmla="*/ 341 h 424"/>
                <a:gd name="T12" fmla="*/ 129 w 374"/>
                <a:gd name="T13" fmla="*/ 337 h 424"/>
                <a:gd name="T14" fmla="*/ 116 w 374"/>
                <a:gd name="T15" fmla="*/ 329 h 424"/>
                <a:gd name="T16" fmla="*/ 106 w 374"/>
                <a:gd name="T17" fmla="*/ 319 h 424"/>
                <a:gd name="T18" fmla="*/ 99 w 374"/>
                <a:gd name="T19" fmla="*/ 307 h 424"/>
                <a:gd name="T20" fmla="*/ 95 w 374"/>
                <a:gd name="T21" fmla="*/ 290 h 424"/>
                <a:gd name="T22" fmla="*/ 93 w 374"/>
                <a:gd name="T23" fmla="*/ 248 h 424"/>
                <a:gd name="T24" fmla="*/ 79 w 374"/>
                <a:gd name="T25" fmla="*/ 0 h 424"/>
                <a:gd name="T26" fmla="*/ 59 w 374"/>
                <a:gd name="T27" fmla="*/ 0 h 424"/>
                <a:gd name="T28" fmla="*/ 13 w 374"/>
                <a:gd name="T29" fmla="*/ 4 h 424"/>
                <a:gd name="T30" fmla="*/ 0 w 374"/>
                <a:gd name="T31" fmla="*/ 259 h 424"/>
                <a:gd name="T32" fmla="*/ 0 w 374"/>
                <a:gd name="T33" fmla="*/ 280 h 424"/>
                <a:gd name="T34" fmla="*/ 3 w 374"/>
                <a:gd name="T35" fmla="*/ 316 h 424"/>
                <a:gd name="T36" fmla="*/ 9 w 374"/>
                <a:gd name="T37" fmla="*/ 347 h 424"/>
                <a:gd name="T38" fmla="*/ 21 w 374"/>
                <a:gd name="T39" fmla="*/ 373 h 424"/>
                <a:gd name="T40" fmla="*/ 36 w 374"/>
                <a:gd name="T41" fmla="*/ 393 h 424"/>
                <a:gd name="T42" fmla="*/ 58 w 374"/>
                <a:gd name="T43" fmla="*/ 408 h 424"/>
                <a:gd name="T44" fmla="*/ 86 w 374"/>
                <a:gd name="T45" fmla="*/ 418 h 424"/>
                <a:gd name="T46" fmla="*/ 121 w 374"/>
                <a:gd name="T47" fmla="*/ 423 h 424"/>
                <a:gd name="T48" fmla="*/ 141 w 374"/>
                <a:gd name="T49" fmla="*/ 424 h 424"/>
                <a:gd name="T50" fmla="*/ 172 w 374"/>
                <a:gd name="T51" fmla="*/ 422 h 424"/>
                <a:gd name="T52" fmla="*/ 199 w 374"/>
                <a:gd name="T53" fmla="*/ 418 h 424"/>
                <a:gd name="T54" fmla="*/ 243 w 374"/>
                <a:gd name="T55" fmla="*/ 407 h 424"/>
                <a:gd name="T56" fmla="*/ 271 w 374"/>
                <a:gd name="T57" fmla="*/ 395 h 424"/>
                <a:gd name="T58" fmla="*/ 283 w 374"/>
                <a:gd name="T59" fmla="*/ 390 h 424"/>
                <a:gd name="T60" fmla="*/ 296 w 374"/>
                <a:gd name="T61" fmla="*/ 396 h 424"/>
                <a:gd name="T62" fmla="*/ 319 w 374"/>
                <a:gd name="T63" fmla="*/ 402 h 424"/>
                <a:gd name="T64" fmla="*/ 353 w 374"/>
                <a:gd name="T65" fmla="*/ 408 h 424"/>
                <a:gd name="T66" fmla="*/ 374 w 374"/>
                <a:gd name="T67" fmla="*/ 6 h 424"/>
                <a:gd name="T68" fmla="*/ 342 w 374"/>
                <a:gd name="T69" fmla="*/ 2 h 424"/>
                <a:gd name="T70" fmla="*/ 299 w 374"/>
                <a:gd name="T71" fmla="*/ 0 h 424"/>
                <a:gd name="T72" fmla="*/ 281 w 374"/>
                <a:gd name="T73" fmla="*/ 313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74" h="424">
                  <a:moveTo>
                    <a:pt x="281" y="313"/>
                  </a:moveTo>
                  <a:lnTo>
                    <a:pt x="281" y="313"/>
                  </a:lnTo>
                  <a:lnTo>
                    <a:pt x="260" y="322"/>
                  </a:lnTo>
                  <a:lnTo>
                    <a:pt x="246" y="327"/>
                  </a:lnTo>
                  <a:lnTo>
                    <a:pt x="232" y="331"/>
                  </a:lnTo>
                  <a:lnTo>
                    <a:pt x="217" y="336"/>
                  </a:lnTo>
                  <a:lnTo>
                    <a:pt x="200" y="339"/>
                  </a:lnTo>
                  <a:lnTo>
                    <a:pt x="184" y="341"/>
                  </a:lnTo>
                  <a:lnTo>
                    <a:pt x="167" y="342"/>
                  </a:lnTo>
                  <a:lnTo>
                    <a:pt x="167" y="342"/>
                  </a:lnTo>
                  <a:lnTo>
                    <a:pt x="155" y="342"/>
                  </a:lnTo>
                  <a:lnTo>
                    <a:pt x="145" y="341"/>
                  </a:lnTo>
                  <a:lnTo>
                    <a:pt x="136" y="339"/>
                  </a:lnTo>
                  <a:lnTo>
                    <a:pt x="129" y="337"/>
                  </a:lnTo>
                  <a:lnTo>
                    <a:pt x="122" y="333"/>
                  </a:lnTo>
                  <a:lnTo>
                    <a:pt x="116" y="329"/>
                  </a:lnTo>
                  <a:lnTo>
                    <a:pt x="110" y="324"/>
                  </a:lnTo>
                  <a:lnTo>
                    <a:pt x="106" y="319"/>
                  </a:lnTo>
                  <a:lnTo>
                    <a:pt x="102" y="313"/>
                  </a:lnTo>
                  <a:lnTo>
                    <a:pt x="99" y="307"/>
                  </a:lnTo>
                  <a:lnTo>
                    <a:pt x="97" y="298"/>
                  </a:lnTo>
                  <a:lnTo>
                    <a:pt x="95" y="290"/>
                  </a:lnTo>
                  <a:lnTo>
                    <a:pt x="93" y="271"/>
                  </a:lnTo>
                  <a:lnTo>
                    <a:pt x="93" y="248"/>
                  </a:lnTo>
                  <a:lnTo>
                    <a:pt x="93" y="0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59" y="0"/>
                  </a:lnTo>
                  <a:lnTo>
                    <a:pt x="36" y="2"/>
                  </a:lnTo>
                  <a:lnTo>
                    <a:pt x="13" y="4"/>
                  </a:lnTo>
                  <a:lnTo>
                    <a:pt x="0" y="6"/>
                  </a:lnTo>
                  <a:lnTo>
                    <a:pt x="0" y="259"/>
                  </a:lnTo>
                  <a:lnTo>
                    <a:pt x="0" y="259"/>
                  </a:lnTo>
                  <a:lnTo>
                    <a:pt x="0" y="280"/>
                  </a:lnTo>
                  <a:lnTo>
                    <a:pt x="1" y="298"/>
                  </a:lnTo>
                  <a:lnTo>
                    <a:pt x="3" y="316"/>
                  </a:lnTo>
                  <a:lnTo>
                    <a:pt x="5" y="332"/>
                  </a:lnTo>
                  <a:lnTo>
                    <a:pt x="9" y="347"/>
                  </a:lnTo>
                  <a:lnTo>
                    <a:pt x="14" y="360"/>
                  </a:lnTo>
                  <a:lnTo>
                    <a:pt x="21" y="373"/>
                  </a:lnTo>
                  <a:lnTo>
                    <a:pt x="28" y="383"/>
                  </a:lnTo>
                  <a:lnTo>
                    <a:pt x="36" y="393"/>
                  </a:lnTo>
                  <a:lnTo>
                    <a:pt x="46" y="401"/>
                  </a:lnTo>
                  <a:lnTo>
                    <a:pt x="58" y="408"/>
                  </a:lnTo>
                  <a:lnTo>
                    <a:pt x="71" y="414"/>
                  </a:lnTo>
                  <a:lnTo>
                    <a:pt x="86" y="418"/>
                  </a:lnTo>
                  <a:lnTo>
                    <a:pt x="102" y="421"/>
                  </a:lnTo>
                  <a:lnTo>
                    <a:pt x="121" y="423"/>
                  </a:lnTo>
                  <a:lnTo>
                    <a:pt x="141" y="424"/>
                  </a:lnTo>
                  <a:lnTo>
                    <a:pt x="141" y="424"/>
                  </a:lnTo>
                  <a:lnTo>
                    <a:pt x="157" y="423"/>
                  </a:lnTo>
                  <a:lnTo>
                    <a:pt x="172" y="422"/>
                  </a:lnTo>
                  <a:lnTo>
                    <a:pt x="186" y="421"/>
                  </a:lnTo>
                  <a:lnTo>
                    <a:pt x="199" y="418"/>
                  </a:lnTo>
                  <a:lnTo>
                    <a:pt x="223" y="413"/>
                  </a:lnTo>
                  <a:lnTo>
                    <a:pt x="243" y="407"/>
                  </a:lnTo>
                  <a:lnTo>
                    <a:pt x="260" y="400"/>
                  </a:lnTo>
                  <a:lnTo>
                    <a:pt x="271" y="395"/>
                  </a:lnTo>
                  <a:lnTo>
                    <a:pt x="283" y="390"/>
                  </a:lnTo>
                  <a:lnTo>
                    <a:pt x="283" y="390"/>
                  </a:lnTo>
                  <a:lnTo>
                    <a:pt x="289" y="393"/>
                  </a:lnTo>
                  <a:lnTo>
                    <a:pt x="296" y="396"/>
                  </a:lnTo>
                  <a:lnTo>
                    <a:pt x="307" y="399"/>
                  </a:lnTo>
                  <a:lnTo>
                    <a:pt x="319" y="402"/>
                  </a:lnTo>
                  <a:lnTo>
                    <a:pt x="334" y="405"/>
                  </a:lnTo>
                  <a:lnTo>
                    <a:pt x="353" y="408"/>
                  </a:lnTo>
                  <a:lnTo>
                    <a:pt x="374" y="409"/>
                  </a:lnTo>
                  <a:lnTo>
                    <a:pt x="374" y="6"/>
                  </a:lnTo>
                  <a:lnTo>
                    <a:pt x="374" y="6"/>
                  </a:lnTo>
                  <a:lnTo>
                    <a:pt x="342" y="2"/>
                  </a:lnTo>
                  <a:lnTo>
                    <a:pt x="320" y="1"/>
                  </a:lnTo>
                  <a:lnTo>
                    <a:pt x="299" y="0"/>
                  </a:lnTo>
                  <a:lnTo>
                    <a:pt x="281" y="0"/>
                  </a:lnTo>
                  <a:lnTo>
                    <a:pt x="281" y="31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70" name="Freeform 13"/>
            <p:cNvSpPr>
              <a:spLocks/>
            </p:cNvSpPr>
            <p:nvPr userDrawn="1"/>
          </p:nvSpPr>
          <p:spPr bwMode="auto">
            <a:xfrm>
              <a:off x="5383" y="3974"/>
              <a:ext cx="78" cy="107"/>
            </a:xfrm>
            <a:custGeom>
              <a:avLst/>
              <a:gdLst>
                <a:gd name="T0" fmla="*/ 11 w 311"/>
                <a:gd name="T1" fmla="*/ 415 h 428"/>
                <a:gd name="T2" fmla="*/ 83 w 311"/>
                <a:gd name="T3" fmla="*/ 425 h 428"/>
                <a:gd name="T4" fmla="*/ 138 w 311"/>
                <a:gd name="T5" fmla="*/ 428 h 428"/>
                <a:gd name="T6" fmla="*/ 183 w 311"/>
                <a:gd name="T7" fmla="*/ 425 h 428"/>
                <a:gd name="T8" fmla="*/ 227 w 311"/>
                <a:gd name="T9" fmla="*/ 414 h 428"/>
                <a:gd name="T10" fmla="*/ 265 w 311"/>
                <a:gd name="T11" fmla="*/ 394 h 428"/>
                <a:gd name="T12" fmla="*/ 295 w 311"/>
                <a:gd name="T13" fmla="*/ 363 h 428"/>
                <a:gd name="T14" fmla="*/ 310 w 311"/>
                <a:gd name="T15" fmla="*/ 318 h 428"/>
                <a:gd name="T16" fmla="*/ 310 w 311"/>
                <a:gd name="T17" fmla="*/ 288 h 428"/>
                <a:gd name="T18" fmla="*/ 302 w 311"/>
                <a:gd name="T19" fmla="*/ 256 h 428"/>
                <a:gd name="T20" fmla="*/ 283 w 311"/>
                <a:gd name="T21" fmla="*/ 231 h 428"/>
                <a:gd name="T22" fmla="*/ 257 w 311"/>
                <a:gd name="T23" fmla="*/ 211 h 428"/>
                <a:gd name="T24" fmla="*/ 209 w 311"/>
                <a:gd name="T25" fmla="*/ 187 h 428"/>
                <a:gd name="T26" fmla="*/ 149 w 311"/>
                <a:gd name="T27" fmla="*/ 164 h 428"/>
                <a:gd name="T28" fmla="*/ 113 w 311"/>
                <a:gd name="T29" fmla="*/ 144 h 428"/>
                <a:gd name="T30" fmla="*/ 103 w 311"/>
                <a:gd name="T31" fmla="*/ 132 h 428"/>
                <a:gd name="T32" fmla="*/ 100 w 311"/>
                <a:gd name="T33" fmla="*/ 116 h 428"/>
                <a:gd name="T34" fmla="*/ 102 w 311"/>
                <a:gd name="T35" fmla="*/ 104 h 428"/>
                <a:gd name="T36" fmla="*/ 116 w 311"/>
                <a:gd name="T37" fmla="*/ 86 h 428"/>
                <a:gd name="T38" fmla="*/ 132 w 311"/>
                <a:gd name="T39" fmla="*/ 78 h 428"/>
                <a:gd name="T40" fmla="*/ 156 w 311"/>
                <a:gd name="T41" fmla="*/ 74 h 428"/>
                <a:gd name="T42" fmla="*/ 185 w 311"/>
                <a:gd name="T43" fmla="*/ 75 h 428"/>
                <a:gd name="T44" fmla="*/ 238 w 311"/>
                <a:gd name="T45" fmla="*/ 85 h 428"/>
                <a:gd name="T46" fmla="*/ 295 w 311"/>
                <a:gd name="T47" fmla="*/ 30 h 428"/>
                <a:gd name="T48" fmla="*/ 263 w 311"/>
                <a:gd name="T49" fmla="*/ 16 h 428"/>
                <a:gd name="T50" fmla="*/ 207 w 311"/>
                <a:gd name="T51" fmla="*/ 4 h 428"/>
                <a:gd name="T52" fmla="*/ 158 w 311"/>
                <a:gd name="T53" fmla="*/ 0 h 428"/>
                <a:gd name="T54" fmla="*/ 115 w 311"/>
                <a:gd name="T55" fmla="*/ 4 h 428"/>
                <a:gd name="T56" fmla="*/ 76 w 311"/>
                <a:gd name="T57" fmla="*/ 17 h 428"/>
                <a:gd name="T58" fmla="*/ 42 w 311"/>
                <a:gd name="T59" fmla="*/ 39 h 428"/>
                <a:gd name="T60" fmla="*/ 19 w 311"/>
                <a:gd name="T61" fmla="*/ 69 h 428"/>
                <a:gd name="T62" fmla="*/ 7 w 311"/>
                <a:gd name="T63" fmla="*/ 107 h 428"/>
                <a:gd name="T64" fmla="*/ 7 w 311"/>
                <a:gd name="T65" fmla="*/ 137 h 428"/>
                <a:gd name="T66" fmla="*/ 19 w 311"/>
                <a:gd name="T67" fmla="*/ 175 h 428"/>
                <a:gd name="T68" fmla="*/ 42 w 311"/>
                <a:gd name="T69" fmla="*/ 203 h 428"/>
                <a:gd name="T70" fmla="*/ 73 w 311"/>
                <a:gd name="T71" fmla="*/ 223 h 428"/>
                <a:gd name="T72" fmla="*/ 119 w 311"/>
                <a:gd name="T73" fmla="*/ 243 h 428"/>
                <a:gd name="T74" fmla="*/ 171 w 311"/>
                <a:gd name="T75" fmla="*/ 261 h 428"/>
                <a:gd name="T76" fmla="*/ 205 w 311"/>
                <a:gd name="T77" fmla="*/ 280 h 428"/>
                <a:gd name="T78" fmla="*/ 216 w 311"/>
                <a:gd name="T79" fmla="*/ 296 h 428"/>
                <a:gd name="T80" fmla="*/ 217 w 311"/>
                <a:gd name="T81" fmla="*/ 306 h 428"/>
                <a:gd name="T82" fmla="*/ 212 w 311"/>
                <a:gd name="T83" fmla="*/ 328 h 428"/>
                <a:gd name="T84" fmla="*/ 202 w 311"/>
                <a:gd name="T85" fmla="*/ 340 h 428"/>
                <a:gd name="T86" fmla="*/ 184 w 311"/>
                <a:gd name="T87" fmla="*/ 348 h 428"/>
                <a:gd name="T88" fmla="*/ 158 w 311"/>
                <a:gd name="T89" fmla="*/ 353 h 428"/>
                <a:gd name="T90" fmla="*/ 113 w 311"/>
                <a:gd name="T91" fmla="*/ 354 h 428"/>
                <a:gd name="T92" fmla="*/ 28 w 311"/>
                <a:gd name="T93" fmla="*/ 344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11" h="428">
                  <a:moveTo>
                    <a:pt x="0" y="413"/>
                  </a:moveTo>
                  <a:lnTo>
                    <a:pt x="0" y="413"/>
                  </a:lnTo>
                  <a:lnTo>
                    <a:pt x="11" y="415"/>
                  </a:lnTo>
                  <a:lnTo>
                    <a:pt x="39" y="420"/>
                  </a:lnTo>
                  <a:lnTo>
                    <a:pt x="60" y="423"/>
                  </a:lnTo>
                  <a:lnTo>
                    <a:pt x="83" y="425"/>
                  </a:lnTo>
                  <a:lnTo>
                    <a:pt x="110" y="427"/>
                  </a:lnTo>
                  <a:lnTo>
                    <a:pt x="138" y="428"/>
                  </a:lnTo>
                  <a:lnTo>
                    <a:pt x="138" y="428"/>
                  </a:lnTo>
                  <a:lnTo>
                    <a:pt x="154" y="427"/>
                  </a:lnTo>
                  <a:lnTo>
                    <a:pt x="168" y="426"/>
                  </a:lnTo>
                  <a:lnTo>
                    <a:pt x="183" y="425"/>
                  </a:lnTo>
                  <a:lnTo>
                    <a:pt x="198" y="422"/>
                  </a:lnTo>
                  <a:lnTo>
                    <a:pt x="213" y="419"/>
                  </a:lnTo>
                  <a:lnTo>
                    <a:pt x="227" y="414"/>
                  </a:lnTo>
                  <a:lnTo>
                    <a:pt x="241" y="408"/>
                  </a:lnTo>
                  <a:lnTo>
                    <a:pt x="254" y="402"/>
                  </a:lnTo>
                  <a:lnTo>
                    <a:pt x="265" y="394"/>
                  </a:lnTo>
                  <a:lnTo>
                    <a:pt x="276" y="385"/>
                  </a:lnTo>
                  <a:lnTo>
                    <a:pt x="286" y="375"/>
                  </a:lnTo>
                  <a:lnTo>
                    <a:pt x="295" y="363"/>
                  </a:lnTo>
                  <a:lnTo>
                    <a:pt x="302" y="350"/>
                  </a:lnTo>
                  <a:lnTo>
                    <a:pt x="307" y="334"/>
                  </a:lnTo>
                  <a:lnTo>
                    <a:pt x="310" y="318"/>
                  </a:lnTo>
                  <a:lnTo>
                    <a:pt x="311" y="300"/>
                  </a:lnTo>
                  <a:lnTo>
                    <a:pt x="311" y="300"/>
                  </a:lnTo>
                  <a:lnTo>
                    <a:pt x="310" y="288"/>
                  </a:lnTo>
                  <a:lnTo>
                    <a:pt x="309" y="277"/>
                  </a:lnTo>
                  <a:lnTo>
                    <a:pt x="306" y="266"/>
                  </a:lnTo>
                  <a:lnTo>
                    <a:pt x="302" y="256"/>
                  </a:lnTo>
                  <a:lnTo>
                    <a:pt x="297" y="248"/>
                  </a:lnTo>
                  <a:lnTo>
                    <a:pt x="291" y="239"/>
                  </a:lnTo>
                  <a:lnTo>
                    <a:pt x="283" y="231"/>
                  </a:lnTo>
                  <a:lnTo>
                    <a:pt x="276" y="224"/>
                  </a:lnTo>
                  <a:lnTo>
                    <a:pt x="267" y="217"/>
                  </a:lnTo>
                  <a:lnTo>
                    <a:pt x="257" y="211"/>
                  </a:lnTo>
                  <a:lnTo>
                    <a:pt x="247" y="204"/>
                  </a:lnTo>
                  <a:lnTo>
                    <a:pt x="234" y="199"/>
                  </a:lnTo>
                  <a:lnTo>
                    <a:pt x="209" y="187"/>
                  </a:lnTo>
                  <a:lnTo>
                    <a:pt x="180" y="176"/>
                  </a:lnTo>
                  <a:lnTo>
                    <a:pt x="180" y="176"/>
                  </a:lnTo>
                  <a:lnTo>
                    <a:pt x="149" y="164"/>
                  </a:lnTo>
                  <a:lnTo>
                    <a:pt x="135" y="157"/>
                  </a:lnTo>
                  <a:lnTo>
                    <a:pt x="123" y="151"/>
                  </a:lnTo>
                  <a:lnTo>
                    <a:pt x="113" y="144"/>
                  </a:lnTo>
                  <a:lnTo>
                    <a:pt x="109" y="140"/>
                  </a:lnTo>
                  <a:lnTo>
                    <a:pt x="106" y="136"/>
                  </a:lnTo>
                  <a:lnTo>
                    <a:pt x="103" y="132"/>
                  </a:lnTo>
                  <a:lnTo>
                    <a:pt x="101" y="127"/>
                  </a:lnTo>
                  <a:lnTo>
                    <a:pt x="100" y="121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0"/>
                  </a:lnTo>
                  <a:lnTo>
                    <a:pt x="102" y="104"/>
                  </a:lnTo>
                  <a:lnTo>
                    <a:pt x="106" y="97"/>
                  </a:lnTo>
                  <a:lnTo>
                    <a:pt x="112" y="90"/>
                  </a:lnTo>
                  <a:lnTo>
                    <a:pt x="116" y="86"/>
                  </a:lnTo>
                  <a:lnTo>
                    <a:pt x="120" y="83"/>
                  </a:lnTo>
                  <a:lnTo>
                    <a:pt x="126" y="81"/>
                  </a:lnTo>
                  <a:lnTo>
                    <a:pt x="132" y="78"/>
                  </a:lnTo>
                  <a:lnTo>
                    <a:pt x="139" y="76"/>
                  </a:lnTo>
                  <a:lnTo>
                    <a:pt x="147" y="75"/>
                  </a:lnTo>
                  <a:lnTo>
                    <a:pt x="156" y="74"/>
                  </a:lnTo>
                  <a:lnTo>
                    <a:pt x="166" y="74"/>
                  </a:lnTo>
                  <a:lnTo>
                    <a:pt x="166" y="74"/>
                  </a:lnTo>
                  <a:lnTo>
                    <a:pt x="185" y="75"/>
                  </a:lnTo>
                  <a:lnTo>
                    <a:pt x="205" y="77"/>
                  </a:lnTo>
                  <a:lnTo>
                    <a:pt x="222" y="81"/>
                  </a:lnTo>
                  <a:lnTo>
                    <a:pt x="238" y="85"/>
                  </a:lnTo>
                  <a:lnTo>
                    <a:pt x="262" y="94"/>
                  </a:lnTo>
                  <a:lnTo>
                    <a:pt x="271" y="98"/>
                  </a:lnTo>
                  <a:lnTo>
                    <a:pt x="295" y="30"/>
                  </a:lnTo>
                  <a:lnTo>
                    <a:pt x="295" y="30"/>
                  </a:lnTo>
                  <a:lnTo>
                    <a:pt x="276" y="22"/>
                  </a:lnTo>
                  <a:lnTo>
                    <a:pt x="263" y="16"/>
                  </a:lnTo>
                  <a:lnTo>
                    <a:pt x="247" y="12"/>
                  </a:lnTo>
                  <a:lnTo>
                    <a:pt x="228" y="7"/>
                  </a:lnTo>
                  <a:lnTo>
                    <a:pt x="207" y="4"/>
                  </a:lnTo>
                  <a:lnTo>
                    <a:pt x="183" y="1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143" y="1"/>
                  </a:lnTo>
                  <a:lnTo>
                    <a:pt x="129" y="2"/>
                  </a:lnTo>
                  <a:lnTo>
                    <a:pt x="115" y="4"/>
                  </a:lnTo>
                  <a:lnTo>
                    <a:pt x="102" y="8"/>
                  </a:lnTo>
                  <a:lnTo>
                    <a:pt x="88" y="12"/>
                  </a:lnTo>
                  <a:lnTo>
                    <a:pt x="76" y="17"/>
                  </a:lnTo>
                  <a:lnTo>
                    <a:pt x="64" y="24"/>
                  </a:lnTo>
                  <a:lnTo>
                    <a:pt x="53" y="31"/>
                  </a:lnTo>
                  <a:lnTo>
                    <a:pt x="42" y="39"/>
                  </a:lnTo>
                  <a:lnTo>
                    <a:pt x="33" y="47"/>
                  </a:lnTo>
                  <a:lnTo>
                    <a:pt x="25" y="58"/>
                  </a:lnTo>
                  <a:lnTo>
                    <a:pt x="19" y="69"/>
                  </a:lnTo>
                  <a:lnTo>
                    <a:pt x="13" y="80"/>
                  </a:lnTo>
                  <a:lnTo>
                    <a:pt x="9" y="94"/>
                  </a:lnTo>
                  <a:lnTo>
                    <a:pt x="7" y="107"/>
                  </a:lnTo>
                  <a:lnTo>
                    <a:pt x="6" y="122"/>
                  </a:lnTo>
                  <a:lnTo>
                    <a:pt x="6" y="122"/>
                  </a:lnTo>
                  <a:lnTo>
                    <a:pt x="7" y="137"/>
                  </a:lnTo>
                  <a:lnTo>
                    <a:pt x="9" y="150"/>
                  </a:lnTo>
                  <a:lnTo>
                    <a:pt x="13" y="164"/>
                  </a:lnTo>
                  <a:lnTo>
                    <a:pt x="19" y="175"/>
                  </a:lnTo>
                  <a:lnTo>
                    <a:pt x="25" y="185"/>
                  </a:lnTo>
                  <a:lnTo>
                    <a:pt x="33" y="194"/>
                  </a:lnTo>
                  <a:lnTo>
                    <a:pt x="42" y="203"/>
                  </a:lnTo>
                  <a:lnTo>
                    <a:pt x="51" y="210"/>
                  </a:lnTo>
                  <a:lnTo>
                    <a:pt x="62" y="217"/>
                  </a:lnTo>
                  <a:lnTo>
                    <a:pt x="73" y="223"/>
                  </a:lnTo>
                  <a:lnTo>
                    <a:pt x="84" y="229"/>
                  </a:lnTo>
                  <a:lnTo>
                    <a:pt x="95" y="235"/>
                  </a:lnTo>
                  <a:lnTo>
                    <a:pt x="119" y="243"/>
                  </a:lnTo>
                  <a:lnTo>
                    <a:pt x="142" y="251"/>
                  </a:lnTo>
                  <a:lnTo>
                    <a:pt x="142" y="251"/>
                  </a:lnTo>
                  <a:lnTo>
                    <a:pt x="171" y="261"/>
                  </a:lnTo>
                  <a:lnTo>
                    <a:pt x="184" y="266"/>
                  </a:lnTo>
                  <a:lnTo>
                    <a:pt x="196" y="273"/>
                  </a:lnTo>
                  <a:lnTo>
                    <a:pt x="205" y="280"/>
                  </a:lnTo>
                  <a:lnTo>
                    <a:pt x="211" y="287"/>
                  </a:lnTo>
                  <a:lnTo>
                    <a:pt x="214" y="291"/>
                  </a:lnTo>
                  <a:lnTo>
                    <a:pt x="216" y="296"/>
                  </a:lnTo>
                  <a:lnTo>
                    <a:pt x="217" y="300"/>
                  </a:lnTo>
                  <a:lnTo>
                    <a:pt x="217" y="306"/>
                  </a:lnTo>
                  <a:lnTo>
                    <a:pt x="217" y="306"/>
                  </a:lnTo>
                  <a:lnTo>
                    <a:pt x="217" y="315"/>
                  </a:lnTo>
                  <a:lnTo>
                    <a:pt x="214" y="324"/>
                  </a:lnTo>
                  <a:lnTo>
                    <a:pt x="212" y="328"/>
                  </a:lnTo>
                  <a:lnTo>
                    <a:pt x="209" y="332"/>
                  </a:lnTo>
                  <a:lnTo>
                    <a:pt x="206" y="335"/>
                  </a:lnTo>
                  <a:lnTo>
                    <a:pt x="202" y="340"/>
                  </a:lnTo>
                  <a:lnTo>
                    <a:pt x="197" y="343"/>
                  </a:lnTo>
                  <a:lnTo>
                    <a:pt x="190" y="346"/>
                  </a:lnTo>
                  <a:lnTo>
                    <a:pt x="184" y="348"/>
                  </a:lnTo>
                  <a:lnTo>
                    <a:pt x="176" y="350"/>
                  </a:lnTo>
                  <a:lnTo>
                    <a:pt x="167" y="352"/>
                  </a:lnTo>
                  <a:lnTo>
                    <a:pt x="158" y="353"/>
                  </a:lnTo>
                  <a:lnTo>
                    <a:pt x="134" y="354"/>
                  </a:lnTo>
                  <a:lnTo>
                    <a:pt x="134" y="354"/>
                  </a:lnTo>
                  <a:lnTo>
                    <a:pt x="113" y="354"/>
                  </a:lnTo>
                  <a:lnTo>
                    <a:pt x="92" y="352"/>
                  </a:lnTo>
                  <a:lnTo>
                    <a:pt x="55" y="348"/>
                  </a:lnTo>
                  <a:lnTo>
                    <a:pt x="28" y="344"/>
                  </a:lnTo>
                  <a:lnTo>
                    <a:pt x="18" y="342"/>
                  </a:lnTo>
                  <a:lnTo>
                    <a:pt x="0" y="41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71" name="Freeform 14"/>
            <p:cNvSpPr>
              <a:spLocks/>
            </p:cNvSpPr>
            <p:nvPr userDrawn="1"/>
          </p:nvSpPr>
          <p:spPr bwMode="auto">
            <a:xfrm>
              <a:off x="5059" y="3992"/>
              <a:ext cx="48" cy="71"/>
            </a:xfrm>
            <a:custGeom>
              <a:avLst/>
              <a:gdLst>
                <a:gd name="T0" fmla="*/ 0 w 194"/>
                <a:gd name="T1" fmla="*/ 7 h 282"/>
                <a:gd name="T2" fmla="*/ 0 w 194"/>
                <a:gd name="T3" fmla="*/ 7 h 282"/>
                <a:gd name="T4" fmla="*/ 14 w 194"/>
                <a:gd name="T5" fmla="*/ 4 h 282"/>
                <a:gd name="T6" fmla="*/ 31 w 194"/>
                <a:gd name="T7" fmla="*/ 2 h 282"/>
                <a:gd name="T8" fmla="*/ 52 w 194"/>
                <a:gd name="T9" fmla="*/ 0 h 282"/>
                <a:gd name="T10" fmla="*/ 73 w 194"/>
                <a:gd name="T11" fmla="*/ 0 h 282"/>
                <a:gd name="T12" fmla="*/ 73 w 194"/>
                <a:gd name="T13" fmla="*/ 0 h 282"/>
                <a:gd name="T14" fmla="*/ 87 w 194"/>
                <a:gd name="T15" fmla="*/ 0 h 282"/>
                <a:gd name="T16" fmla="*/ 98 w 194"/>
                <a:gd name="T17" fmla="*/ 1 h 282"/>
                <a:gd name="T18" fmla="*/ 110 w 194"/>
                <a:gd name="T19" fmla="*/ 4 h 282"/>
                <a:gd name="T20" fmla="*/ 121 w 194"/>
                <a:gd name="T21" fmla="*/ 7 h 282"/>
                <a:gd name="T22" fmla="*/ 132 w 194"/>
                <a:gd name="T23" fmla="*/ 11 h 282"/>
                <a:gd name="T24" fmla="*/ 141 w 194"/>
                <a:gd name="T25" fmla="*/ 17 h 282"/>
                <a:gd name="T26" fmla="*/ 151 w 194"/>
                <a:gd name="T27" fmla="*/ 24 h 282"/>
                <a:gd name="T28" fmla="*/ 159 w 194"/>
                <a:gd name="T29" fmla="*/ 31 h 282"/>
                <a:gd name="T30" fmla="*/ 166 w 194"/>
                <a:gd name="T31" fmla="*/ 40 h 282"/>
                <a:gd name="T32" fmla="*/ 174 w 194"/>
                <a:gd name="T33" fmla="*/ 49 h 282"/>
                <a:gd name="T34" fmla="*/ 180 w 194"/>
                <a:gd name="T35" fmla="*/ 61 h 282"/>
                <a:gd name="T36" fmla="*/ 185 w 194"/>
                <a:gd name="T37" fmla="*/ 74 h 282"/>
                <a:gd name="T38" fmla="*/ 189 w 194"/>
                <a:gd name="T39" fmla="*/ 88 h 282"/>
                <a:gd name="T40" fmla="*/ 192 w 194"/>
                <a:gd name="T41" fmla="*/ 103 h 282"/>
                <a:gd name="T42" fmla="*/ 193 w 194"/>
                <a:gd name="T43" fmla="*/ 119 h 282"/>
                <a:gd name="T44" fmla="*/ 194 w 194"/>
                <a:gd name="T45" fmla="*/ 138 h 282"/>
                <a:gd name="T46" fmla="*/ 194 w 194"/>
                <a:gd name="T47" fmla="*/ 138 h 282"/>
                <a:gd name="T48" fmla="*/ 194 w 194"/>
                <a:gd name="T49" fmla="*/ 155 h 282"/>
                <a:gd name="T50" fmla="*/ 193 w 194"/>
                <a:gd name="T51" fmla="*/ 172 h 282"/>
                <a:gd name="T52" fmla="*/ 191 w 194"/>
                <a:gd name="T53" fmla="*/ 187 h 282"/>
                <a:gd name="T54" fmla="*/ 188 w 194"/>
                <a:gd name="T55" fmla="*/ 202 h 282"/>
                <a:gd name="T56" fmla="*/ 185 w 194"/>
                <a:gd name="T57" fmla="*/ 215 h 282"/>
                <a:gd name="T58" fmla="*/ 181 w 194"/>
                <a:gd name="T59" fmla="*/ 226 h 282"/>
                <a:gd name="T60" fmla="*/ 175 w 194"/>
                <a:gd name="T61" fmla="*/ 238 h 282"/>
                <a:gd name="T62" fmla="*/ 168 w 194"/>
                <a:gd name="T63" fmla="*/ 247 h 282"/>
                <a:gd name="T64" fmla="*/ 160 w 194"/>
                <a:gd name="T65" fmla="*/ 255 h 282"/>
                <a:gd name="T66" fmla="*/ 151 w 194"/>
                <a:gd name="T67" fmla="*/ 262 h 282"/>
                <a:gd name="T68" fmla="*/ 141 w 194"/>
                <a:gd name="T69" fmla="*/ 269 h 282"/>
                <a:gd name="T70" fmla="*/ 129 w 194"/>
                <a:gd name="T71" fmla="*/ 274 h 282"/>
                <a:gd name="T72" fmla="*/ 115 w 194"/>
                <a:gd name="T73" fmla="*/ 277 h 282"/>
                <a:gd name="T74" fmla="*/ 100 w 194"/>
                <a:gd name="T75" fmla="*/ 280 h 282"/>
                <a:gd name="T76" fmla="*/ 84 w 194"/>
                <a:gd name="T77" fmla="*/ 282 h 282"/>
                <a:gd name="T78" fmla="*/ 65 w 194"/>
                <a:gd name="T79" fmla="*/ 282 h 282"/>
                <a:gd name="T80" fmla="*/ 65 w 194"/>
                <a:gd name="T81" fmla="*/ 282 h 282"/>
                <a:gd name="T82" fmla="*/ 42 w 194"/>
                <a:gd name="T83" fmla="*/ 281 h 282"/>
                <a:gd name="T84" fmla="*/ 20 w 194"/>
                <a:gd name="T85" fmla="*/ 280 h 282"/>
                <a:gd name="T86" fmla="*/ 0 w 194"/>
                <a:gd name="T87" fmla="*/ 278 h 282"/>
                <a:gd name="T88" fmla="*/ 0 w 194"/>
                <a:gd name="T89" fmla="*/ 7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4" h="282">
                  <a:moveTo>
                    <a:pt x="0" y="7"/>
                  </a:moveTo>
                  <a:lnTo>
                    <a:pt x="0" y="7"/>
                  </a:lnTo>
                  <a:lnTo>
                    <a:pt x="14" y="4"/>
                  </a:lnTo>
                  <a:lnTo>
                    <a:pt x="31" y="2"/>
                  </a:lnTo>
                  <a:lnTo>
                    <a:pt x="52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87" y="0"/>
                  </a:lnTo>
                  <a:lnTo>
                    <a:pt x="98" y="1"/>
                  </a:lnTo>
                  <a:lnTo>
                    <a:pt x="110" y="4"/>
                  </a:lnTo>
                  <a:lnTo>
                    <a:pt x="121" y="7"/>
                  </a:lnTo>
                  <a:lnTo>
                    <a:pt x="132" y="11"/>
                  </a:lnTo>
                  <a:lnTo>
                    <a:pt x="141" y="17"/>
                  </a:lnTo>
                  <a:lnTo>
                    <a:pt x="151" y="24"/>
                  </a:lnTo>
                  <a:lnTo>
                    <a:pt x="159" y="31"/>
                  </a:lnTo>
                  <a:lnTo>
                    <a:pt x="166" y="40"/>
                  </a:lnTo>
                  <a:lnTo>
                    <a:pt x="174" y="49"/>
                  </a:lnTo>
                  <a:lnTo>
                    <a:pt x="180" y="61"/>
                  </a:lnTo>
                  <a:lnTo>
                    <a:pt x="185" y="74"/>
                  </a:lnTo>
                  <a:lnTo>
                    <a:pt x="189" y="88"/>
                  </a:lnTo>
                  <a:lnTo>
                    <a:pt x="192" y="103"/>
                  </a:lnTo>
                  <a:lnTo>
                    <a:pt x="193" y="119"/>
                  </a:lnTo>
                  <a:lnTo>
                    <a:pt x="194" y="138"/>
                  </a:lnTo>
                  <a:lnTo>
                    <a:pt x="194" y="138"/>
                  </a:lnTo>
                  <a:lnTo>
                    <a:pt x="194" y="155"/>
                  </a:lnTo>
                  <a:lnTo>
                    <a:pt x="193" y="172"/>
                  </a:lnTo>
                  <a:lnTo>
                    <a:pt x="191" y="187"/>
                  </a:lnTo>
                  <a:lnTo>
                    <a:pt x="188" y="202"/>
                  </a:lnTo>
                  <a:lnTo>
                    <a:pt x="185" y="215"/>
                  </a:lnTo>
                  <a:lnTo>
                    <a:pt x="181" y="226"/>
                  </a:lnTo>
                  <a:lnTo>
                    <a:pt x="175" y="238"/>
                  </a:lnTo>
                  <a:lnTo>
                    <a:pt x="168" y="247"/>
                  </a:lnTo>
                  <a:lnTo>
                    <a:pt x="160" y="255"/>
                  </a:lnTo>
                  <a:lnTo>
                    <a:pt x="151" y="262"/>
                  </a:lnTo>
                  <a:lnTo>
                    <a:pt x="141" y="269"/>
                  </a:lnTo>
                  <a:lnTo>
                    <a:pt x="129" y="274"/>
                  </a:lnTo>
                  <a:lnTo>
                    <a:pt x="115" y="277"/>
                  </a:lnTo>
                  <a:lnTo>
                    <a:pt x="100" y="280"/>
                  </a:lnTo>
                  <a:lnTo>
                    <a:pt x="84" y="282"/>
                  </a:lnTo>
                  <a:lnTo>
                    <a:pt x="65" y="282"/>
                  </a:lnTo>
                  <a:lnTo>
                    <a:pt x="65" y="282"/>
                  </a:lnTo>
                  <a:lnTo>
                    <a:pt x="42" y="281"/>
                  </a:lnTo>
                  <a:lnTo>
                    <a:pt x="20" y="280"/>
                  </a:lnTo>
                  <a:lnTo>
                    <a:pt x="0" y="278"/>
                  </a:lnTo>
                  <a:lnTo>
                    <a:pt x="0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72" name="Freeform 15"/>
            <p:cNvSpPr>
              <a:spLocks/>
            </p:cNvSpPr>
            <p:nvPr userDrawn="1"/>
          </p:nvSpPr>
          <p:spPr bwMode="auto">
            <a:xfrm>
              <a:off x="5035" y="3974"/>
              <a:ext cx="97" cy="107"/>
            </a:xfrm>
            <a:custGeom>
              <a:avLst/>
              <a:gdLst>
                <a:gd name="T0" fmla="*/ 171 w 385"/>
                <a:gd name="T1" fmla="*/ 0 h 428"/>
                <a:gd name="T2" fmla="*/ 171 w 385"/>
                <a:gd name="T3" fmla="*/ 0 h 428"/>
                <a:gd name="T4" fmla="*/ 150 w 385"/>
                <a:gd name="T5" fmla="*/ 1 h 428"/>
                <a:gd name="T6" fmla="*/ 129 w 385"/>
                <a:gd name="T7" fmla="*/ 2 h 428"/>
                <a:gd name="T8" fmla="*/ 106 w 385"/>
                <a:gd name="T9" fmla="*/ 4 h 428"/>
                <a:gd name="T10" fmla="*/ 83 w 385"/>
                <a:gd name="T11" fmla="*/ 7 h 428"/>
                <a:gd name="T12" fmla="*/ 60 w 385"/>
                <a:gd name="T13" fmla="*/ 10 h 428"/>
                <a:gd name="T14" fmla="*/ 39 w 385"/>
                <a:gd name="T15" fmla="*/ 14 h 428"/>
                <a:gd name="T16" fmla="*/ 18 w 385"/>
                <a:gd name="T17" fmla="*/ 20 h 428"/>
                <a:gd name="T18" fmla="*/ 0 w 385"/>
                <a:gd name="T19" fmla="*/ 26 h 428"/>
                <a:gd name="T20" fmla="*/ 0 w 385"/>
                <a:gd name="T21" fmla="*/ 415 h 428"/>
                <a:gd name="T22" fmla="*/ 0 w 385"/>
                <a:gd name="T23" fmla="*/ 415 h 428"/>
                <a:gd name="T24" fmla="*/ 15 w 385"/>
                <a:gd name="T25" fmla="*/ 418 h 428"/>
                <a:gd name="T26" fmla="*/ 34 w 385"/>
                <a:gd name="T27" fmla="*/ 420 h 428"/>
                <a:gd name="T28" fmla="*/ 73 w 385"/>
                <a:gd name="T29" fmla="*/ 424 h 428"/>
                <a:gd name="T30" fmla="*/ 116 w 385"/>
                <a:gd name="T31" fmla="*/ 427 h 428"/>
                <a:gd name="T32" fmla="*/ 155 w 385"/>
                <a:gd name="T33" fmla="*/ 428 h 428"/>
                <a:gd name="T34" fmla="*/ 155 w 385"/>
                <a:gd name="T35" fmla="*/ 428 h 428"/>
                <a:gd name="T36" fmla="*/ 186 w 385"/>
                <a:gd name="T37" fmla="*/ 427 h 428"/>
                <a:gd name="T38" fmla="*/ 212 w 385"/>
                <a:gd name="T39" fmla="*/ 425 h 428"/>
                <a:gd name="T40" fmla="*/ 238 w 385"/>
                <a:gd name="T41" fmla="*/ 421 h 428"/>
                <a:gd name="T42" fmla="*/ 261 w 385"/>
                <a:gd name="T43" fmla="*/ 415 h 428"/>
                <a:gd name="T44" fmla="*/ 282 w 385"/>
                <a:gd name="T45" fmla="*/ 408 h 428"/>
                <a:gd name="T46" fmla="*/ 301 w 385"/>
                <a:gd name="T47" fmla="*/ 399 h 428"/>
                <a:gd name="T48" fmla="*/ 309 w 385"/>
                <a:gd name="T49" fmla="*/ 394 h 428"/>
                <a:gd name="T50" fmla="*/ 318 w 385"/>
                <a:gd name="T51" fmla="*/ 389 h 428"/>
                <a:gd name="T52" fmla="*/ 326 w 385"/>
                <a:gd name="T53" fmla="*/ 383 h 428"/>
                <a:gd name="T54" fmla="*/ 333 w 385"/>
                <a:gd name="T55" fmla="*/ 377 h 428"/>
                <a:gd name="T56" fmla="*/ 339 w 385"/>
                <a:gd name="T57" fmla="*/ 369 h 428"/>
                <a:gd name="T58" fmla="*/ 345 w 385"/>
                <a:gd name="T59" fmla="*/ 362 h 428"/>
                <a:gd name="T60" fmla="*/ 351 w 385"/>
                <a:gd name="T61" fmla="*/ 355 h 428"/>
                <a:gd name="T62" fmla="*/ 356 w 385"/>
                <a:gd name="T63" fmla="*/ 347 h 428"/>
                <a:gd name="T64" fmla="*/ 361 w 385"/>
                <a:gd name="T65" fmla="*/ 337 h 428"/>
                <a:gd name="T66" fmla="*/ 366 w 385"/>
                <a:gd name="T67" fmla="*/ 329 h 428"/>
                <a:gd name="T68" fmla="*/ 373 w 385"/>
                <a:gd name="T69" fmla="*/ 309 h 428"/>
                <a:gd name="T70" fmla="*/ 378 w 385"/>
                <a:gd name="T71" fmla="*/ 287 h 428"/>
                <a:gd name="T72" fmla="*/ 382 w 385"/>
                <a:gd name="T73" fmla="*/ 264 h 428"/>
                <a:gd name="T74" fmla="*/ 384 w 385"/>
                <a:gd name="T75" fmla="*/ 239 h 428"/>
                <a:gd name="T76" fmla="*/ 385 w 385"/>
                <a:gd name="T77" fmla="*/ 211 h 428"/>
                <a:gd name="T78" fmla="*/ 385 w 385"/>
                <a:gd name="T79" fmla="*/ 211 h 428"/>
                <a:gd name="T80" fmla="*/ 384 w 385"/>
                <a:gd name="T81" fmla="*/ 187 h 428"/>
                <a:gd name="T82" fmla="*/ 381 w 385"/>
                <a:gd name="T83" fmla="*/ 164 h 428"/>
                <a:gd name="T84" fmla="*/ 377 w 385"/>
                <a:gd name="T85" fmla="*/ 143 h 428"/>
                <a:gd name="T86" fmla="*/ 371 w 385"/>
                <a:gd name="T87" fmla="*/ 122 h 428"/>
                <a:gd name="T88" fmla="*/ 363 w 385"/>
                <a:gd name="T89" fmla="*/ 104 h 428"/>
                <a:gd name="T90" fmla="*/ 352 w 385"/>
                <a:gd name="T91" fmla="*/ 86 h 428"/>
                <a:gd name="T92" fmla="*/ 341 w 385"/>
                <a:gd name="T93" fmla="*/ 71 h 428"/>
                <a:gd name="T94" fmla="*/ 328 w 385"/>
                <a:gd name="T95" fmla="*/ 57 h 428"/>
                <a:gd name="T96" fmla="*/ 314 w 385"/>
                <a:gd name="T97" fmla="*/ 43 h 428"/>
                <a:gd name="T98" fmla="*/ 297 w 385"/>
                <a:gd name="T99" fmla="*/ 32 h 428"/>
                <a:gd name="T100" fmla="*/ 280 w 385"/>
                <a:gd name="T101" fmla="*/ 23 h 428"/>
                <a:gd name="T102" fmla="*/ 260 w 385"/>
                <a:gd name="T103" fmla="*/ 14 h 428"/>
                <a:gd name="T104" fmla="*/ 240 w 385"/>
                <a:gd name="T105" fmla="*/ 8 h 428"/>
                <a:gd name="T106" fmla="*/ 218 w 385"/>
                <a:gd name="T107" fmla="*/ 4 h 428"/>
                <a:gd name="T108" fmla="*/ 195 w 385"/>
                <a:gd name="T109" fmla="*/ 1 h 428"/>
                <a:gd name="T110" fmla="*/ 171 w 385"/>
                <a:gd name="T111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5" h="428">
                  <a:moveTo>
                    <a:pt x="171" y="0"/>
                  </a:moveTo>
                  <a:lnTo>
                    <a:pt x="171" y="0"/>
                  </a:lnTo>
                  <a:lnTo>
                    <a:pt x="150" y="1"/>
                  </a:lnTo>
                  <a:lnTo>
                    <a:pt x="129" y="2"/>
                  </a:lnTo>
                  <a:lnTo>
                    <a:pt x="106" y="4"/>
                  </a:lnTo>
                  <a:lnTo>
                    <a:pt x="83" y="7"/>
                  </a:lnTo>
                  <a:lnTo>
                    <a:pt x="60" y="10"/>
                  </a:lnTo>
                  <a:lnTo>
                    <a:pt x="39" y="14"/>
                  </a:lnTo>
                  <a:lnTo>
                    <a:pt x="18" y="20"/>
                  </a:lnTo>
                  <a:lnTo>
                    <a:pt x="0" y="26"/>
                  </a:lnTo>
                  <a:lnTo>
                    <a:pt x="0" y="415"/>
                  </a:lnTo>
                  <a:lnTo>
                    <a:pt x="0" y="415"/>
                  </a:lnTo>
                  <a:lnTo>
                    <a:pt x="15" y="418"/>
                  </a:lnTo>
                  <a:lnTo>
                    <a:pt x="34" y="420"/>
                  </a:lnTo>
                  <a:lnTo>
                    <a:pt x="73" y="424"/>
                  </a:lnTo>
                  <a:lnTo>
                    <a:pt x="116" y="427"/>
                  </a:lnTo>
                  <a:lnTo>
                    <a:pt x="155" y="428"/>
                  </a:lnTo>
                  <a:lnTo>
                    <a:pt x="155" y="428"/>
                  </a:lnTo>
                  <a:lnTo>
                    <a:pt x="186" y="427"/>
                  </a:lnTo>
                  <a:lnTo>
                    <a:pt x="212" y="425"/>
                  </a:lnTo>
                  <a:lnTo>
                    <a:pt x="238" y="421"/>
                  </a:lnTo>
                  <a:lnTo>
                    <a:pt x="261" y="415"/>
                  </a:lnTo>
                  <a:lnTo>
                    <a:pt x="282" y="408"/>
                  </a:lnTo>
                  <a:lnTo>
                    <a:pt x="301" y="399"/>
                  </a:lnTo>
                  <a:lnTo>
                    <a:pt x="309" y="394"/>
                  </a:lnTo>
                  <a:lnTo>
                    <a:pt x="318" y="389"/>
                  </a:lnTo>
                  <a:lnTo>
                    <a:pt x="326" y="383"/>
                  </a:lnTo>
                  <a:lnTo>
                    <a:pt x="333" y="377"/>
                  </a:lnTo>
                  <a:lnTo>
                    <a:pt x="339" y="369"/>
                  </a:lnTo>
                  <a:lnTo>
                    <a:pt x="345" y="362"/>
                  </a:lnTo>
                  <a:lnTo>
                    <a:pt x="351" y="355"/>
                  </a:lnTo>
                  <a:lnTo>
                    <a:pt x="356" y="347"/>
                  </a:lnTo>
                  <a:lnTo>
                    <a:pt x="361" y="337"/>
                  </a:lnTo>
                  <a:lnTo>
                    <a:pt x="366" y="329"/>
                  </a:lnTo>
                  <a:lnTo>
                    <a:pt x="373" y="309"/>
                  </a:lnTo>
                  <a:lnTo>
                    <a:pt x="378" y="287"/>
                  </a:lnTo>
                  <a:lnTo>
                    <a:pt x="382" y="264"/>
                  </a:lnTo>
                  <a:lnTo>
                    <a:pt x="384" y="239"/>
                  </a:lnTo>
                  <a:lnTo>
                    <a:pt x="385" y="211"/>
                  </a:lnTo>
                  <a:lnTo>
                    <a:pt x="385" y="211"/>
                  </a:lnTo>
                  <a:lnTo>
                    <a:pt x="384" y="187"/>
                  </a:lnTo>
                  <a:lnTo>
                    <a:pt x="381" y="164"/>
                  </a:lnTo>
                  <a:lnTo>
                    <a:pt x="377" y="143"/>
                  </a:lnTo>
                  <a:lnTo>
                    <a:pt x="371" y="122"/>
                  </a:lnTo>
                  <a:lnTo>
                    <a:pt x="363" y="104"/>
                  </a:lnTo>
                  <a:lnTo>
                    <a:pt x="352" y="86"/>
                  </a:lnTo>
                  <a:lnTo>
                    <a:pt x="341" y="71"/>
                  </a:lnTo>
                  <a:lnTo>
                    <a:pt x="328" y="57"/>
                  </a:lnTo>
                  <a:lnTo>
                    <a:pt x="314" y="43"/>
                  </a:lnTo>
                  <a:lnTo>
                    <a:pt x="297" y="32"/>
                  </a:lnTo>
                  <a:lnTo>
                    <a:pt x="280" y="23"/>
                  </a:lnTo>
                  <a:lnTo>
                    <a:pt x="260" y="14"/>
                  </a:lnTo>
                  <a:lnTo>
                    <a:pt x="240" y="8"/>
                  </a:lnTo>
                  <a:lnTo>
                    <a:pt x="218" y="4"/>
                  </a:lnTo>
                  <a:lnTo>
                    <a:pt x="195" y="1"/>
                  </a:lnTo>
                  <a:lnTo>
                    <a:pt x="17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</p:grpSp>
      <p:grpSp>
        <p:nvGrpSpPr>
          <p:cNvPr id="31" name="Group 30"/>
          <p:cNvGrpSpPr/>
          <p:nvPr userDrawn="1"/>
        </p:nvGrpSpPr>
        <p:grpSpPr>
          <a:xfrm>
            <a:off x="8388192" y="36245"/>
            <a:ext cx="643411" cy="651751"/>
            <a:chOff x="8388192" y="36245"/>
            <a:chExt cx="643411" cy="651751"/>
          </a:xfrm>
        </p:grpSpPr>
        <p:grpSp>
          <p:nvGrpSpPr>
            <p:cNvPr id="32" name="Group 31"/>
            <p:cNvGrpSpPr/>
            <p:nvPr userDrawn="1"/>
          </p:nvGrpSpPr>
          <p:grpSpPr>
            <a:xfrm>
              <a:off x="8549203" y="51708"/>
              <a:ext cx="482400" cy="482400"/>
              <a:chOff x="8549203" y="51708"/>
              <a:chExt cx="482400" cy="482400"/>
            </a:xfrm>
          </p:grpSpPr>
          <p:sp>
            <p:nvSpPr>
              <p:cNvPr id="35" name="Freeform 34"/>
              <p:cNvSpPr>
                <a:spLocks noEditPoints="1"/>
              </p:cNvSpPr>
              <p:nvPr userDrawn="1"/>
            </p:nvSpPr>
            <p:spPr bwMode="auto">
              <a:xfrm>
                <a:off x="8549203" y="51708"/>
                <a:ext cx="482400" cy="482400"/>
              </a:xfrm>
              <a:custGeom>
                <a:avLst/>
                <a:gdLst>
                  <a:gd name="T0" fmla="*/ 254 w 346"/>
                  <a:gd name="T1" fmla="*/ 8 h 346"/>
                  <a:gd name="T2" fmla="*/ 248 w 346"/>
                  <a:gd name="T3" fmla="*/ 4 h 346"/>
                  <a:gd name="T4" fmla="*/ 232 w 346"/>
                  <a:gd name="T5" fmla="*/ 0 h 346"/>
                  <a:gd name="T6" fmla="*/ 114 w 346"/>
                  <a:gd name="T7" fmla="*/ 0 h 346"/>
                  <a:gd name="T8" fmla="*/ 100 w 346"/>
                  <a:gd name="T9" fmla="*/ 4 h 346"/>
                  <a:gd name="T10" fmla="*/ 8 w 346"/>
                  <a:gd name="T11" fmla="*/ 92 h 346"/>
                  <a:gd name="T12" fmla="*/ 4 w 346"/>
                  <a:gd name="T13" fmla="*/ 98 h 346"/>
                  <a:gd name="T14" fmla="*/ 0 w 346"/>
                  <a:gd name="T15" fmla="*/ 114 h 346"/>
                  <a:gd name="T16" fmla="*/ 0 w 346"/>
                  <a:gd name="T17" fmla="*/ 232 h 346"/>
                  <a:gd name="T18" fmla="*/ 4 w 346"/>
                  <a:gd name="T19" fmla="*/ 246 h 346"/>
                  <a:gd name="T20" fmla="*/ 92 w 346"/>
                  <a:gd name="T21" fmla="*/ 338 h 346"/>
                  <a:gd name="T22" fmla="*/ 98 w 346"/>
                  <a:gd name="T23" fmla="*/ 342 h 346"/>
                  <a:gd name="T24" fmla="*/ 114 w 346"/>
                  <a:gd name="T25" fmla="*/ 346 h 346"/>
                  <a:gd name="T26" fmla="*/ 232 w 346"/>
                  <a:gd name="T27" fmla="*/ 346 h 346"/>
                  <a:gd name="T28" fmla="*/ 246 w 346"/>
                  <a:gd name="T29" fmla="*/ 342 h 346"/>
                  <a:gd name="T30" fmla="*/ 338 w 346"/>
                  <a:gd name="T31" fmla="*/ 254 h 346"/>
                  <a:gd name="T32" fmla="*/ 342 w 346"/>
                  <a:gd name="T33" fmla="*/ 248 h 346"/>
                  <a:gd name="T34" fmla="*/ 346 w 346"/>
                  <a:gd name="T35" fmla="*/ 232 h 346"/>
                  <a:gd name="T36" fmla="*/ 346 w 346"/>
                  <a:gd name="T37" fmla="*/ 114 h 346"/>
                  <a:gd name="T38" fmla="*/ 342 w 346"/>
                  <a:gd name="T39" fmla="*/ 100 h 346"/>
                  <a:gd name="T40" fmla="*/ 338 w 346"/>
                  <a:gd name="T41" fmla="*/ 92 h 346"/>
                  <a:gd name="T42" fmla="*/ 326 w 346"/>
                  <a:gd name="T43" fmla="*/ 224 h 346"/>
                  <a:gd name="T44" fmla="*/ 322 w 346"/>
                  <a:gd name="T45" fmla="*/ 240 h 346"/>
                  <a:gd name="T46" fmla="*/ 246 w 346"/>
                  <a:gd name="T47" fmla="*/ 318 h 346"/>
                  <a:gd name="T48" fmla="*/ 238 w 346"/>
                  <a:gd name="T49" fmla="*/ 322 h 346"/>
                  <a:gd name="T50" fmla="*/ 224 w 346"/>
                  <a:gd name="T51" fmla="*/ 326 h 346"/>
                  <a:gd name="T52" fmla="*/ 122 w 346"/>
                  <a:gd name="T53" fmla="*/ 326 h 346"/>
                  <a:gd name="T54" fmla="*/ 106 w 346"/>
                  <a:gd name="T55" fmla="*/ 322 h 346"/>
                  <a:gd name="T56" fmla="*/ 28 w 346"/>
                  <a:gd name="T57" fmla="*/ 246 h 346"/>
                  <a:gd name="T58" fmla="*/ 24 w 346"/>
                  <a:gd name="T59" fmla="*/ 238 h 346"/>
                  <a:gd name="T60" fmla="*/ 20 w 346"/>
                  <a:gd name="T61" fmla="*/ 224 h 346"/>
                  <a:gd name="T62" fmla="*/ 20 w 346"/>
                  <a:gd name="T63" fmla="*/ 122 h 346"/>
                  <a:gd name="T64" fmla="*/ 24 w 346"/>
                  <a:gd name="T65" fmla="*/ 106 h 346"/>
                  <a:gd name="T66" fmla="*/ 102 w 346"/>
                  <a:gd name="T67" fmla="*/ 28 h 346"/>
                  <a:gd name="T68" fmla="*/ 108 w 346"/>
                  <a:gd name="T69" fmla="*/ 24 h 346"/>
                  <a:gd name="T70" fmla="*/ 122 w 346"/>
                  <a:gd name="T71" fmla="*/ 20 h 346"/>
                  <a:gd name="T72" fmla="*/ 224 w 346"/>
                  <a:gd name="T73" fmla="*/ 20 h 346"/>
                  <a:gd name="T74" fmla="*/ 240 w 346"/>
                  <a:gd name="T75" fmla="*/ 24 h 346"/>
                  <a:gd name="T76" fmla="*/ 318 w 346"/>
                  <a:gd name="T77" fmla="*/ 102 h 346"/>
                  <a:gd name="T78" fmla="*/ 322 w 346"/>
                  <a:gd name="T79" fmla="*/ 108 h 346"/>
                  <a:gd name="T80" fmla="*/ 326 w 346"/>
                  <a:gd name="T81" fmla="*/ 12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46" h="346">
                    <a:moveTo>
                      <a:pt x="338" y="92"/>
                    </a:moveTo>
                    <a:lnTo>
                      <a:pt x="254" y="8"/>
                    </a:lnTo>
                    <a:lnTo>
                      <a:pt x="254" y="8"/>
                    </a:lnTo>
                    <a:lnTo>
                      <a:pt x="248" y="4"/>
                    </a:lnTo>
                    <a:lnTo>
                      <a:pt x="240" y="0"/>
                    </a:lnTo>
                    <a:lnTo>
                      <a:pt x="232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06" y="0"/>
                    </a:lnTo>
                    <a:lnTo>
                      <a:pt x="100" y="4"/>
                    </a:lnTo>
                    <a:lnTo>
                      <a:pt x="92" y="8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4" y="98"/>
                    </a:lnTo>
                    <a:lnTo>
                      <a:pt x="0" y="106"/>
                    </a:lnTo>
                    <a:lnTo>
                      <a:pt x="0" y="114"/>
                    </a:lnTo>
                    <a:lnTo>
                      <a:pt x="0" y="232"/>
                    </a:lnTo>
                    <a:lnTo>
                      <a:pt x="0" y="232"/>
                    </a:lnTo>
                    <a:lnTo>
                      <a:pt x="0" y="240"/>
                    </a:lnTo>
                    <a:lnTo>
                      <a:pt x="4" y="246"/>
                    </a:lnTo>
                    <a:lnTo>
                      <a:pt x="8" y="254"/>
                    </a:lnTo>
                    <a:lnTo>
                      <a:pt x="92" y="338"/>
                    </a:lnTo>
                    <a:lnTo>
                      <a:pt x="92" y="338"/>
                    </a:lnTo>
                    <a:lnTo>
                      <a:pt x="98" y="342"/>
                    </a:lnTo>
                    <a:lnTo>
                      <a:pt x="106" y="346"/>
                    </a:lnTo>
                    <a:lnTo>
                      <a:pt x="114" y="346"/>
                    </a:lnTo>
                    <a:lnTo>
                      <a:pt x="232" y="346"/>
                    </a:lnTo>
                    <a:lnTo>
                      <a:pt x="232" y="346"/>
                    </a:lnTo>
                    <a:lnTo>
                      <a:pt x="240" y="346"/>
                    </a:lnTo>
                    <a:lnTo>
                      <a:pt x="246" y="342"/>
                    </a:lnTo>
                    <a:lnTo>
                      <a:pt x="254" y="338"/>
                    </a:lnTo>
                    <a:lnTo>
                      <a:pt x="338" y="254"/>
                    </a:lnTo>
                    <a:lnTo>
                      <a:pt x="338" y="254"/>
                    </a:lnTo>
                    <a:lnTo>
                      <a:pt x="342" y="248"/>
                    </a:lnTo>
                    <a:lnTo>
                      <a:pt x="346" y="240"/>
                    </a:lnTo>
                    <a:lnTo>
                      <a:pt x="346" y="232"/>
                    </a:lnTo>
                    <a:lnTo>
                      <a:pt x="346" y="114"/>
                    </a:lnTo>
                    <a:lnTo>
                      <a:pt x="346" y="114"/>
                    </a:lnTo>
                    <a:lnTo>
                      <a:pt x="346" y="106"/>
                    </a:lnTo>
                    <a:lnTo>
                      <a:pt x="342" y="100"/>
                    </a:lnTo>
                    <a:lnTo>
                      <a:pt x="338" y="92"/>
                    </a:lnTo>
                    <a:lnTo>
                      <a:pt x="338" y="92"/>
                    </a:lnTo>
                    <a:close/>
                    <a:moveTo>
                      <a:pt x="326" y="224"/>
                    </a:moveTo>
                    <a:lnTo>
                      <a:pt x="326" y="224"/>
                    </a:lnTo>
                    <a:lnTo>
                      <a:pt x="326" y="232"/>
                    </a:lnTo>
                    <a:lnTo>
                      <a:pt x="322" y="240"/>
                    </a:lnTo>
                    <a:lnTo>
                      <a:pt x="318" y="246"/>
                    </a:lnTo>
                    <a:lnTo>
                      <a:pt x="246" y="318"/>
                    </a:lnTo>
                    <a:lnTo>
                      <a:pt x="246" y="318"/>
                    </a:lnTo>
                    <a:lnTo>
                      <a:pt x="238" y="322"/>
                    </a:lnTo>
                    <a:lnTo>
                      <a:pt x="232" y="326"/>
                    </a:lnTo>
                    <a:lnTo>
                      <a:pt x="224" y="326"/>
                    </a:lnTo>
                    <a:lnTo>
                      <a:pt x="122" y="326"/>
                    </a:lnTo>
                    <a:lnTo>
                      <a:pt x="122" y="326"/>
                    </a:lnTo>
                    <a:lnTo>
                      <a:pt x="114" y="326"/>
                    </a:lnTo>
                    <a:lnTo>
                      <a:pt x="106" y="322"/>
                    </a:lnTo>
                    <a:lnTo>
                      <a:pt x="102" y="318"/>
                    </a:lnTo>
                    <a:lnTo>
                      <a:pt x="28" y="246"/>
                    </a:lnTo>
                    <a:lnTo>
                      <a:pt x="28" y="246"/>
                    </a:lnTo>
                    <a:lnTo>
                      <a:pt x="24" y="238"/>
                    </a:lnTo>
                    <a:lnTo>
                      <a:pt x="20" y="232"/>
                    </a:lnTo>
                    <a:lnTo>
                      <a:pt x="20" y="224"/>
                    </a:lnTo>
                    <a:lnTo>
                      <a:pt x="20" y="122"/>
                    </a:lnTo>
                    <a:lnTo>
                      <a:pt x="20" y="122"/>
                    </a:lnTo>
                    <a:lnTo>
                      <a:pt x="22" y="114"/>
                    </a:lnTo>
                    <a:lnTo>
                      <a:pt x="24" y="106"/>
                    </a:lnTo>
                    <a:lnTo>
                      <a:pt x="28" y="102"/>
                    </a:lnTo>
                    <a:lnTo>
                      <a:pt x="102" y="28"/>
                    </a:lnTo>
                    <a:lnTo>
                      <a:pt x="102" y="28"/>
                    </a:lnTo>
                    <a:lnTo>
                      <a:pt x="108" y="24"/>
                    </a:lnTo>
                    <a:lnTo>
                      <a:pt x="114" y="20"/>
                    </a:lnTo>
                    <a:lnTo>
                      <a:pt x="122" y="20"/>
                    </a:lnTo>
                    <a:lnTo>
                      <a:pt x="224" y="20"/>
                    </a:lnTo>
                    <a:lnTo>
                      <a:pt x="224" y="20"/>
                    </a:lnTo>
                    <a:lnTo>
                      <a:pt x="232" y="20"/>
                    </a:lnTo>
                    <a:lnTo>
                      <a:pt x="240" y="24"/>
                    </a:lnTo>
                    <a:lnTo>
                      <a:pt x="246" y="28"/>
                    </a:lnTo>
                    <a:lnTo>
                      <a:pt x="318" y="102"/>
                    </a:lnTo>
                    <a:lnTo>
                      <a:pt x="318" y="102"/>
                    </a:lnTo>
                    <a:lnTo>
                      <a:pt x="322" y="108"/>
                    </a:lnTo>
                    <a:lnTo>
                      <a:pt x="326" y="114"/>
                    </a:lnTo>
                    <a:lnTo>
                      <a:pt x="326" y="122"/>
                    </a:lnTo>
                    <a:lnTo>
                      <a:pt x="326" y="2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4D4D4D"/>
                  </a:solidFill>
                </a:endParaRPr>
              </a:p>
            </p:txBody>
          </p:sp>
          <p:sp>
            <p:nvSpPr>
              <p:cNvPr id="36" name="Freeform 35"/>
              <p:cNvSpPr>
                <a:spLocks/>
              </p:cNvSpPr>
              <p:nvPr userDrawn="1"/>
            </p:nvSpPr>
            <p:spPr bwMode="auto">
              <a:xfrm>
                <a:off x="8699779" y="129784"/>
                <a:ext cx="192402" cy="340190"/>
              </a:xfrm>
              <a:custGeom>
                <a:avLst/>
                <a:gdLst>
                  <a:gd name="T0" fmla="*/ 138 w 138"/>
                  <a:gd name="T1" fmla="*/ 142 h 244"/>
                  <a:gd name="T2" fmla="*/ 138 w 138"/>
                  <a:gd name="T3" fmla="*/ 94 h 244"/>
                  <a:gd name="T4" fmla="*/ 134 w 138"/>
                  <a:gd name="T5" fmla="*/ 84 h 244"/>
                  <a:gd name="T6" fmla="*/ 124 w 138"/>
                  <a:gd name="T7" fmla="*/ 82 h 244"/>
                  <a:gd name="T8" fmla="*/ 122 w 138"/>
                  <a:gd name="T9" fmla="*/ 82 h 244"/>
                  <a:gd name="T10" fmla="*/ 114 w 138"/>
                  <a:gd name="T11" fmla="*/ 88 h 244"/>
                  <a:gd name="T12" fmla="*/ 114 w 138"/>
                  <a:gd name="T13" fmla="*/ 142 h 244"/>
                  <a:gd name="T14" fmla="*/ 112 w 138"/>
                  <a:gd name="T15" fmla="*/ 28 h 244"/>
                  <a:gd name="T16" fmla="*/ 110 w 138"/>
                  <a:gd name="T17" fmla="*/ 20 h 244"/>
                  <a:gd name="T18" fmla="*/ 102 w 138"/>
                  <a:gd name="T19" fmla="*/ 12 h 244"/>
                  <a:gd name="T20" fmla="*/ 100 w 138"/>
                  <a:gd name="T21" fmla="*/ 12 h 244"/>
                  <a:gd name="T22" fmla="*/ 98 w 138"/>
                  <a:gd name="T23" fmla="*/ 12 h 244"/>
                  <a:gd name="T24" fmla="*/ 96 w 138"/>
                  <a:gd name="T25" fmla="*/ 12 h 244"/>
                  <a:gd name="T26" fmla="*/ 88 w 138"/>
                  <a:gd name="T27" fmla="*/ 16 h 244"/>
                  <a:gd name="T28" fmla="*/ 84 w 138"/>
                  <a:gd name="T29" fmla="*/ 28 h 244"/>
                  <a:gd name="T30" fmla="*/ 82 w 138"/>
                  <a:gd name="T31" fmla="*/ 142 h 244"/>
                  <a:gd name="T32" fmla="*/ 82 w 138"/>
                  <a:gd name="T33" fmla="*/ 16 h 244"/>
                  <a:gd name="T34" fmla="*/ 76 w 138"/>
                  <a:gd name="T35" fmla="*/ 4 h 244"/>
                  <a:gd name="T36" fmla="*/ 70 w 138"/>
                  <a:gd name="T37" fmla="*/ 0 h 244"/>
                  <a:gd name="T38" fmla="*/ 66 w 138"/>
                  <a:gd name="T39" fmla="*/ 0 h 244"/>
                  <a:gd name="T40" fmla="*/ 64 w 138"/>
                  <a:gd name="T41" fmla="*/ 0 h 244"/>
                  <a:gd name="T42" fmla="*/ 62 w 138"/>
                  <a:gd name="T43" fmla="*/ 0 h 244"/>
                  <a:gd name="T44" fmla="*/ 54 w 138"/>
                  <a:gd name="T45" fmla="*/ 8 h 244"/>
                  <a:gd name="T46" fmla="*/ 52 w 138"/>
                  <a:gd name="T47" fmla="*/ 142 h 244"/>
                  <a:gd name="T48" fmla="*/ 50 w 138"/>
                  <a:gd name="T49" fmla="*/ 38 h 244"/>
                  <a:gd name="T50" fmla="*/ 48 w 138"/>
                  <a:gd name="T51" fmla="*/ 30 h 244"/>
                  <a:gd name="T52" fmla="*/ 40 w 138"/>
                  <a:gd name="T53" fmla="*/ 24 h 244"/>
                  <a:gd name="T54" fmla="*/ 38 w 138"/>
                  <a:gd name="T55" fmla="*/ 22 h 244"/>
                  <a:gd name="T56" fmla="*/ 36 w 138"/>
                  <a:gd name="T57" fmla="*/ 22 h 244"/>
                  <a:gd name="T58" fmla="*/ 34 w 138"/>
                  <a:gd name="T59" fmla="*/ 22 h 244"/>
                  <a:gd name="T60" fmla="*/ 28 w 138"/>
                  <a:gd name="T61" fmla="*/ 26 h 244"/>
                  <a:gd name="T62" fmla="*/ 24 w 138"/>
                  <a:gd name="T63" fmla="*/ 38 h 244"/>
                  <a:gd name="T64" fmla="*/ 20 w 138"/>
                  <a:gd name="T65" fmla="*/ 142 h 244"/>
                  <a:gd name="T66" fmla="*/ 20 w 138"/>
                  <a:gd name="T67" fmla="*/ 68 h 244"/>
                  <a:gd name="T68" fmla="*/ 16 w 138"/>
                  <a:gd name="T69" fmla="*/ 58 h 244"/>
                  <a:gd name="T70" fmla="*/ 10 w 138"/>
                  <a:gd name="T71" fmla="*/ 58 h 244"/>
                  <a:gd name="T72" fmla="*/ 4 w 138"/>
                  <a:gd name="T73" fmla="*/ 60 h 244"/>
                  <a:gd name="T74" fmla="*/ 0 w 138"/>
                  <a:gd name="T75" fmla="*/ 68 h 244"/>
                  <a:gd name="T76" fmla="*/ 0 w 138"/>
                  <a:gd name="T77" fmla="*/ 142 h 244"/>
                  <a:gd name="T78" fmla="*/ 0 w 138"/>
                  <a:gd name="T79" fmla="*/ 166 h 244"/>
                  <a:gd name="T80" fmla="*/ 6 w 138"/>
                  <a:gd name="T81" fmla="*/ 196 h 244"/>
                  <a:gd name="T82" fmla="*/ 20 w 138"/>
                  <a:gd name="T83" fmla="*/ 220 h 244"/>
                  <a:gd name="T84" fmla="*/ 42 w 138"/>
                  <a:gd name="T85" fmla="*/ 238 h 244"/>
                  <a:gd name="T86" fmla="*/ 70 w 138"/>
                  <a:gd name="T87" fmla="*/ 244 h 244"/>
                  <a:gd name="T88" fmla="*/ 84 w 138"/>
                  <a:gd name="T89" fmla="*/ 242 h 244"/>
                  <a:gd name="T90" fmla="*/ 108 w 138"/>
                  <a:gd name="T91" fmla="*/ 230 h 244"/>
                  <a:gd name="T92" fmla="*/ 126 w 138"/>
                  <a:gd name="T93" fmla="*/ 208 h 244"/>
                  <a:gd name="T94" fmla="*/ 136 w 138"/>
                  <a:gd name="T95" fmla="*/ 180 h 244"/>
                  <a:gd name="T96" fmla="*/ 138 w 138"/>
                  <a:gd name="T97" fmla="*/ 166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8" h="244">
                    <a:moveTo>
                      <a:pt x="138" y="142"/>
                    </a:moveTo>
                    <a:lnTo>
                      <a:pt x="138" y="142"/>
                    </a:lnTo>
                    <a:lnTo>
                      <a:pt x="138" y="94"/>
                    </a:lnTo>
                    <a:lnTo>
                      <a:pt x="138" y="94"/>
                    </a:lnTo>
                    <a:lnTo>
                      <a:pt x="136" y="88"/>
                    </a:lnTo>
                    <a:lnTo>
                      <a:pt x="134" y="84"/>
                    </a:lnTo>
                    <a:lnTo>
                      <a:pt x="128" y="82"/>
                    </a:lnTo>
                    <a:lnTo>
                      <a:pt x="124" y="82"/>
                    </a:lnTo>
                    <a:lnTo>
                      <a:pt x="124" y="82"/>
                    </a:lnTo>
                    <a:lnTo>
                      <a:pt x="122" y="82"/>
                    </a:lnTo>
                    <a:lnTo>
                      <a:pt x="118" y="84"/>
                    </a:lnTo>
                    <a:lnTo>
                      <a:pt x="114" y="88"/>
                    </a:lnTo>
                    <a:lnTo>
                      <a:pt x="114" y="94"/>
                    </a:lnTo>
                    <a:lnTo>
                      <a:pt x="114" y="142"/>
                    </a:lnTo>
                    <a:lnTo>
                      <a:pt x="112" y="142"/>
                    </a:lnTo>
                    <a:lnTo>
                      <a:pt x="112" y="28"/>
                    </a:lnTo>
                    <a:lnTo>
                      <a:pt x="112" y="28"/>
                    </a:lnTo>
                    <a:lnTo>
                      <a:pt x="110" y="20"/>
                    </a:lnTo>
                    <a:lnTo>
                      <a:pt x="106" y="16"/>
                    </a:lnTo>
                    <a:lnTo>
                      <a:pt x="102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98" y="12"/>
                    </a:lnTo>
                    <a:lnTo>
                      <a:pt x="98" y="12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2" y="12"/>
                    </a:lnTo>
                    <a:lnTo>
                      <a:pt x="88" y="16"/>
                    </a:lnTo>
                    <a:lnTo>
                      <a:pt x="86" y="20"/>
                    </a:lnTo>
                    <a:lnTo>
                      <a:pt x="84" y="28"/>
                    </a:lnTo>
                    <a:lnTo>
                      <a:pt x="84" y="142"/>
                    </a:lnTo>
                    <a:lnTo>
                      <a:pt x="82" y="142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0" y="8"/>
                    </a:lnTo>
                    <a:lnTo>
                      <a:pt x="76" y="4"/>
                    </a:lnTo>
                    <a:lnTo>
                      <a:pt x="72" y="0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2" y="0"/>
                    </a:lnTo>
                    <a:lnTo>
                      <a:pt x="58" y="4"/>
                    </a:lnTo>
                    <a:lnTo>
                      <a:pt x="54" y="8"/>
                    </a:lnTo>
                    <a:lnTo>
                      <a:pt x="52" y="16"/>
                    </a:lnTo>
                    <a:lnTo>
                      <a:pt x="52" y="142"/>
                    </a:lnTo>
                    <a:lnTo>
                      <a:pt x="50" y="142"/>
                    </a:lnTo>
                    <a:lnTo>
                      <a:pt x="50" y="38"/>
                    </a:lnTo>
                    <a:lnTo>
                      <a:pt x="50" y="38"/>
                    </a:lnTo>
                    <a:lnTo>
                      <a:pt x="48" y="30"/>
                    </a:lnTo>
                    <a:lnTo>
                      <a:pt x="44" y="26"/>
                    </a:lnTo>
                    <a:lnTo>
                      <a:pt x="40" y="24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2" y="24"/>
                    </a:lnTo>
                    <a:lnTo>
                      <a:pt x="28" y="26"/>
                    </a:lnTo>
                    <a:lnTo>
                      <a:pt x="24" y="30"/>
                    </a:lnTo>
                    <a:lnTo>
                      <a:pt x="24" y="38"/>
                    </a:lnTo>
                    <a:lnTo>
                      <a:pt x="24" y="142"/>
                    </a:lnTo>
                    <a:lnTo>
                      <a:pt x="20" y="142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18" y="62"/>
                    </a:lnTo>
                    <a:lnTo>
                      <a:pt x="16" y="58"/>
                    </a:lnTo>
                    <a:lnTo>
                      <a:pt x="12" y="58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4" y="60"/>
                    </a:lnTo>
                    <a:lnTo>
                      <a:pt x="2" y="62"/>
                    </a:lnTo>
                    <a:lnTo>
                      <a:pt x="0" y="68"/>
                    </a:lnTo>
                    <a:lnTo>
                      <a:pt x="0" y="142"/>
                    </a:lnTo>
                    <a:lnTo>
                      <a:pt x="0" y="142"/>
                    </a:lnTo>
                    <a:lnTo>
                      <a:pt x="0" y="166"/>
                    </a:lnTo>
                    <a:lnTo>
                      <a:pt x="0" y="166"/>
                    </a:lnTo>
                    <a:lnTo>
                      <a:pt x="2" y="180"/>
                    </a:lnTo>
                    <a:lnTo>
                      <a:pt x="6" y="196"/>
                    </a:lnTo>
                    <a:lnTo>
                      <a:pt x="12" y="208"/>
                    </a:lnTo>
                    <a:lnTo>
                      <a:pt x="20" y="220"/>
                    </a:lnTo>
                    <a:lnTo>
                      <a:pt x="30" y="230"/>
                    </a:lnTo>
                    <a:lnTo>
                      <a:pt x="42" y="238"/>
                    </a:lnTo>
                    <a:lnTo>
                      <a:pt x="56" y="242"/>
                    </a:lnTo>
                    <a:lnTo>
                      <a:pt x="70" y="244"/>
                    </a:lnTo>
                    <a:lnTo>
                      <a:pt x="70" y="244"/>
                    </a:lnTo>
                    <a:lnTo>
                      <a:pt x="84" y="242"/>
                    </a:lnTo>
                    <a:lnTo>
                      <a:pt x="96" y="238"/>
                    </a:lnTo>
                    <a:lnTo>
                      <a:pt x="108" y="230"/>
                    </a:lnTo>
                    <a:lnTo>
                      <a:pt x="118" y="220"/>
                    </a:lnTo>
                    <a:lnTo>
                      <a:pt x="126" y="208"/>
                    </a:lnTo>
                    <a:lnTo>
                      <a:pt x="132" y="196"/>
                    </a:lnTo>
                    <a:lnTo>
                      <a:pt x="136" y="180"/>
                    </a:lnTo>
                    <a:lnTo>
                      <a:pt x="138" y="166"/>
                    </a:lnTo>
                    <a:lnTo>
                      <a:pt x="138" y="166"/>
                    </a:lnTo>
                    <a:lnTo>
                      <a:pt x="138" y="14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33" name="TextBox 32"/>
            <p:cNvSpPr txBox="1"/>
            <p:nvPr userDrawn="1"/>
          </p:nvSpPr>
          <p:spPr>
            <a:xfrm rot="16200000">
              <a:off x="8191735" y="232702"/>
              <a:ext cx="563729" cy="1708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510" dirty="0" smtClean="0">
                  <a:solidFill>
                    <a:srgbClr val="FFFFFF">
                      <a:lumMod val="65000"/>
                    </a:srgbClr>
                  </a:solidFill>
                </a:rPr>
                <a:t>confidential</a:t>
              </a:r>
              <a:endParaRPr lang="en-GB" sz="510" dirty="0">
                <a:solidFill>
                  <a:srgbClr val="FFFFFF">
                    <a:lumMod val="65000"/>
                  </a:srgbClr>
                </a:solidFill>
              </a:endParaRPr>
            </a:p>
          </p:txBody>
        </p:sp>
        <p:sp>
          <p:nvSpPr>
            <p:cNvPr id="34" name="TextBox 33"/>
            <p:cNvSpPr txBox="1"/>
            <p:nvPr userDrawn="1"/>
          </p:nvSpPr>
          <p:spPr>
            <a:xfrm>
              <a:off x="8547008" y="506408"/>
              <a:ext cx="482345" cy="1815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580" dirty="0" smtClean="0">
                  <a:solidFill>
                    <a:srgbClr val="D7D2CB">
                      <a:lumMod val="10000"/>
                    </a:srgbClr>
                  </a:solidFill>
                </a:rPr>
                <a:t>SECRET</a:t>
              </a:r>
              <a:endParaRPr lang="en-GB" sz="580" dirty="0">
                <a:solidFill>
                  <a:srgbClr val="D7D2C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9666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43" r:id="rId2"/>
    <p:sldLayoutId id="2147483944" r:id="rId3"/>
    <p:sldLayoutId id="2147483945" r:id="rId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spcBef>
          <a:spcPct val="20000"/>
        </a:spcBef>
        <a:buClr>
          <a:schemeClr val="tx2"/>
        </a:buClr>
        <a:buSzPct val="120000"/>
        <a:buFont typeface="Verdana" pitchFamily="34" charset="0"/>
        <a:buChar char="_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216000" algn="l" defTabSz="914400" rtl="0" eaLnBrk="1" latinLnBrk="0" hangingPunct="1">
        <a:spcBef>
          <a:spcPct val="20000"/>
        </a:spcBef>
        <a:buClr>
          <a:schemeClr val="tx2"/>
        </a:buClr>
        <a:buSzPct val="12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66000" indent="-198000" algn="l" defTabSz="914400" rtl="0" eaLnBrk="1" latinLnBrk="0" hangingPunct="1">
        <a:spcBef>
          <a:spcPct val="20000"/>
        </a:spcBef>
        <a:buClr>
          <a:schemeClr val="tx2"/>
        </a:buClr>
        <a:buSzPct val="10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46000" indent="-180000" algn="l" defTabSz="914400" rtl="0" eaLnBrk="1" latinLnBrk="0" hangingPunct="1">
        <a:spcBef>
          <a:spcPct val="20000"/>
        </a:spcBef>
        <a:buClr>
          <a:schemeClr val="tx2"/>
        </a:buClr>
        <a:buSzPct val="10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26000" indent="-180000" algn="l" defTabSz="914400" rtl="0" eaLnBrk="1" latinLnBrk="0" hangingPunct="1">
        <a:spcBef>
          <a:spcPct val="20000"/>
        </a:spcBef>
        <a:buClr>
          <a:schemeClr val="tx2"/>
        </a:buClr>
        <a:buSzPct val="10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15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5215" y="437916"/>
            <a:ext cx="8229600" cy="90285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3528" y="148478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9" name="Text Box 11"/>
          <p:cNvSpPr txBox="1">
            <a:spLocks noChangeArrowheads="1"/>
          </p:cNvSpPr>
          <p:nvPr/>
        </p:nvSpPr>
        <p:spPr bwMode="auto">
          <a:xfrm rot="-5400000">
            <a:off x="6347717" y="3020626"/>
            <a:ext cx="528796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defRPr/>
            </a:pPr>
            <a:r>
              <a:rPr lang="en-GB" sz="700" b="0" dirty="0" smtClean="0">
                <a:solidFill>
                  <a:srgbClr val="D7D2CB"/>
                </a:solidFill>
                <a:latin typeface="Verdana"/>
              </a:rPr>
              <a:t>© 2013 Amadeus IT Group SA</a:t>
            </a:r>
          </a:p>
        </p:txBody>
      </p:sp>
      <p:grpSp>
        <p:nvGrpSpPr>
          <p:cNvPr id="6" name="Group 4"/>
          <p:cNvGrpSpPr>
            <a:grpSpLocks noChangeAspect="1"/>
          </p:cNvGrpSpPr>
          <p:nvPr userDrawn="1"/>
        </p:nvGrpSpPr>
        <p:grpSpPr bwMode="auto">
          <a:xfrm>
            <a:off x="8414644" y="41533"/>
            <a:ext cx="679332" cy="743201"/>
            <a:chOff x="1991" y="250"/>
            <a:chExt cx="3276" cy="3584"/>
          </a:xfrm>
        </p:grpSpPr>
        <p:sp>
          <p:nvSpPr>
            <p:cNvPr id="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1991" y="250"/>
              <a:ext cx="3276" cy="35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3287" y="3560"/>
              <a:ext cx="158" cy="274"/>
            </a:xfrm>
            <a:custGeom>
              <a:avLst/>
              <a:gdLst>
                <a:gd name="T0" fmla="*/ 158 w 158"/>
                <a:gd name="T1" fmla="*/ 188 h 274"/>
                <a:gd name="T2" fmla="*/ 152 w 158"/>
                <a:gd name="T3" fmla="*/ 222 h 274"/>
                <a:gd name="T4" fmla="*/ 144 w 158"/>
                <a:gd name="T5" fmla="*/ 238 h 274"/>
                <a:gd name="T6" fmla="*/ 132 w 158"/>
                <a:gd name="T7" fmla="*/ 250 h 274"/>
                <a:gd name="T8" fmla="*/ 102 w 158"/>
                <a:gd name="T9" fmla="*/ 268 h 274"/>
                <a:gd name="T10" fmla="*/ 82 w 158"/>
                <a:gd name="T11" fmla="*/ 272 h 274"/>
                <a:gd name="T12" fmla="*/ 62 w 158"/>
                <a:gd name="T13" fmla="*/ 274 h 274"/>
                <a:gd name="T14" fmla="*/ 4 w 158"/>
                <a:gd name="T15" fmla="*/ 268 h 274"/>
                <a:gd name="T16" fmla="*/ 10 w 158"/>
                <a:gd name="T17" fmla="*/ 218 h 274"/>
                <a:gd name="T18" fmla="*/ 34 w 158"/>
                <a:gd name="T19" fmla="*/ 226 h 274"/>
                <a:gd name="T20" fmla="*/ 48 w 158"/>
                <a:gd name="T21" fmla="*/ 228 h 274"/>
                <a:gd name="T22" fmla="*/ 64 w 158"/>
                <a:gd name="T23" fmla="*/ 230 h 274"/>
                <a:gd name="T24" fmla="*/ 80 w 158"/>
                <a:gd name="T25" fmla="*/ 228 h 274"/>
                <a:gd name="T26" fmla="*/ 94 w 158"/>
                <a:gd name="T27" fmla="*/ 222 h 274"/>
                <a:gd name="T28" fmla="*/ 98 w 158"/>
                <a:gd name="T29" fmla="*/ 216 h 274"/>
                <a:gd name="T30" fmla="*/ 102 w 158"/>
                <a:gd name="T31" fmla="*/ 210 h 274"/>
                <a:gd name="T32" fmla="*/ 106 w 158"/>
                <a:gd name="T33" fmla="*/ 194 h 274"/>
                <a:gd name="T34" fmla="*/ 104 w 158"/>
                <a:gd name="T35" fmla="*/ 184 h 274"/>
                <a:gd name="T36" fmla="*/ 98 w 158"/>
                <a:gd name="T37" fmla="*/ 174 h 274"/>
                <a:gd name="T38" fmla="*/ 78 w 158"/>
                <a:gd name="T39" fmla="*/ 162 h 274"/>
                <a:gd name="T40" fmla="*/ 54 w 158"/>
                <a:gd name="T41" fmla="*/ 152 h 274"/>
                <a:gd name="T42" fmla="*/ 40 w 158"/>
                <a:gd name="T43" fmla="*/ 146 h 274"/>
                <a:gd name="T44" fmla="*/ 28 w 158"/>
                <a:gd name="T45" fmla="*/ 138 h 274"/>
                <a:gd name="T46" fmla="*/ 8 w 158"/>
                <a:gd name="T47" fmla="*/ 116 h 274"/>
                <a:gd name="T48" fmla="*/ 4 w 158"/>
                <a:gd name="T49" fmla="*/ 108 h 274"/>
                <a:gd name="T50" fmla="*/ 0 w 158"/>
                <a:gd name="T51" fmla="*/ 80 h 274"/>
                <a:gd name="T52" fmla="*/ 2 w 158"/>
                <a:gd name="T53" fmla="*/ 64 h 274"/>
                <a:gd name="T54" fmla="*/ 6 w 158"/>
                <a:gd name="T55" fmla="*/ 48 h 274"/>
                <a:gd name="T56" fmla="*/ 24 w 158"/>
                <a:gd name="T57" fmla="*/ 24 h 274"/>
                <a:gd name="T58" fmla="*/ 38 w 158"/>
                <a:gd name="T59" fmla="*/ 14 h 274"/>
                <a:gd name="T60" fmla="*/ 54 w 158"/>
                <a:gd name="T61" fmla="*/ 6 h 274"/>
                <a:gd name="T62" fmla="*/ 94 w 158"/>
                <a:gd name="T63" fmla="*/ 0 h 274"/>
                <a:gd name="T64" fmla="*/ 118 w 158"/>
                <a:gd name="T65" fmla="*/ 2 h 274"/>
                <a:gd name="T66" fmla="*/ 140 w 158"/>
                <a:gd name="T67" fmla="*/ 6 h 274"/>
                <a:gd name="T68" fmla="*/ 136 w 158"/>
                <a:gd name="T69" fmla="*/ 50 h 274"/>
                <a:gd name="T70" fmla="*/ 114 w 158"/>
                <a:gd name="T71" fmla="*/ 44 h 274"/>
                <a:gd name="T72" fmla="*/ 92 w 158"/>
                <a:gd name="T73" fmla="*/ 42 h 274"/>
                <a:gd name="T74" fmla="*/ 74 w 158"/>
                <a:gd name="T75" fmla="*/ 46 h 274"/>
                <a:gd name="T76" fmla="*/ 62 w 158"/>
                <a:gd name="T77" fmla="*/ 52 h 274"/>
                <a:gd name="T78" fmla="*/ 58 w 158"/>
                <a:gd name="T79" fmla="*/ 56 h 274"/>
                <a:gd name="T80" fmla="*/ 52 w 158"/>
                <a:gd name="T81" fmla="*/ 68 h 274"/>
                <a:gd name="T82" fmla="*/ 52 w 158"/>
                <a:gd name="T83" fmla="*/ 74 h 274"/>
                <a:gd name="T84" fmla="*/ 60 w 158"/>
                <a:gd name="T85" fmla="*/ 94 h 274"/>
                <a:gd name="T86" fmla="*/ 68 w 158"/>
                <a:gd name="T87" fmla="*/ 100 h 274"/>
                <a:gd name="T88" fmla="*/ 80 w 158"/>
                <a:gd name="T89" fmla="*/ 106 h 274"/>
                <a:gd name="T90" fmla="*/ 106 w 158"/>
                <a:gd name="T91" fmla="*/ 118 h 274"/>
                <a:gd name="T92" fmla="*/ 130 w 158"/>
                <a:gd name="T93" fmla="*/ 132 h 274"/>
                <a:gd name="T94" fmla="*/ 142 w 158"/>
                <a:gd name="T95" fmla="*/ 142 h 274"/>
                <a:gd name="T96" fmla="*/ 150 w 158"/>
                <a:gd name="T97" fmla="*/ 154 h 274"/>
                <a:gd name="T98" fmla="*/ 156 w 158"/>
                <a:gd name="T99" fmla="*/ 170 h 274"/>
                <a:gd name="T100" fmla="*/ 158 w 158"/>
                <a:gd name="T101" fmla="*/ 188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8" h="274">
                  <a:moveTo>
                    <a:pt x="158" y="188"/>
                  </a:moveTo>
                  <a:lnTo>
                    <a:pt x="158" y="188"/>
                  </a:lnTo>
                  <a:lnTo>
                    <a:pt x="156" y="206"/>
                  </a:lnTo>
                  <a:lnTo>
                    <a:pt x="152" y="222"/>
                  </a:lnTo>
                  <a:lnTo>
                    <a:pt x="152" y="222"/>
                  </a:lnTo>
                  <a:lnTo>
                    <a:pt x="144" y="238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18" y="260"/>
                  </a:lnTo>
                  <a:lnTo>
                    <a:pt x="102" y="268"/>
                  </a:lnTo>
                  <a:lnTo>
                    <a:pt x="102" y="268"/>
                  </a:lnTo>
                  <a:lnTo>
                    <a:pt x="82" y="272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30" y="272"/>
                  </a:lnTo>
                  <a:lnTo>
                    <a:pt x="4" y="268"/>
                  </a:lnTo>
                  <a:lnTo>
                    <a:pt x="10" y="218"/>
                  </a:lnTo>
                  <a:lnTo>
                    <a:pt x="10" y="218"/>
                  </a:lnTo>
                  <a:lnTo>
                    <a:pt x="22" y="222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48" y="228"/>
                  </a:lnTo>
                  <a:lnTo>
                    <a:pt x="64" y="230"/>
                  </a:lnTo>
                  <a:lnTo>
                    <a:pt x="64" y="230"/>
                  </a:lnTo>
                  <a:lnTo>
                    <a:pt x="80" y="228"/>
                  </a:lnTo>
                  <a:lnTo>
                    <a:pt x="80" y="228"/>
                  </a:lnTo>
                  <a:lnTo>
                    <a:pt x="88" y="226"/>
                  </a:lnTo>
                  <a:lnTo>
                    <a:pt x="94" y="222"/>
                  </a:lnTo>
                  <a:lnTo>
                    <a:pt x="94" y="222"/>
                  </a:lnTo>
                  <a:lnTo>
                    <a:pt x="98" y="216"/>
                  </a:lnTo>
                  <a:lnTo>
                    <a:pt x="102" y="210"/>
                  </a:lnTo>
                  <a:lnTo>
                    <a:pt x="102" y="210"/>
                  </a:lnTo>
                  <a:lnTo>
                    <a:pt x="106" y="204"/>
                  </a:lnTo>
                  <a:lnTo>
                    <a:pt x="106" y="194"/>
                  </a:lnTo>
                  <a:lnTo>
                    <a:pt x="106" y="194"/>
                  </a:lnTo>
                  <a:lnTo>
                    <a:pt x="104" y="184"/>
                  </a:lnTo>
                  <a:lnTo>
                    <a:pt x="98" y="174"/>
                  </a:lnTo>
                  <a:lnTo>
                    <a:pt x="98" y="174"/>
                  </a:lnTo>
                  <a:lnTo>
                    <a:pt x="90" y="168"/>
                  </a:lnTo>
                  <a:lnTo>
                    <a:pt x="78" y="162"/>
                  </a:lnTo>
                  <a:lnTo>
                    <a:pt x="78" y="162"/>
                  </a:lnTo>
                  <a:lnTo>
                    <a:pt x="54" y="152"/>
                  </a:lnTo>
                  <a:lnTo>
                    <a:pt x="54" y="152"/>
                  </a:lnTo>
                  <a:lnTo>
                    <a:pt x="40" y="146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16" y="128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4" y="108"/>
                  </a:lnTo>
                  <a:lnTo>
                    <a:pt x="2" y="10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2" y="64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14" y="3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38" y="14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74" y="2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118" y="2"/>
                  </a:lnTo>
                  <a:lnTo>
                    <a:pt x="118" y="2"/>
                  </a:lnTo>
                  <a:lnTo>
                    <a:pt x="140" y="6"/>
                  </a:lnTo>
                  <a:lnTo>
                    <a:pt x="136" y="50"/>
                  </a:lnTo>
                  <a:lnTo>
                    <a:pt x="136" y="50"/>
                  </a:lnTo>
                  <a:lnTo>
                    <a:pt x="114" y="44"/>
                  </a:lnTo>
                  <a:lnTo>
                    <a:pt x="114" y="4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82" y="44"/>
                  </a:lnTo>
                  <a:lnTo>
                    <a:pt x="74" y="46"/>
                  </a:lnTo>
                  <a:lnTo>
                    <a:pt x="68" y="48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58" y="56"/>
                  </a:lnTo>
                  <a:lnTo>
                    <a:pt x="54" y="62"/>
                  </a:lnTo>
                  <a:lnTo>
                    <a:pt x="52" y="68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4" y="86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8" y="100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106" y="118"/>
                  </a:lnTo>
                  <a:lnTo>
                    <a:pt x="106" y="118"/>
                  </a:lnTo>
                  <a:lnTo>
                    <a:pt x="118" y="124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42" y="142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4" y="162"/>
                  </a:lnTo>
                  <a:lnTo>
                    <a:pt x="156" y="170"/>
                  </a:lnTo>
                  <a:lnTo>
                    <a:pt x="158" y="188"/>
                  </a:lnTo>
                  <a:lnTo>
                    <a:pt x="158" y="1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3485" y="3566"/>
              <a:ext cx="136" cy="264"/>
            </a:xfrm>
            <a:custGeom>
              <a:avLst/>
              <a:gdLst>
                <a:gd name="T0" fmla="*/ 0 w 136"/>
                <a:gd name="T1" fmla="*/ 264 h 264"/>
                <a:gd name="T2" fmla="*/ 0 w 136"/>
                <a:gd name="T3" fmla="*/ 0 h 264"/>
                <a:gd name="T4" fmla="*/ 136 w 136"/>
                <a:gd name="T5" fmla="*/ 0 h 264"/>
                <a:gd name="T6" fmla="*/ 136 w 136"/>
                <a:gd name="T7" fmla="*/ 42 h 264"/>
                <a:gd name="T8" fmla="*/ 48 w 136"/>
                <a:gd name="T9" fmla="*/ 42 h 264"/>
                <a:gd name="T10" fmla="*/ 48 w 136"/>
                <a:gd name="T11" fmla="*/ 106 h 264"/>
                <a:gd name="T12" fmla="*/ 132 w 136"/>
                <a:gd name="T13" fmla="*/ 106 h 264"/>
                <a:gd name="T14" fmla="*/ 132 w 136"/>
                <a:gd name="T15" fmla="*/ 148 h 264"/>
                <a:gd name="T16" fmla="*/ 48 w 136"/>
                <a:gd name="T17" fmla="*/ 148 h 264"/>
                <a:gd name="T18" fmla="*/ 48 w 136"/>
                <a:gd name="T19" fmla="*/ 220 h 264"/>
                <a:gd name="T20" fmla="*/ 136 w 136"/>
                <a:gd name="T21" fmla="*/ 220 h 264"/>
                <a:gd name="T22" fmla="*/ 136 w 136"/>
                <a:gd name="T23" fmla="*/ 264 h 264"/>
                <a:gd name="T24" fmla="*/ 0 w 136"/>
                <a:gd name="T25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264">
                  <a:moveTo>
                    <a:pt x="0" y="264"/>
                  </a:moveTo>
                  <a:lnTo>
                    <a:pt x="0" y="0"/>
                  </a:lnTo>
                  <a:lnTo>
                    <a:pt x="136" y="0"/>
                  </a:lnTo>
                  <a:lnTo>
                    <a:pt x="136" y="42"/>
                  </a:lnTo>
                  <a:lnTo>
                    <a:pt x="48" y="42"/>
                  </a:lnTo>
                  <a:lnTo>
                    <a:pt x="48" y="106"/>
                  </a:lnTo>
                  <a:lnTo>
                    <a:pt x="132" y="106"/>
                  </a:lnTo>
                  <a:lnTo>
                    <a:pt x="132" y="148"/>
                  </a:lnTo>
                  <a:lnTo>
                    <a:pt x="48" y="148"/>
                  </a:lnTo>
                  <a:lnTo>
                    <a:pt x="48" y="220"/>
                  </a:lnTo>
                  <a:lnTo>
                    <a:pt x="136" y="220"/>
                  </a:lnTo>
                  <a:lnTo>
                    <a:pt x="136" y="264"/>
                  </a:lnTo>
                  <a:lnTo>
                    <a:pt x="0" y="2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auto">
            <a:xfrm>
              <a:off x="3655" y="3562"/>
              <a:ext cx="182" cy="272"/>
            </a:xfrm>
            <a:custGeom>
              <a:avLst/>
              <a:gdLst>
                <a:gd name="T0" fmla="*/ 150 w 182"/>
                <a:gd name="T1" fmla="*/ 268 h 272"/>
                <a:gd name="T2" fmla="*/ 116 w 182"/>
                <a:gd name="T3" fmla="*/ 272 h 272"/>
                <a:gd name="T4" fmla="*/ 100 w 182"/>
                <a:gd name="T5" fmla="*/ 270 h 272"/>
                <a:gd name="T6" fmla="*/ 74 w 182"/>
                <a:gd name="T7" fmla="*/ 266 h 272"/>
                <a:gd name="T8" fmla="*/ 62 w 182"/>
                <a:gd name="T9" fmla="*/ 260 h 272"/>
                <a:gd name="T10" fmla="*/ 42 w 182"/>
                <a:gd name="T11" fmla="*/ 248 h 272"/>
                <a:gd name="T12" fmla="*/ 26 w 182"/>
                <a:gd name="T13" fmla="*/ 232 h 272"/>
                <a:gd name="T14" fmla="*/ 14 w 182"/>
                <a:gd name="T15" fmla="*/ 214 h 272"/>
                <a:gd name="T16" fmla="*/ 6 w 182"/>
                <a:gd name="T17" fmla="*/ 192 h 272"/>
                <a:gd name="T18" fmla="*/ 0 w 182"/>
                <a:gd name="T19" fmla="*/ 144 h 272"/>
                <a:gd name="T20" fmla="*/ 2 w 182"/>
                <a:gd name="T21" fmla="*/ 114 h 272"/>
                <a:gd name="T22" fmla="*/ 8 w 182"/>
                <a:gd name="T23" fmla="*/ 86 h 272"/>
                <a:gd name="T24" fmla="*/ 18 w 182"/>
                <a:gd name="T25" fmla="*/ 62 h 272"/>
                <a:gd name="T26" fmla="*/ 32 w 182"/>
                <a:gd name="T27" fmla="*/ 40 h 272"/>
                <a:gd name="T28" fmla="*/ 40 w 182"/>
                <a:gd name="T29" fmla="*/ 32 h 272"/>
                <a:gd name="T30" fmla="*/ 60 w 182"/>
                <a:gd name="T31" fmla="*/ 18 h 272"/>
                <a:gd name="T32" fmla="*/ 70 w 182"/>
                <a:gd name="T33" fmla="*/ 12 h 272"/>
                <a:gd name="T34" fmla="*/ 96 w 182"/>
                <a:gd name="T35" fmla="*/ 4 h 272"/>
                <a:gd name="T36" fmla="*/ 126 w 182"/>
                <a:gd name="T37" fmla="*/ 0 h 272"/>
                <a:gd name="T38" fmla="*/ 154 w 182"/>
                <a:gd name="T39" fmla="*/ 2 h 272"/>
                <a:gd name="T40" fmla="*/ 180 w 182"/>
                <a:gd name="T41" fmla="*/ 8 h 272"/>
                <a:gd name="T42" fmla="*/ 172 w 182"/>
                <a:gd name="T43" fmla="*/ 56 h 272"/>
                <a:gd name="T44" fmla="*/ 124 w 182"/>
                <a:gd name="T45" fmla="*/ 46 h 272"/>
                <a:gd name="T46" fmla="*/ 106 w 182"/>
                <a:gd name="T47" fmla="*/ 48 h 272"/>
                <a:gd name="T48" fmla="*/ 92 w 182"/>
                <a:gd name="T49" fmla="*/ 52 h 272"/>
                <a:gd name="T50" fmla="*/ 70 w 182"/>
                <a:gd name="T51" fmla="*/ 72 h 272"/>
                <a:gd name="T52" fmla="*/ 64 w 182"/>
                <a:gd name="T53" fmla="*/ 84 h 272"/>
                <a:gd name="T54" fmla="*/ 58 w 182"/>
                <a:gd name="T55" fmla="*/ 100 h 272"/>
                <a:gd name="T56" fmla="*/ 54 w 182"/>
                <a:gd name="T57" fmla="*/ 136 h 272"/>
                <a:gd name="T58" fmla="*/ 54 w 182"/>
                <a:gd name="T59" fmla="*/ 156 h 272"/>
                <a:gd name="T60" fmla="*/ 64 w 182"/>
                <a:gd name="T61" fmla="*/ 188 h 272"/>
                <a:gd name="T62" fmla="*/ 70 w 182"/>
                <a:gd name="T63" fmla="*/ 202 h 272"/>
                <a:gd name="T64" fmla="*/ 94 w 182"/>
                <a:gd name="T65" fmla="*/ 218 h 272"/>
                <a:gd name="T66" fmla="*/ 126 w 182"/>
                <a:gd name="T67" fmla="*/ 224 h 272"/>
                <a:gd name="T68" fmla="*/ 138 w 182"/>
                <a:gd name="T69" fmla="*/ 224 h 272"/>
                <a:gd name="T70" fmla="*/ 152 w 182"/>
                <a:gd name="T71" fmla="*/ 222 h 272"/>
                <a:gd name="T72" fmla="*/ 174 w 182"/>
                <a:gd name="T73" fmla="*/ 214 h 272"/>
                <a:gd name="T74" fmla="*/ 182 w 182"/>
                <a:gd name="T75" fmla="*/ 258 h 272"/>
                <a:gd name="T76" fmla="*/ 150 w 182"/>
                <a:gd name="T77" fmla="*/ 268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2" h="272">
                  <a:moveTo>
                    <a:pt x="150" y="268"/>
                  </a:moveTo>
                  <a:lnTo>
                    <a:pt x="150" y="268"/>
                  </a:lnTo>
                  <a:lnTo>
                    <a:pt x="134" y="270"/>
                  </a:lnTo>
                  <a:lnTo>
                    <a:pt x="116" y="272"/>
                  </a:lnTo>
                  <a:lnTo>
                    <a:pt x="116" y="272"/>
                  </a:lnTo>
                  <a:lnTo>
                    <a:pt x="100" y="270"/>
                  </a:lnTo>
                  <a:lnTo>
                    <a:pt x="86" y="268"/>
                  </a:lnTo>
                  <a:lnTo>
                    <a:pt x="74" y="266"/>
                  </a:lnTo>
                  <a:lnTo>
                    <a:pt x="62" y="260"/>
                  </a:lnTo>
                  <a:lnTo>
                    <a:pt x="62" y="260"/>
                  </a:lnTo>
                  <a:lnTo>
                    <a:pt x="50" y="254"/>
                  </a:lnTo>
                  <a:lnTo>
                    <a:pt x="42" y="248"/>
                  </a:lnTo>
                  <a:lnTo>
                    <a:pt x="34" y="240"/>
                  </a:lnTo>
                  <a:lnTo>
                    <a:pt x="26" y="232"/>
                  </a:lnTo>
                  <a:lnTo>
                    <a:pt x="26" y="232"/>
                  </a:lnTo>
                  <a:lnTo>
                    <a:pt x="14" y="214"/>
                  </a:lnTo>
                  <a:lnTo>
                    <a:pt x="6" y="192"/>
                  </a:lnTo>
                  <a:lnTo>
                    <a:pt x="6" y="192"/>
                  </a:lnTo>
                  <a:lnTo>
                    <a:pt x="2" y="168"/>
                  </a:lnTo>
                  <a:lnTo>
                    <a:pt x="0" y="144"/>
                  </a:lnTo>
                  <a:lnTo>
                    <a:pt x="0" y="144"/>
                  </a:lnTo>
                  <a:lnTo>
                    <a:pt x="2" y="114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12" y="74"/>
                  </a:lnTo>
                  <a:lnTo>
                    <a:pt x="18" y="62"/>
                  </a:lnTo>
                  <a:lnTo>
                    <a:pt x="24" y="5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40" y="32"/>
                  </a:lnTo>
                  <a:lnTo>
                    <a:pt x="50" y="24"/>
                  </a:lnTo>
                  <a:lnTo>
                    <a:pt x="60" y="18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84" y="6"/>
                  </a:lnTo>
                  <a:lnTo>
                    <a:pt x="96" y="4"/>
                  </a:lnTo>
                  <a:lnTo>
                    <a:pt x="110" y="2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54" y="2"/>
                  </a:lnTo>
                  <a:lnTo>
                    <a:pt x="154" y="2"/>
                  </a:lnTo>
                  <a:lnTo>
                    <a:pt x="180" y="8"/>
                  </a:lnTo>
                  <a:lnTo>
                    <a:pt x="172" y="56"/>
                  </a:lnTo>
                  <a:lnTo>
                    <a:pt x="172" y="56"/>
                  </a:lnTo>
                  <a:lnTo>
                    <a:pt x="148" y="48"/>
                  </a:lnTo>
                  <a:lnTo>
                    <a:pt x="124" y="46"/>
                  </a:lnTo>
                  <a:lnTo>
                    <a:pt x="124" y="46"/>
                  </a:lnTo>
                  <a:lnTo>
                    <a:pt x="106" y="48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80" y="60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64" y="84"/>
                  </a:lnTo>
                  <a:lnTo>
                    <a:pt x="58" y="100"/>
                  </a:lnTo>
                  <a:lnTo>
                    <a:pt x="58" y="100"/>
                  </a:lnTo>
                  <a:lnTo>
                    <a:pt x="54" y="116"/>
                  </a:lnTo>
                  <a:lnTo>
                    <a:pt x="54" y="136"/>
                  </a:lnTo>
                  <a:lnTo>
                    <a:pt x="54" y="136"/>
                  </a:lnTo>
                  <a:lnTo>
                    <a:pt x="54" y="156"/>
                  </a:lnTo>
                  <a:lnTo>
                    <a:pt x="58" y="174"/>
                  </a:lnTo>
                  <a:lnTo>
                    <a:pt x="64" y="188"/>
                  </a:lnTo>
                  <a:lnTo>
                    <a:pt x="70" y="202"/>
                  </a:lnTo>
                  <a:lnTo>
                    <a:pt x="70" y="202"/>
                  </a:lnTo>
                  <a:lnTo>
                    <a:pt x="80" y="212"/>
                  </a:lnTo>
                  <a:lnTo>
                    <a:pt x="94" y="218"/>
                  </a:lnTo>
                  <a:lnTo>
                    <a:pt x="108" y="224"/>
                  </a:lnTo>
                  <a:lnTo>
                    <a:pt x="126" y="224"/>
                  </a:lnTo>
                  <a:lnTo>
                    <a:pt x="126" y="224"/>
                  </a:lnTo>
                  <a:lnTo>
                    <a:pt x="138" y="224"/>
                  </a:lnTo>
                  <a:lnTo>
                    <a:pt x="152" y="222"/>
                  </a:lnTo>
                  <a:lnTo>
                    <a:pt x="152" y="222"/>
                  </a:lnTo>
                  <a:lnTo>
                    <a:pt x="164" y="218"/>
                  </a:lnTo>
                  <a:lnTo>
                    <a:pt x="174" y="214"/>
                  </a:lnTo>
                  <a:lnTo>
                    <a:pt x="182" y="258"/>
                  </a:lnTo>
                  <a:lnTo>
                    <a:pt x="182" y="258"/>
                  </a:lnTo>
                  <a:lnTo>
                    <a:pt x="166" y="264"/>
                  </a:lnTo>
                  <a:lnTo>
                    <a:pt x="150" y="268"/>
                  </a:lnTo>
                  <a:lnTo>
                    <a:pt x="150" y="26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3877" y="3564"/>
              <a:ext cx="180" cy="266"/>
            </a:xfrm>
            <a:custGeom>
              <a:avLst/>
              <a:gdLst>
                <a:gd name="T0" fmla="*/ 52 w 180"/>
                <a:gd name="T1" fmla="*/ 156 h 266"/>
                <a:gd name="T2" fmla="*/ 48 w 180"/>
                <a:gd name="T3" fmla="*/ 266 h 266"/>
                <a:gd name="T4" fmla="*/ 0 w 180"/>
                <a:gd name="T5" fmla="*/ 2 h 266"/>
                <a:gd name="T6" fmla="*/ 32 w 180"/>
                <a:gd name="T7" fmla="*/ 0 h 266"/>
                <a:gd name="T8" fmla="*/ 72 w 180"/>
                <a:gd name="T9" fmla="*/ 0 h 266"/>
                <a:gd name="T10" fmla="*/ 92 w 180"/>
                <a:gd name="T11" fmla="*/ 0 h 266"/>
                <a:gd name="T12" fmla="*/ 110 w 180"/>
                <a:gd name="T13" fmla="*/ 4 h 266"/>
                <a:gd name="T14" fmla="*/ 138 w 180"/>
                <a:gd name="T15" fmla="*/ 16 h 266"/>
                <a:gd name="T16" fmla="*/ 148 w 180"/>
                <a:gd name="T17" fmla="*/ 26 h 266"/>
                <a:gd name="T18" fmla="*/ 156 w 180"/>
                <a:gd name="T19" fmla="*/ 40 h 266"/>
                <a:gd name="T20" fmla="*/ 164 w 180"/>
                <a:gd name="T21" fmla="*/ 74 h 266"/>
                <a:gd name="T22" fmla="*/ 162 w 180"/>
                <a:gd name="T23" fmla="*/ 88 h 266"/>
                <a:gd name="T24" fmla="*/ 158 w 180"/>
                <a:gd name="T25" fmla="*/ 102 h 266"/>
                <a:gd name="T26" fmla="*/ 146 w 180"/>
                <a:gd name="T27" fmla="*/ 124 h 266"/>
                <a:gd name="T28" fmla="*/ 136 w 180"/>
                <a:gd name="T29" fmla="*/ 132 h 266"/>
                <a:gd name="T30" fmla="*/ 126 w 180"/>
                <a:gd name="T31" fmla="*/ 140 h 266"/>
                <a:gd name="T32" fmla="*/ 102 w 180"/>
                <a:gd name="T33" fmla="*/ 148 h 266"/>
                <a:gd name="T34" fmla="*/ 112 w 180"/>
                <a:gd name="T35" fmla="*/ 162 h 266"/>
                <a:gd name="T36" fmla="*/ 122 w 180"/>
                <a:gd name="T37" fmla="*/ 176 h 266"/>
                <a:gd name="T38" fmla="*/ 120 w 180"/>
                <a:gd name="T39" fmla="*/ 266 h 266"/>
                <a:gd name="T40" fmla="*/ 112 w 180"/>
                <a:gd name="T41" fmla="*/ 80 h 266"/>
                <a:gd name="T42" fmla="*/ 110 w 180"/>
                <a:gd name="T43" fmla="*/ 62 h 266"/>
                <a:gd name="T44" fmla="*/ 102 w 180"/>
                <a:gd name="T45" fmla="*/ 52 h 266"/>
                <a:gd name="T46" fmla="*/ 88 w 180"/>
                <a:gd name="T47" fmla="*/ 44 h 266"/>
                <a:gd name="T48" fmla="*/ 68 w 180"/>
                <a:gd name="T49" fmla="*/ 42 h 266"/>
                <a:gd name="T50" fmla="*/ 58 w 180"/>
                <a:gd name="T51" fmla="*/ 42 h 266"/>
                <a:gd name="T52" fmla="*/ 48 w 180"/>
                <a:gd name="T53" fmla="*/ 42 h 266"/>
                <a:gd name="T54" fmla="*/ 48 w 180"/>
                <a:gd name="T55" fmla="*/ 118 h 266"/>
                <a:gd name="T56" fmla="*/ 56 w 180"/>
                <a:gd name="T57" fmla="*/ 120 h 266"/>
                <a:gd name="T58" fmla="*/ 66 w 180"/>
                <a:gd name="T59" fmla="*/ 120 h 266"/>
                <a:gd name="T60" fmla="*/ 86 w 180"/>
                <a:gd name="T61" fmla="*/ 116 h 266"/>
                <a:gd name="T62" fmla="*/ 100 w 180"/>
                <a:gd name="T63" fmla="*/ 108 h 266"/>
                <a:gd name="T64" fmla="*/ 106 w 180"/>
                <a:gd name="T65" fmla="*/ 104 h 266"/>
                <a:gd name="T66" fmla="*/ 112 w 180"/>
                <a:gd name="T67" fmla="*/ 88 h 266"/>
                <a:gd name="T68" fmla="*/ 112 w 180"/>
                <a:gd name="T69" fmla="*/ 8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0" h="266">
                  <a:moveTo>
                    <a:pt x="120" y="266"/>
                  </a:moveTo>
                  <a:lnTo>
                    <a:pt x="52" y="156"/>
                  </a:lnTo>
                  <a:lnTo>
                    <a:pt x="48" y="156"/>
                  </a:lnTo>
                  <a:lnTo>
                    <a:pt x="48" y="266"/>
                  </a:lnTo>
                  <a:lnTo>
                    <a:pt x="0" y="266"/>
                  </a:lnTo>
                  <a:lnTo>
                    <a:pt x="0" y="2"/>
                  </a:lnTo>
                  <a:lnTo>
                    <a:pt x="0" y="2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92" y="0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26" y="8"/>
                  </a:lnTo>
                  <a:lnTo>
                    <a:pt x="138" y="16"/>
                  </a:lnTo>
                  <a:lnTo>
                    <a:pt x="138" y="16"/>
                  </a:lnTo>
                  <a:lnTo>
                    <a:pt x="148" y="26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62" y="56"/>
                  </a:lnTo>
                  <a:lnTo>
                    <a:pt x="164" y="74"/>
                  </a:lnTo>
                  <a:lnTo>
                    <a:pt x="164" y="74"/>
                  </a:lnTo>
                  <a:lnTo>
                    <a:pt x="162" y="88"/>
                  </a:lnTo>
                  <a:lnTo>
                    <a:pt x="158" y="102"/>
                  </a:lnTo>
                  <a:lnTo>
                    <a:pt x="158" y="102"/>
                  </a:lnTo>
                  <a:lnTo>
                    <a:pt x="154" y="114"/>
                  </a:lnTo>
                  <a:lnTo>
                    <a:pt x="146" y="124"/>
                  </a:lnTo>
                  <a:lnTo>
                    <a:pt x="146" y="124"/>
                  </a:lnTo>
                  <a:lnTo>
                    <a:pt x="136" y="132"/>
                  </a:lnTo>
                  <a:lnTo>
                    <a:pt x="126" y="140"/>
                  </a:lnTo>
                  <a:lnTo>
                    <a:pt x="126" y="140"/>
                  </a:lnTo>
                  <a:lnTo>
                    <a:pt x="114" y="144"/>
                  </a:lnTo>
                  <a:lnTo>
                    <a:pt x="102" y="148"/>
                  </a:lnTo>
                  <a:lnTo>
                    <a:pt x="102" y="148"/>
                  </a:lnTo>
                  <a:lnTo>
                    <a:pt x="112" y="162"/>
                  </a:lnTo>
                  <a:lnTo>
                    <a:pt x="112" y="162"/>
                  </a:lnTo>
                  <a:lnTo>
                    <a:pt x="122" y="176"/>
                  </a:lnTo>
                  <a:lnTo>
                    <a:pt x="180" y="266"/>
                  </a:lnTo>
                  <a:lnTo>
                    <a:pt x="120" y="266"/>
                  </a:lnTo>
                  <a:close/>
                  <a:moveTo>
                    <a:pt x="112" y="80"/>
                  </a:moveTo>
                  <a:lnTo>
                    <a:pt x="112" y="80"/>
                  </a:lnTo>
                  <a:lnTo>
                    <a:pt x="112" y="70"/>
                  </a:lnTo>
                  <a:lnTo>
                    <a:pt x="110" y="62"/>
                  </a:lnTo>
                  <a:lnTo>
                    <a:pt x="106" y="56"/>
                  </a:lnTo>
                  <a:lnTo>
                    <a:pt x="102" y="52"/>
                  </a:lnTo>
                  <a:lnTo>
                    <a:pt x="96" y="46"/>
                  </a:lnTo>
                  <a:lnTo>
                    <a:pt x="88" y="44"/>
                  </a:lnTo>
                  <a:lnTo>
                    <a:pt x="78" y="42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48" y="42"/>
                  </a:lnTo>
                  <a:lnTo>
                    <a:pt x="48" y="118"/>
                  </a:lnTo>
                  <a:lnTo>
                    <a:pt x="48" y="118"/>
                  </a:lnTo>
                  <a:lnTo>
                    <a:pt x="56" y="120"/>
                  </a:lnTo>
                  <a:lnTo>
                    <a:pt x="56" y="120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76" y="118"/>
                  </a:lnTo>
                  <a:lnTo>
                    <a:pt x="86" y="116"/>
                  </a:lnTo>
                  <a:lnTo>
                    <a:pt x="94" y="114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6" y="104"/>
                  </a:lnTo>
                  <a:lnTo>
                    <a:pt x="110" y="96"/>
                  </a:lnTo>
                  <a:lnTo>
                    <a:pt x="112" y="88"/>
                  </a:lnTo>
                  <a:lnTo>
                    <a:pt x="112" y="80"/>
                  </a:lnTo>
                  <a:lnTo>
                    <a:pt x="112" y="8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Freeform 12"/>
            <p:cNvSpPr>
              <a:spLocks/>
            </p:cNvSpPr>
            <p:nvPr userDrawn="1"/>
          </p:nvSpPr>
          <p:spPr bwMode="auto">
            <a:xfrm>
              <a:off x="4087" y="3566"/>
              <a:ext cx="136" cy="264"/>
            </a:xfrm>
            <a:custGeom>
              <a:avLst/>
              <a:gdLst>
                <a:gd name="T0" fmla="*/ 0 w 136"/>
                <a:gd name="T1" fmla="*/ 264 h 264"/>
                <a:gd name="T2" fmla="*/ 0 w 136"/>
                <a:gd name="T3" fmla="*/ 0 h 264"/>
                <a:gd name="T4" fmla="*/ 136 w 136"/>
                <a:gd name="T5" fmla="*/ 0 h 264"/>
                <a:gd name="T6" fmla="*/ 136 w 136"/>
                <a:gd name="T7" fmla="*/ 42 h 264"/>
                <a:gd name="T8" fmla="*/ 48 w 136"/>
                <a:gd name="T9" fmla="*/ 42 h 264"/>
                <a:gd name="T10" fmla="*/ 48 w 136"/>
                <a:gd name="T11" fmla="*/ 106 h 264"/>
                <a:gd name="T12" fmla="*/ 132 w 136"/>
                <a:gd name="T13" fmla="*/ 106 h 264"/>
                <a:gd name="T14" fmla="*/ 132 w 136"/>
                <a:gd name="T15" fmla="*/ 148 h 264"/>
                <a:gd name="T16" fmla="*/ 48 w 136"/>
                <a:gd name="T17" fmla="*/ 148 h 264"/>
                <a:gd name="T18" fmla="*/ 48 w 136"/>
                <a:gd name="T19" fmla="*/ 220 h 264"/>
                <a:gd name="T20" fmla="*/ 136 w 136"/>
                <a:gd name="T21" fmla="*/ 220 h 264"/>
                <a:gd name="T22" fmla="*/ 136 w 136"/>
                <a:gd name="T23" fmla="*/ 264 h 264"/>
                <a:gd name="T24" fmla="*/ 0 w 136"/>
                <a:gd name="T25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264">
                  <a:moveTo>
                    <a:pt x="0" y="264"/>
                  </a:moveTo>
                  <a:lnTo>
                    <a:pt x="0" y="0"/>
                  </a:lnTo>
                  <a:lnTo>
                    <a:pt x="136" y="0"/>
                  </a:lnTo>
                  <a:lnTo>
                    <a:pt x="136" y="42"/>
                  </a:lnTo>
                  <a:lnTo>
                    <a:pt x="48" y="42"/>
                  </a:lnTo>
                  <a:lnTo>
                    <a:pt x="48" y="106"/>
                  </a:lnTo>
                  <a:lnTo>
                    <a:pt x="132" y="106"/>
                  </a:lnTo>
                  <a:lnTo>
                    <a:pt x="132" y="148"/>
                  </a:lnTo>
                  <a:lnTo>
                    <a:pt x="48" y="148"/>
                  </a:lnTo>
                  <a:lnTo>
                    <a:pt x="48" y="220"/>
                  </a:lnTo>
                  <a:lnTo>
                    <a:pt x="136" y="220"/>
                  </a:lnTo>
                  <a:lnTo>
                    <a:pt x="136" y="264"/>
                  </a:lnTo>
                  <a:lnTo>
                    <a:pt x="0" y="2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4251" y="3566"/>
              <a:ext cx="178" cy="264"/>
            </a:xfrm>
            <a:custGeom>
              <a:avLst/>
              <a:gdLst>
                <a:gd name="T0" fmla="*/ 112 w 178"/>
                <a:gd name="T1" fmla="*/ 42 h 264"/>
                <a:gd name="T2" fmla="*/ 112 w 178"/>
                <a:gd name="T3" fmla="*/ 264 h 264"/>
                <a:gd name="T4" fmla="*/ 64 w 178"/>
                <a:gd name="T5" fmla="*/ 264 h 264"/>
                <a:gd name="T6" fmla="*/ 64 w 178"/>
                <a:gd name="T7" fmla="*/ 42 h 264"/>
                <a:gd name="T8" fmla="*/ 0 w 178"/>
                <a:gd name="T9" fmla="*/ 42 h 264"/>
                <a:gd name="T10" fmla="*/ 0 w 178"/>
                <a:gd name="T11" fmla="*/ 0 h 264"/>
                <a:gd name="T12" fmla="*/ 178 w 178"/>
                <a:gd name="T13" fmla="*/ 0 h 264"/>
                <a:gd name="T14" fmla="*/ 178 w 178"/>
                <a:gd name="T15" fmla="*/ 42 h 264"/>
                <a:gd name="T16" fmla="*/ 112 w 178"/>
                <a:gd name="T17" fmla="*/ 4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8" h="264">
                  <a:moveTo>
                    <a:pt x="112" y="42"/>
                  </a:moveTo>
                  <a:lnTo>
                    <a:pt x="112" y="264"/>
                  </a:lnTo>
                  <a:lnTo>
                    <a:pt x="64" y="264"/>
                  </a:lnTo>
                  <a:lnTo>
                    <a:pt x="64" y="42"/>
                  </a:lnTo>
                  <a:lnTo>
                    <a:pt x="0" y="42"/>
                  </a:lnTo>
                  <a:lnTo>
                    <a:pt x="0" y="0"/>
                  </a:lnTo>
                  <a:lnTo>
                    <a:pt x="178" y="0"/>
                  </a:lnTo>
                  <a:lnTo>
                    <a:pt x="178" y="42"/>
                  </a:lnTo>
                  <a:lnTo>
                    <a:pt x="112" y="4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3287" y="3560"/>
              <a:ext cx="158" cy="274"/>
            </a:xfrm>
            <a:custGeom>
              <a:avLst/>
              <a:gdLst>
                <a:gd name="T0" fmla="*/ 158 w 158"/>
                <a:gd name="T1" fmla="*/ 188 h 274"/>
                <a:gd name="T2" fmla="*/ 152 w 158"/>
                <a:gd name="T3" fmla="*/ 222 h 274"/>
                <a:gd name="T4" fmla="*/ 144 w 158"/>
                <a:gd name="T5" fmla="*/ 238 h 274"/>
                <a:gd name="T6" fmla="*/ 132 w 158"/>
                <a:gd name="T7" fmla="*/ 250 h 274"/>
                <a:gd name="T8" fmla="*/ 102 w 158"/>
                <a:gd name="T9" fmla="*/ 268 h 274"/>
                <a:gd name="T10" fmla="*/ 82 w 158"/>
                <a:gd name="T11" fmla="*/ 272 h 274"/>
                <a:gd name="T12" fmla="*/ 62 w 158"/>
                <a:gd name="T13" fmla="*/ 274 h 274"/>
                <a:gd name="T14" fmla="*/ 4 w 158"/>
                <a:gd name="T15" fmla="*/ 268 h 274"/>
                <a:gd name="T16" fmla="*/ 10 w 158"/>
                <a:gd name="T17" fmla="*/ 218 h 274"/>
                <a:gd name="T18" fmla="*/ 34 w 158"/>
                <a:gd name="T19" fmla="*/ 226 h 274"/>
                <a:gd name="T20" fmla="*/ 48 w 158"/>
                <a:gd name="T21" fmla="*/ 228 h 274"/>
                <a:gd name="T22" fmla="*/ 64 w 158"/>
                <a:gd name="T23" fmla="*/ 230 h 274"/>
                <a:gd name="T24" fmla="*/ 80 w 158"/>
                <a:gd name="T25" fmla="*/ 228 h 274"/>
                <a:gd name="T26" fmla="*/ 94 w 158"/>
                <a:gd name="T27" fmla="*/ 222 h 274"/>
                <a:gd name="T28" fmla="*/ 98 w 158"/>
                <a:gd name="T29" fmla="*/ 216 h 274"/>
                <a:gd name="T30" fmla="*/ 102 w 158"/>
                <a:gd name="T31" fmla="*/ 210 h 274"/>
                <a:gd name="T32" fmla="*/ 106 w 158"/>
                <a:gd name="T33" fmla="*/ 194 h 274"/>
                <a:gd name="T34" fmla="*/ 104 w 158"/>
                <a:gd name="T35" fmla="*/ 184 h 274"/>
                <a:gd name="T36" fmla="*/ 98 w 158"/>
                <a:gd name="T37" fmla="*/ 174 h 274"/>
                <a:gd name="T38" fmla="*/ 78 w 158"/>
                <a:gd name="T39" fmla="*/ 162 h 274"/>
                <a:gd name="T40" fmla="*/ 54 w 158"/>
                <a:gd name="T41" fmla="*/ 152 h 274"/>
                <a:gd name="T42" fmla="*/ 40 w 158"/>
                <a:gd name="T43" fmla="*/ 146 h 274"/>
                <a:gd name="T44" fmla="*/ 28 w 158"/>
                <a:gd name="T45" fmla="*/ 138 h 274"/>
                <a:gd name="T46" fmla="*/ 8 w 158"/>
                <a:gd name="T47" fmla="*/ 116 h 274"/>
                <a:gd name="T48" fmla="*/ 4 w 158"/>
                <a:gd name="T49" fmla="*/ 108 h 274"/>
                <a:gd name="T50" fmla="*/ 0 w 158"/>
                <a:gd name="T51" fmla="*/ 80 h 274"/>
                <a:gd name="T52" fmla="*/ 2 w 158"/>
                <a:gd name="T53" fmla="*/ 64 h 274"/>
                <a:gd name="T54" fmla="*/ 6 w 158"/>
                <a:gd name="T55" fmla="*/ 48 h 274"/>
                <a:gd name="T56" fmla="*/ 24 w 158"/>
                <a:gd name="T57" fmla="*/ 24 h 274"/>
                <a:gd name="T58" fmla="*/ 38 w 158"/>
                <a:gd name="T59" fmla="*/ 14 h 274"/>
                <a:gd name="T60" fmla="*/ 54 w 158"/>
                <a:gd name="T61" fmla="*/ 6 h 274"/>
                <a:gd name="T62" fmla="*/ 94 w 158"/>
                <a:gd name="T63" fmla="*/ 0 h 274"/>
                <a:gd name="T64" fmla="*/ 118 w 158"/>
                <a:gd name="T65" fmla="*/ 2 h 274"/>
                <a:gd name="T66" fmla="*/ 140 w 158"/>
                <a:gd name="T67" fmla="*/ 6 h 274"/>
                <a:gd name="T68" fmla="*/ 136 w 158"/>
                <a:gd name="T69" fmla="*/ 50 h 274"/>
                <a:gd name="T70" fmla="*/ 114 w 158"/>
                <a:gd name="T71" fmla="*/ 44 h 274"/>
                <a:gd name="T72" fmla="*/ 92 w 158"/>
                <a:gd name="T73" fmla="*/ 42 h 274"/>
                <a:gd name="T74" fmla="*/ 74 w 158"/>
                <a:gd name="T75" fmla="*/ 46 h 274"/>
                <a:gd name="T76" fmla="*/ 62 w 158"/>
                <a:gd name="T77" fmla="*/ 52 h 274"/>
                <a:gd name="T78" fmla="*/ 58 w 158"/>
                <a:gd name="T79" fmla="*/ 56 h 274"/>
                <a:gd name="T80" fmla="*/ 52 w 158"/>
                <a:gd name="T81" fmla="*/ 68 h 274"/>
                <a:gd name="T82" fmla="*/ 52 w 158"/>
                <a:gd name="T83" fmla="*/ 74 h 274"/>
                <a:gd name="T84" fmla="*/ 60 w 158"/>
                <a:gd name="T85" fmla="*/ 94 h 274"/>
                <a:gd name="T86" fmla="*/ 68 w 158"/>
                <a:gd name="T87" fmla="*/ 100 h 274"/>
                <a:gd name="T88" fmla="*/ 80 w 158"/>
                <a:gd name="T89" fmla="*/ 106 h 274"/>
                <a:gd name="T90" fmla="*/ 106 w 158"/>
                <a:gd name="T91" fmla="*/ 118 h 274"/>
                <a:gd name="T92" fmla="*/ 130 w 158"/>
                <a:gd name="T93" fmla="*/ 132 h 274"/>
                <a:gd name="T94" fmla="*/ 142 w 158"/>
                <a:gd name="T95" fmla="*/ 142 h 274"/>
                <a:gd name="T96" fmla="*/ 150 w 158"/>
                <a:gd name="T97" fmla="*/ 154 h 274"/>
                <a:gd name="T98" fmla="*/ 156 w 158"/>
                <a:gd name="T99" fmla="*/ 170 h 274"/>
                <a:gd name="T100" fmla="*/ 158 w 158"/>
                <a:gd name="T101" fmla="*/ 188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8" h="274">
                  <a:moveTo>
                    <a:pt x="158" y="188"/>
                  </a:moveTo>
                  <a:lnTo>
                    <a:pt x="158" y="188"/>
                  </a:lnTo>
                  <a:lnTo>
                    <a:pt x="156" y="206"/>
                  </a:lnTo>
                  <a:lnTo>
                    <a:pt x="152" y="222"/>
                  </a:lnTo>
                  <a:lnTo>
                    <a:pt x="152" y="222"/>
                  </a:lnTo>
                  <a:lnTo>
                    <a:pt x="144" y="238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18" y="260"/>
                  </a:lnTo>
                  <a:lnTo>
                    <a:pt x="102" y="268"/>
                  </a:lnTo>
                  <a:lnTo>
                    <a:pt x="102" y="268"/>
                  </a:lnTo>
                  <a:lnTo>
                    <a:pt x="82" y="272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30" y="272"/>
                  </a:lnTo>
                  <a:lnTo>
                    <a:pt x="4" y="268"/>
                  </a:lnTo>
                  <a:lnTo>
                    <a:pt x="10" y="218"/>
                  </a:lnTo>
                  <a:lnTo>
                    <a:pt x="10" y="218"/>
                  </a:lnTo>
                  <a:lnTo>
                    <a:pt x="22" y="222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48" y="228"/>
                  </a:lnTo>
                  <a:lnTo>
                    <a:pt x="64" y="230"/>
                  </a:lnTo>
                  <a:lnTo>
                    <a:pt x="64" y="230"/>
                  </a:lnTo>
                  <a:lnTo>
                    <a:pt x="80" y="228"/>
                  </a:lnTo>
                  <a:lnTo>
                    <a:pt x="80" y="228"/>
                  </a:lnTo>
                  <a:lnTo>
                    <a:pt x="88" y="226"/>
                  </a:lnTo>
                  <a:lnTo>
                    <a:pt x="94" y="222"/>
                  </a:lnTo>
                  <a:lnTo>
                    <a:pt x="94" y="222"/>
                  </a:lnTo>
                  <a:lnTo>
                    <a:pt x="98" y="216"/>
                  </a:lnTo>
                  <a:lnTo>
                    <a:pt x="102" y="210"/>
                  </a:lnTo>
                  <a:lnTo>
                    <a:pt x="102" y="210"/>
                  </a:lnTo>
                  <a:lnTo>
                    <a:pt x="106" y="204"/>
                  </a:lnTo>
                  <a:lnTo>
                    <a:pt x="106" y="194"/>
                  </a:lnTo>
                  <a:lnTo>
                    <a:pt x="106" y="194"/>
                  </a:lnTo>
                  <a:lnTo>
                    <a:pt x="104" y="184"/>
                  </a:lnTo>
                  <a:lnTo>
                    <a:pt x="98" y="174"/>
                  </a:lnTo>
                  <a:lnTo>
                    <a:pt x="98" y="174"/>
                  </a:lnTo>
                  <a:lnTo>
                    <a:pt x="90" y="168"/>
                  </a:lnTo>
                  <a:lnTo>
                    <a:pt x="78" y="162"/>
                  </a:lnTo>
                  <a:lnTo>
                    <a:pt x="78" y="162"/>
                  </a:lnTo>
                  <a:lnTo>
                    <a:pt x="54" y="152"/>
                  </a:lnTo>
                  <a:lnTo>
                    <a:pt x="54" y="152"/>
                  </a:lnTo>
                  <a:lnTo>
                    <a:pt x="40" y="146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16" y="128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4" y="108"/>
                  </a:lnTo>
                  <a:lnTo>
                    <a:pt x="2" y="10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2" y="64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14" y="3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38" y="14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74" y="2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118" y="2"/>
                  </a:lnTo>
                  <a:lnTo>
                    <a:pt x="118" y="2"/>
                  </a:lnTo>
                  <a:lnTo>
                    <a:pt x="140" y="6"/>
                  </a:lnTo>
                  <a:lnTo>
                    <a:pt x="136" y="50"/>
                  </a:lnTo>
                  <a:lnTo>
                    <a:pt x="136" y="50"/>
                  </a:lnTo>
                  <a:lnTo>
                    <a:pt x="114" y="44"/>
                  </a:lnTo>
                  <a:lnTo>
                    <a:pt x="114" y="4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82" y="44"/>
                  </a:lnTo>
                  <a:lnTo>
                    <a:pt x="74" y="46"/>
                  </a:lnTo>
                  <a:lnTo>
                    <a:pt x="68" y="48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58" y="56"/>
                  </a:lnTo>
                  <a:lnTo>
                    <a:pt x="54" y="62"/>
                  </a:lnTo>
                  <a:lnTo>
                    <a:pt x="52" y="68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4" y="86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8" y="100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106" y="118"/>
                  </a:lnTo>
                  <a:lnTo>
                    <a:pt x="106" y="118"/>
                  </a:lnTo>
                  <a:lnTo>
                    <a:pt x="118" y="124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42" y="142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4" y="162"/>
                  </a:lnTo>
                  <a:lnTo>
                    <a:pt x="156" y="170"/>
                  </a:lnTo>
                  <a:lnTo>
                    <a:pt x="158" y="188"/>
                  </a:lnTo>
                  <a:lnTo>
                    <a:pt x="158" y="1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3485" y="3566"/>
              <a:ext cx="136" cy="264"/>
            </a:xfrm>
            <a:custGeom>
              <a:avLst/>
              <a:gdLst>
                <a:gd name="T0" fmla="*/ 0 w 136"/>
                <a:gd name="T1" fmla="*/ 264 h 264"/>
                <a:gd name="T2" fmla="*/ 0 w 136"/>
                <a:gd name="T3" fmla="*/ 0 h 264"/>
                <a:gd name="T4" fmla="*/ 136 w 136"/>
                <a:gd name="T5" fmla="*/ 0 h 264"/>
                <a:gd name="T6" fmla="*/ 136 w 136"/>
                <a:gd name="T7" fmla="*/ 42 h 264"/>
                <a:gd name="T8" fmla="*/ 48 w 136"/>
                <a:gd name="T9" fmla="*/ 42 h 264"/>
                <a:gd name="T10" fmla="*/ 48 w 136"/>
                <a:gd name="T11" fmla="*/ 106 h 264"/>
                <a:gd name="T12" fmla="*/ 132 w 136"/>
                <a:gd name="T13" fmla="*/ 106 h 264"/>
                <a:gd name="T14" fmla="*/ 132 w 136"/>
                <a:gd name="T15" fmla="*/ 148 h 264"/>
                <a:gd name="T16" fmla="*/ 48 w 136"/>
                <a:gd name="T17" fmla="*/ 148 h 264"/>
                <a:gd name="T18" fmla="*/ 48 w 136"/>
                <a:gd name="T19" fmla="*/ 220 h 264"/>
                <a:gd name="T20" fmla="*/ 136 w 136"/>
                <a:gd name="T21" fmla="*/ 220 h 264"/>
                <a:gd name="T22" fmla="*/ 136 w 136"/>
                <a:gd name="T23" fmla="*/ 264 h 264"/>
                <a:gd name="T24" fmla="*/ 0 w 136"/>
                <a:gd name="T25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264">
                  <a:moveTo>
                    <a:pt x="0" y="264"/>
                  </a:moveTo>
                  <a:lnTo>
                    <a:pt x="0" y="0"/>
                  </a:lnTo>
                  <a:lnTo>
                    <a:pt x="136" y="0"/>
                  </a:lnTo>
                  <a:lnTo>
                    <a:pt x="136" y="42"/>
                  </a:lnTo>
                  <a:lnTo>
                    <a:pt x="48" y="42"/>
                  </a:lnTo>
                  <a:lnTo>
                    <a:pt x="48" y="106"/>
                  </a:lnTo>
                  <a:lnTo>
                    <a:pt x="132" y="106"/>
                  </a:lnTo>
                  <a:lnTo>
                    <a:pt x="132" y="148"/>
                  </a:lnTo>
                  <a:lnTo>
                    <a:pt x="48" y="148"/>
                  </a:lnTo>
                  <a:lnTo>
                    <a:pt x="48" y="220"/>
                  </a:lnTo>
                  <a:lnTo>
                    <a:pt x="136" y="220"/>
                  </a:lnTo>
                  <a:lnTo>
                    <a:pt x="136" y="264"/>
                  </a:lnTo>
                  <a:lnTo>
                    <a:pt x="0" y="2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3655" y="3562"/>
              <a:ext cx="182" cy="272"/>
            </a:xfrm>
            <a:custGeom>
              <a:avLst/>
              <a:gdLst>
                <a:gd name="T0" fmla="*/ 150 w 182"/>
                <a:gd name="T1" fmla="*/ 268 h 272"/>
                <a:gd name="T2" fmla="*/ 116 w 182"/>
                <a:gd name="T3" fmla="*/ 272 h 272"/>
                <a:gd name="T4" fmla="*/ 100 w 182"/>
                <a:gd name="T5" fmla="*/ 270 h 272"/>
                <a:gd name="T6" fmla="*/ 74 w 182"/>
                <a:gd name="T7" fmla="*/ 266 h 272"/>
                <a:gd name="T8" fmla="*/ 62 w 182"/>
                <a:gd name="T9" fmla="*/ 260 h 272"/>
                <a:gd name="T10" fmla="*/ 42 w 182"/>
                <a:gd name="T11" fmla="*/ 248 h 272"/>
                <a:gd name="T12" fmla="*/ 26 w 182"/>
                <a:gd name="T13" fmla="*/ 232 h 272"/>
                <a:gd name="T14" fmla="*/ 14 w 182"/>
                <a:gd name="T15" fmla="*/ 214 h 272"/>
                <a:gd name="T16" fmla="*/ 6 w 182"/>
                <a:gd name="T17" fmla="*/ 192 h 272"/>
                <a:gd name="T18" fmla="*/ 0 w 182"/>
                <a:gd name="T19" fmla="*/ 144 h 272"/>
                <a:gd name="T20" fmla="*/ 2 w 182"/>
                <a:gd name="T21" fmla="*/ 114 h 272"/>
                <a:gd name="T22" fmla="*/ 8 w 182"/>
                <a:gd name="T23" fmla="*/ 86 h 272"/>
                <a:gd name="T24" fmla="*/ 18 w 182"/>
                <a:gd name="T25" fmla="*/ 62 h 272"/>
                <a:gd name="T26" fmla="*/ 32 w 182"/>
                <a:gd name="T27" fmla="*/ 40 h 272"/>
                <a:gd name="T28" fmla="*/ 40 w 182"/>
                <a:gd name="T29" fmla="*/ 32 h 272"/>
                <a:gd name="T30" fmla="*/ 60 w 182"/>
                <a:gd name="T31" fmla="*/ 18 h 272"/>
                <a:gd name="T32" fmla="*/ 70 w 182"/>
                <a:gd name="T33" fmla="*/ 12 h 272"/>
                <a:gd name="T34" fmla="*/ 96 w 182"/>
                <a:gd name="T35" fmla="*/ 4 h 272"/>
                <a:gd name="T36" fmla="*/ 126 w 182"/>
                <a:gd name="T37" fmla="*/ 0 h 272"/>
                <a:gd name="T38" fmla="*/ 154 w 182"/>
                <a:gd name="T39" fmla="*/ 2 h 272"/>
                <a:gd name="T40" fmla="*/ 180 w 182"/>
                <a:gd name="T41" fmla="*/ 8 h 272"/>
                <a:gd name="T42" fmla="*/ 172 w 182"/>
                <a:gd name="T43" fmla="*/ 56 h 272"/>
                <a:gd name="T44" fmla="*/ 124 w 182"/>
                <a:gd name="T45" fmla="*/ 46 h 272"/>
                <a:gd name="T46" fmla="*/ 106 w 182"/>
                <a:gd name="T47" fmla="*/ 48 h 272"/>
                <a:gd name="T48" fmla="*/ 92 w 182"/>
                <a:gd name="T49" fmla="*/ 52 h 272"/>
                <a:gd name="T50" fmla="*/ 70 w 182"/>
                <a:gd name="T51" fmla="*/ 72 h 272"/>
                <a:gd name="T52" fmla="*/ 64 w 182"/>
                <a:gd name="T53" fmla="*/ 84 h 272"/>
                <a:gd name="T54" fmla="*/ 58 w 182"/>
                <a:gd name="T55" fmla="*/ 100 h 272"/>
                <a:gd name="T56" fmla="*/ 54 w 182"/>
                <a:gd name="T57" fmla="*/ 136 h 272"/>
                <a:gd name="T58" fmla="*/ 54 w 182"/>
                <a:gd name="T59" fmla="*/ 156 h 272"/>
                <a:gd name="T60" fmla="*/ 64 w 182"/>
                <a:gd name="T61" fmla="*/ 188 h 272"/>
                <a:gd name="T62" fmla="*/ 70 w 182"/>
                <a:gd name="T63" fmla="*/ 202 h 272"/>
                <a:gd name="T64" fmla="*/ 94 w 182"/>
                <a:gd name="T65" fmla="*/ 218 h 272"/>
                <a:gd name="T66" fmla="*/ 126 w 182"/>
                <a:gd name="T67" fmla="*/ 224 h 272"/>
                <a:gd name="T68" fmla="*/ 138 w 182"/>
                <a:gd name="T69" fmla="*/ 224 h 272"/>
                <a:gd name="T70" fmla="*/ 152 w 182"/>
                <a:gd name="T71" fmla="*/ 222 h 272"/>
                <a:gd name="T72" fmla="*/ 174 w 182"/>
                <a:gd name="T73" fmla="*/ 214 h 272"/>
                <a:gd name="T74" fmla="*/ 182 w 182"/>
                <a:gd name="T75" fmla="*/ 258 h 272"/>
                <a:gd name="T76" fmla="*/ 150 w 182"/>
                <a:gd name="T77" fmla="*/ 268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2" h="272">
                  <a:moveTo>
                    <a:pt x="150" y="268"/>
                  </a:moveTo>
                  <a:lnTo>
                    <a:pt x="150" y="268"/>
                  </a:lnTo>
                  <a:lnTo>
                    <a:pt x="134" y="270"/>
                  </a:lnTo>
                  <a:lnTo>
                    <a:pt x="116" y="272"/>
                  </a:lnTo>
                  <a:lnTo>
                    <a:pt x="116" y="272"/>
                  </a:lnTo>
                  <a:lnTo>
                    <a:pt x="100" y="270"/>
                  </a:lnTo>
                  <a:lnTo>
                    <a:pt x="86" y="268"/>
                  </a:lnTo>
                  <a:lnTo>
                    <a:pt x="74" y="266"/>
                  </a:lnTo>
                  <a:lnTo>
                    <a:pt x="62" y="260"/>
                  </a:lnTo>
                  <a:lnTo>
                    <a:pt x="62" y="260"/>
                  </a:lnTo>
                  <a:lnTo>
                    <a:pt x="50" y="254"/>
                  </a:lnTo>
                  <a:lnTo>
                    <a:pt x="42" y="248"/>
                  </a:lnTo>
                  <a:lnTo>
                    <a:pt x="34" y="240"/>
                  </a:lnTo>
                  <a:lnTo>
                    <a:pt x="26" y="232"/>
                  </a:lnTo>
                  <a:lnTo>
                    <a:pt x="26" y="232"/>
                  </a:lnTo>
                  <a:lnTo>
                    <a:pt x="14" y="214"/>
                  </a:lnTo>
                  <a:lnTo>
                    <a:pt x="6" y="192"/>
                  </a:lnTo>
                  <a:lnTo>
                    <a:pt x="6" y="192"/>
                  </a:lnTo>
                  <a:lnTo>
                    <a:pt x="2" y="168"/>
                  </a:lnTo>
                  <a:lnTo>
                    <a:pt x="0" y="144"/>
                  </a:lnTo>
                  <a:lnTo>
                    <a:pt x="0" y="144"/>
                  </a:lnTo>
                  <a:lnTo>
                    <a:pt x="2" y="114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12" y="74"/>
                  </a:lnTo>
                  <a:lnTo>
                    <a:pt x="18" y="62"/>
                  </a:lnTo>
                  <a:lnTo>
                    <a:pt x="24" y="5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40" y="32"/>
                  </a:lnTo>
                  <a:lnTo>
                    <a:pt x="50" y="24"/>
                  </a:lnTo>
                  <a:lnTo>
                    <a:pt x="60" y="18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84" y="6"/>
                  </a:lnTo>
                  <a:lnTo>
                    <a:pt x="96" y="4"/>
                  </a:lnTo>
                  <a:lnTo>
                    <a:pt x="110" y="2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54" y="2"/>
                  </a:lnTo>
                  <a:lnTo>
                    <a:pt x="154" y="2"/>
                  </a:lnTo>
                  <a:lnTo>
                    <a:pt x="180" y="8"/>
                  </a:lnTo>
                  <a:lnTo>
                    <a:pt x="172" y="56"/>
                  </a:lnTo>
                  <a:lnTo>
                    <a:pt x="172" y="56"/>
                  </a:lnTo>
                  <a:lnTo>
                    <a:pt x="148" y="48"/>
                  </a:lnTo>
                  <a:lnTo>
                    <a:pt x="124" y="46"/>
                  </a:lnTo>
                  <a:lnTo>
                    <a:pt x="124" y="46"/>
                  </a:lnTo>
                  <a:lnTo>
                    <a:pt x="106" y="48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80" y="60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64" y="84"/>
                  </a:lnTo>
                  <a:lnTo>
                    <a:pt x="58" y="100"/>
                  </a:lnTo>
                  <a:lnTo>
                    <a:pt x="58" y="100"/>
                  </a:lnTo>
                  <a:lnTo>
                    <a:pt x="54" y="116"/>
                  </a:lnTo>
                  <a:lnTo>
                    <a:pt x="54" y="136"/>
                  </a:lnTo>
                  <a:lnTo>
                    <a:pt x="54" y="136"/>
                  </a:lnTo>
                  <a:lnTo>
                    <a:pt x="54" y="156"/>
                  </a:lnTo>
                  <a:lnTo>
                    <a:pt x="58" y="174"/>
                  </a:lnTo>
                  <a:lnTo>
                    <a:pt x="64" y="188"/>
                  </a:lnTo>
                  <a:lnTo>
                    <a:pt x="70" y="202"/>
                  </a:lnTo>
                  <a:lnTo>
                    <a:pt x="70" y="202"/>
                  </a:lnTo>
                  <a:lnTo>
                    <a:pt x="80" y="212"/>
                  </a:lnTo>
                  <a:lnTo>
                    <a:pt x="94" y="218"/>
                  </a:lnTo>
                  <a:lnTo>
                    <a:pt x="108" y="224"/>
                  </a:lnTo>
                  <a:lnTo>
                    <a:pt x="126" y="224"/>
                  </a:lnTo>
                  <a:lnTo>
                    <a:pt x="126" y="224"/>
                  </a:lnTo>
                  <a:lnTo>
                    <a:pt x="138" y="224"/>
                  </a:lnTo>
                  <a:lnTo>
                    <a:pt x="152" y="222"/>
                  </a:lnTo>
                  <a:lnTo>
                    <a:pt x="152" y="222"/>
                  </a:lnTo>
                  <a:lnTo>
                    <a:pt x="164" y="218"/>
                  </a:lnTo>
                  <a:lnTo>
                    <a:pt x="174" y="214"/>
                  </a:lnTo>
                  <a:lnTo>
                    <a:pt x="182" y="258"/>
                  </a:lnTo>
                  <a:lnTo>
                    <a:pt x="182" y="258"/>
                  </a:lnTo>
                  <a:lnTo>
                    <a:pt x="166" y="264"/>
                  </a:lnTo>
                  <a:lnTo>
                    <a:pt x="150" y="268"/>
                  </a:lnTo>
                  <a:lnTo>
                    <a:pt x="150" y="26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" name="Freeform 17"/>
            <p:cNvSpPr>
              <a:spLocks noEditPoints="1"/>
            </p:cNvSpPr>
            <p:nvPr userDrawn="1"/>
          </p:nvSpPr>
          <p:spPr bwMode="auto">
            <a:xfrm>
              <a:off x="3877" y="3564"/>
              <a:ext cx="180" cy="266"/>
            </a:xfrm>
            <a:custGeom>
              <a:avLst/>
              <a:gdLst>
                <a:gd name="T0" fmla="*/ 52 w 180"/>
                <a:gd name="T1" fmla="*/ 156 h 266"/>
                <a:gd name="T2" fmla="*/ 48 w 180"/>
                <a:gd name="T3" fmla="*/ 266 h 266"/>
                <a:gd name="T4" fmla="*/ 0 w 180"/>
                <a:gd name="T5" fmla="*/ 2 h 266"/>
                <a:gd name="T6" fmla="*/ 32 w 180"/>
                <a:gd name="T7" fmla="*/ 0 h 266"/>
                <a:gd name="T8" fmla="*/ 72 w 180"/>
                <a:gd name="T9" fmla="*/ 0 h 266"/>
                <a:gd name="T10" fmla="*/ 92 w 180"/>
                <a:gd name="T11" fmla="*/ 0 h 266"/>
                <a:gd name="T12" fmla="*/ 110 w 180"/>
                <a:gd name="T13" fmla="*/ 4 h 266"/>
                <a:gd name="T14" fmla="*/ 138 w 180"/>
                <a:gd name="T15" fmla="*/ 16 h 266"/>
                <a:gd name="T16" fmla="*/ 148 w 180"/>
                <a:gd name="T17" fmla="*/ 26 h 266"/>
                <a:gd name="T18" fmla="*/ 156 w 180"/>
                <a:gd name="T19" fmla="*/ 40 h 266"/>
                <a:gd name="T20" fmla="*/ 164 w 180"/>
                <a:gd name="T21" fmla="*/ 74 h 266"/>
                <a:gd name="T22" fmla="*/ 162 w 180"/>
                <a:gd name="T23" fmla="*/ 88 h 266"/>
                <a:gd name="T24" fmla="*/ 158 w 180"/>
                <a:gd name="T25" fmla="*/ 102 h 266"/>
                <a:gd name="T26" fmla="*/ 146 w 180"/>
                <a:gd name="T27" fmla="*/ 124 h 266"/>
                <a:gd name="T28" fmla="*/ 136 w 180"/>
                <a:gd name="T29" fmla="*/ 132 h 266"/>
                <a:gd name="T30" fmla="*/ 126 w 180"/>
                <a:gd name="T31" fmla="*/ 140 h 266"/>
                <a:gd name="T32" fmla="*/ 102 w 180"/>
                <a:gd name="T33" fmla="*/ 148 h 266"/>
                <a:gd name="T34" fmla="*/ 112 w 180"/>
                <a:gd name="T35" fmla="*/ 162 h 266"/>
                <a:gd name="T36" fmla="*/ 122 w 180"/>
                <a:gd name="T37" fmla="*/ 176 h 266"/>
                <a:gd name="T38" fmla="*/ 120 w 180"/>
                <a:gd name="T39" fmla="*/ 266 h 266"/>
                <a:gd name="T40" fmla="*/ 112 w 180"/>
                <a:gd name="T41" fmla="*/ 80 h 266"/>
                <a:gd name="T42" fmla="*/ 110 w 180"/>
                <a:gd name="T43" fmla="*/ 62 h 266"/>
                <a:gd name="T44" fmla="*/ 102 w 180"/>
                <a:gd name="T45" fmla="*/ 52 h 266"/>
                <a:gd name="T46" fmla="*/ 88 w 180"/>
                <a:gd name="T47" fmla="*/ 44 h 266"/>
                <a:gd name="T48" fmla="*/ 68 w 180"/>
                <a:gd name="T49" fmla="*/ 42 h 266"/>
                <a:gd name="T50" fmla="*/ 58 w 180"/>
                <a:gd name="T51" fmla="*/ 42 h 266"/>
                <a:gd name="T52" fmla="*/ 48 w 180"/>
                <a:gd name="T53" fmla="*/ 42 h 266"/>
                <a:gd name="T54" fmla="*/ 48 w 180"/>
                <a:gd name="T55" fmla="*/ 118 h 266"/>
                <a:gd name="T56" fmla="*/ 56 w 180"/>
                <a:gd name="T57" fmla="*/ 120 h 266"/>
                <a:gd name="T58" fmla="*/ 66 w 180"/>
                <a:gd name="T59" fmla="*/ 120 h 266"/>
                <a:gd name="T60" fmla="*/ 86 w 180"/>
                <a:gd name="T61" fmla="*/ 116 h 266"/>
                <a:gd name="T62" fmla="*/ 100 w 180"/>
                <a:gd name="T63" fmla="*/ 108 h 266"/>
                <a:gd name="T64" fmla="*/ 106 w 180"/>
                <a:gd name="T65" fmla="*/ 104 h 266"/>
                <a:gd name="T66" fmla="*/ 112 w 180"/>
                <a:gd name="T67" fmla="*/ 88 h 266"/>
                <a:gd name="T68" fmla="*/ 112 w 180"/>
                <a:gd name="T69" fmla="*/ 8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0" h="266">
                  <a:moveTo>
                    <a:pt x="120" y="266"/>
                  </a:moveTo>
                  <a:lnTo>
                    <a:pt x="52" y="156"/>
                  </a:lnTo>
                  <a:lnTo>
                    <a:pt x="48" y="156"/>
                  </a:lnTo>
                  <a:lnTo>
                    <a:pt x="48" y="266"/>
                  </a:lnTo>
                  <a:lnTo>
                    <a:pt x="0" y="266"/>
                  </a:lnTo>
                  <a:lnTo>
                    <a:pt x="0" y="2"/>
                  </a:lnTo>
                  <a:lnTo>
                    <a:pt x="0" y="2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92" y="0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26" y="8"/>
                  </a:lnTo>
                  <a:lnTo>
                    <a:pt x="138" y="16"/>
                  </a:lnTo>
                  <a:lnTo>
                    <a:pt x="138" y="16"/>
                  </a:lnTo>
                  <a:lnTo>
                    <a:pt x="148" y="26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62" y="56"/>
                  </a:lnTo>
                  <a:lnTo>
                    <a:pt x="164" y="74"/>
                  </a:lnTo>
                  <a:lnTo>
                    <a:pt x="164" y="74"/>
                  </a:lnTo>
                  <a:lnTo>
                    <a:pt x="162" y="88"/>
                  </a:lnTo>
                  <a:lnTo>
                    <a:pt x="158" y="102"/>
                  </a:lnTo>
                  <a:lnTo>
                    <a:pt x="158" y="102"/>
                  </a:lnTo>
                  <a:lnTo>
                    <a:pt x="154" y="114"/>
                  </a:lnTo>
                  <a:lnTo>
                    <a:pt x="146" y="124"/>
                  </a:lnTo>
                  <a:lnTo>
                    <a:pt x="146" y="124"/>
                  </a:lnTo>
                  <a:lnTo>
                    <a:pt x="136" y="132"/>
                  </a:lnTo>
                  <a:lnTo>
                    <a:pt x="126" y="140"/>
                  </a:lnTo>
                  <a:lnTo>
                    <a:pt x="126" y="140"/>
                  </a:lnTo>
                  <a:lnTo>
                    <a:pt x="114" y="144"/>
                  </a:lnTo>
                  <a:lnTo>
                    <a:pt x="102" y="148"/>
                  </a:lnTo>
                  <a:lnTo>
                    <a:pt x="102" y="148"/>
                  </a:lnTo>
                  <a:lnTo>
                    <a:pt x="112" y="162"/>
                  </a:lnTo>
                  <a:lnTo>
                    <a:pt x="112" y="162"/>
                  </a:lnTo>
                  <a:lnTo>
                    <a:pt x="122" y="176"/>
                  </a:lnTo>
                  <a:lnTo>
                    <a:pt x="180" y="266"/>
                  </a:lnTo>
                  <a:lnTo>
                    <a:pt x="120" y="266"/>
                  </a:lnTo>
                  <a:close/>
                  <a:moveTo>
                    <a:pt x="112" y="80"/>
                  </a:moveTo>
                  <a:lnTo>
                    <a:pt x="112" y="80"/>
                  </a:lnTo>
                  <a:lnTo>
                    <a:pt x="112" y="70"/>
                  </a:lnTo>
                  <a:lnTo>
                    <a:pt x="110" y="62"/>
                  </a:lnTo>
                  <a:lnTo>
                    <a:pt x="106" y="56"/>
                  </a:lnTo>
                  <a:lnTo>
                    <a:pt x="102" y="52"/>
                  </a:lnTo>
                  <a:lnTo>
                    <a:pt x="96" y="46"/>
                  </a:lnTo>
                  <a:lnTo>
                    <a:pt x="88" y="44"/>
                  </a:lnTo>
                  <a:lnTo>
                    <a:pt x="78" y="42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48" y="42"/>
                  </a:lnTo>
                  <a:lnTo>
                    <a:pt x="48" y="118"/>
                  </a:lnTo>
                  <a:lnTo>
                    <a:pt x="48" y="118"/>
                  </a:lnTo>
                  <a:lnTo>
                    <a:pt x="56" y="120"/>
                  </a:lnTo>
                  <a:lnTo>
                    <a:pt x="56" y="120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76" y="118"/>
                  </a:lnTo>
                  <a:lnTo>
                    <a:pt x="86" y="116"/>
                  </a:lnTo>
                  <a:lnTo>
                    <a:pt x="94" y="114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6" y="104"/>
                  </a:lnTo>
                  <a:lnTo>
                    <a:pt x="110" y="96"/>
                  </a:lnTo>
                  <a:lnTo>
                    <a:pt x="112" y="88"/>
                  </a:lnTo>
                  <a:lnTo>
                    <a:pt x="112" y="80"/>
                  </a:lnTo>
                  <a:lnTo>
                    <a:pt x="112" y="8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087" y="3566"/>
              <a:ext cx="136" cy="264"/>
            </a:xfrm>
            <a:custGeom>
              <a:avLst/>
              <a:gdLst>
                <a:gd name="T0" fmla="*/ 0 w 136"/>
                <a:gd name="T1" fmla="*/ 264 h 264"/>
                <a:gd name="T2" fmla="*/ 0 w 136"/>
                <a:gd name="T3" fmla="*/ 0 h 264"/>
                <a:gd name="T4" fmla="*/ 136 w 136"/>
                <a:gd name="T5" fmla="*/ 0 h 264"/>
                <a:gd name="T6" fmla="*/ 136 w 136"/>
                <a:gd name="T7" fmla="*/ 42 h 264"/>
                <a:gd name="T8" fmla="*/ 48 w 136"/>
                <a:gd name="T9" fmla="*/ 42 h 264"/>
                <a:gd name="T10" fmla="*/ 48 w 136"/>
                <a:gd name="T11" fmla="*/ 106 h 264"/>
                <a:gd name="T12" fmla="*/ 132 w 136"/>
                <a:gd name="T13" fmla="*/ 106 h 264"/>
                <a:gd name="T14" fmla="*/ 132 w 136"/>
                <a:gd name="T15" fmla="*/ 148 h 264"/>
                <a:gd name="T16" fmla="*/ 48 w 136"/>
                <a:gd name="T17" fmla="*/ 148 h 264"/>
                <a:gd name="T18" fmla="*/ 48 w 136"/>
                <a:gd name="T19" fmla="*/ 220 h 264"/>
                <a:gd name="T20" fmla="*/ 136 w 136"/>
                <a:gd name="T21" fmla="*/ 220 h 264"/>
                <a:gd name="T22" fmla="*/ 136 w 136"/>
                <a:gd name="T23" fmla="*/ 264 h 264"/>
                <a:gd name="T24" fmla="*/ 0 w 136"/>
                <a:gd name="T25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264">
                  <a:moveTo>
                    <a:pt x="0" y="264"/>
                  </a:moveTo>
                  <a:lnTo>
                    <a:pt x="0" y="0"/>
                  </a:lnTo>
                  <a:lnTo>
                    <a:pt x="136" y="0"/>
                  </a:lnTo>
                  <a:lnTo>
                    <a:pt x="136" y="42"/>
                  </a:lnTo>
                  <a:lnTo>
                    <a:pt x="48" y="42"/>
                  </a:lnTo>
                  <a:lnTo>
                    <a:pt x="48" y="106"/>
                  </a:lnTo>
                  <a:lnTo>
                    <a:pt x="132" y="106"/>
                  </a:lnTo>
                  <a:lnTo>
                    <a:pt x="132" y="148"/>
                  </a:lnTo>
                  <a:lnTo>
                    <a:pt x="48" y="148"/>
                  </a:lnTo>
                  <a:lnTo>
                    <a:pt x="48" y="220"/>
                  </a:lnTo>
                  <a:lnTo>
                    <a:pt x="136" y="220"/>
                  </a:lnTo>
                  <a:lnTo>
                    <a:pt x="136" y="264"/>
                  </a:lnTo>
                  <a:lnTo>
                    <a:pt x="0" y="2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4251" y="3566"/>
              <a:ext cx="178" cy="264"/>
            </a:xfrm>
            <a:custGeom>
              <a:avLst/>
              <a:gdLst>
                <a:gd name="T0" fmla="*/ 112 w 178"/>
                <a:gd name="T1" fmla="*/ 42 h 264"/>
                <a:gd name="T2" fmla="*/ 112 w 178"/>
                <a:gd name="T3" fmla="*/ 264 h 264"/>
                <a:gd name="T4" fmla="*/ 64 w 178"/>
                <a:gd name="T5" fmla="*/ 264 h 264"/>
                <a:gd name="T6" fmla="*/ 64 w 178"/>
                <a:gd name="T7" fmla="*/ 42 h 264"/>
                <a:gd name="T8" fmla="*/ 0 w 178"/>
                <a:gd name="T9" fmla="*/ 42 h 264"/>
                <a:gd name="T10" fmla="*/ 0 w 178"/>
                <a:gd name="T11" fmla="*/ 0 h 264"/>
                <a:gd name="T12" fmla="*/ 178 w 178"/>
                <a:gd name="T13" fmla="*/ 0 h 264"/>
                <a:gd name="T14" fmla="*/ 178 w 178"/>
                <a:gd name="T15" fmla="*/ 42 h 264"/>
                <a:gd name="T16" fmla="*/ 112 w 178"/>
                <a:gd name="T17" fmla="*/ 4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8" h="264">
                  <a:moveTo>
                    <a:pt x="112" y="42"/>
                  </a:moveTo>
                  <a:lnTo>
                    <a:pt x="112" y="264"/>
                  </a:lnTo>
                  <a:lnTo>
                    <a:pt x="64" y="264"/>
                  </a:lnTo>
                  <a:lnTo>
                    <a:pt x="64" y="42"/>
                  </a:lnTo>
                  <a:lnTo>
                    <a:pt x="0" y="42"/>
                  </a:lnTo>
                  <a:lnTo>
                    <a:pt x="0" y="0"/>
                  </a:lnTo>
                  <a:lnTo>
                    <a:pt x="178" y="0"/>
                  </a:lnTo>
                  <a:lnTo>
                    <a:pt x="178" y="42"/>
                  </a:lnTo>
                  <a:lnTo>
                    <a:pt x="112" y="4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2487" y="508"/>
              <a:ext cx="2780" cy="2780"/>
            </a:xfrm>
            <a:custGeom>
              <a:avLst/>
              <a:gdLst>
                <a:gd name="T0" fmla="*/ 2042 w 2780"/>
                <a:gd name="T1" fmla="*/ 76 h 2780"/>
                <a:gd name="T2" fmla="*/ 2012 w 2780"/>
                <a:gd name="T3" fmla="*/ 52 h 2780"/>
                <a:gd name="T4" fmla="*/ 1964 w 2780"/>
                <a:gd name="T5" fmla="*/ 24 h 2780"/>
                <a:gd name="T6" fmla="*/ 1914 w 2780"/>
                <a:gd name="T7" fmla="*/ 6 h 2780"/>
                <a:gd name="T8" fmla="*/ 1878 w 2780"/>
                <a:gd name="T9" fmla="*/ 0 h 2780"/>
                <a:gd name="T10" fmla="*/ 922 w 2780"/>
                <a:gd name="T11" fmla="*/ 0 h 2780"/>
                <a:gd name="T12" fmla="*/ 904 w 2780"/>
                <a:gd name="T13" fmla="*/ 0 h 2780"/>
                <a:gd name="T14" fmla="*/ 858 w 2780"/>
                <a:gd name="T15" fmla="*/ 10 h 2780"/>
                <a:gd name="T16" fmla="*/ 798 w 2780"/>
                <a:gd name="T17" fmla="*/ 32 h 2780"/>
                <a:gd name="T18" fmla="*/ 768 w 2780"/>
                <a:gd name="T19" fmla="*/ 52 h 2780"/>
                <a:gd name="T20" fmla="*/ 738 w 2780"/>
                <a:gd name="T21" fmla="*/ 76 h 2780"/>
                <a:gd name="T22" fmla="*/ 76 w 2780"/>
                <a:gd name="T23" fmla="*/ 738 h 2780"/>
                <a:gd name="T24" fmla="*/ 52 w 2780"/>
                <a:gd name="T25" fmla="*/ 768 h 2780"/>
                <a:gd name="T26" fmla="*/ 24 w 2780"/>
                <a:gd name="T27" fmla="*/ 816 h 2780"/>
                <a:gd name="T28" fmla="*/ 6 w 2780"/>
                <a:gd name="T29" fmla="*/ 866 h 2780"/>
                <a:gd name="T30" fmla="*/ 0 w 2780"/>
                <a:gd name="T31" fmla="*/ 902 h 2780"/>
                <a:gd name="T32" fmla="*/ 0 w 2780"/>
                <a:gd name="T33" fmla="*/ 1858 h 2780"/>
                <a:gd name="T34" fmla="*/ 0 w 2780"/>
                <a:gd name="T35" fmla="*/ 1876 h 2780"/>
                <a:gd name="T36" fmla="*/ 10 w 2780"/>
                <a:gd name="T37" fmla="*/ 1922 h 2780"/>
                <a:gd name="T38" fmla="*/ 32 w 2780"/>
                <a:gd name="T39" fmla="*/ 1982 h 2780"/>
                <a:gd name="T40" fmla="*/ 50 w 2780"/>
                <a:gd name="T41" fmla="*/ 2012 h 2780"/>
                <a:gd name="T42" fmla="*/ 76 w 2780"/>
                <a:gd name="T43" fmla="*/ 2042 h 2780"/>
                <a:gd name="T44" fmla="*/ 738 w 2780"/>
                <a:gd name="T45" fmla="*/ 2704 h 2780"/>
                <a:gd name="T46" fmla="*/ 768 w 2780"/>
                <a:gd name="T47" fmla="*/ 2728 h 2780"/>
                <a:gd name="T48" fmla="*/ 816 w 2780"/>
                <a:gd name="T49" fmla="*/ 2756 h 2780"/>
                <a:gd name="T50" fmla="*/ 866 w 2780"/>
                <a:gd name="T51" fmla="*/ 2774 h 2780"/>
                <a:gd name="T52" fmla="*/ 902 w 2780"/>
                <a:gd name="T53" fmla="*/ 2780 h 2780"/>
                <a:gd name="T54" fmla="*/ 1858 w 2780"/>
                <a:gd name="T55" fmla="*/ 2780 h 2780"/>
                <a:gd name="T56" fmla="*/ 1876 w 2780"/>
                <a:gd name="T57" fmla="*/ 2780 h 2780"/>
                <a:gd name="T58" fmla="*/ 1922 w 2780"/>
                <a:gd name="T59" fmla="*/ 2770 h 2780"/>
                <a:gd name="T60" fmla="*/ 1982 w 2780"/>
                <a:gd name="T61" fmla="*/ 2748 h 2780"/>
                <a:gd name="T62" fmla="*/ 2012 w 2780"/>
                <a:gd name="T63" fmla="*/ 2728 h 2780"/>
                <a:gd name="T64" fmla="*/ 2042 w 2780"/>
                <a:gd name="T65" fmla="*/ 2704 h 2780"/>
                <a:gd name="T66" fmla="*/ 2704 w 2780"/>
                <a:gd name="T67" fmla="*/ 2042 h 2780"/>
                <a:gd name="T68" fmla="*/ 2728 w 2780"/>
                <a:gd name="T69" fmla="*/ 2012 h 2780"/>
                <a:gd name="T70" fmla="*/ 2756 w 2780"/>
                <a:gd name="T71" fmla="*/ 1964 h 2780"/>
                <a:gd name="T72" fmla="*/ 2774 w 2780"/>
                <a:gd name="T73" fmla="*/ 1914 h 2780"/>
                <a:gd name="T74" fmla="*/ 2780 w 2780"/>
                <a:gd name="T75" fmla="*/ 1878 h 2780"/>
                <a:gd name="T76" fmla="*/ 2780 w 2780"/>
                <a:gd name="T77" fmla="*/ 922 h 2780"/>
                <a:gd name="T78" fmla="*/ 2780 w 2780"/>
                <a:gd name="T79" fmla="*/ 904 h 2780"/>
                <a:gd name="T80" fmla="*/ 2770 w 2780"/>
                <a:gd name="T81" fmla="*/ 858 h 2780"/>
                <a:gd name="T82" fmla="*/ 2748 w 2780"/>
                <a:gd name="T83" fmla="*/ 798 h 2780"/>
                <a:gd name="T84" fmla="*/ 2728 w 2780"/>
                <a:gd name="T85" fmla="*/ 768 h 2780"/>
                <a:gd name="T86" fmla="*/ 2704 w 2780"/>
                <a:gd name="T87" fmla="*/ 738 h 2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0" h="2780">
                  <a:moveTo>
                    <a:pt x="2042" y="76"/>
                  </a:moveTo>
                  <a:lnTo>
                    <a:pt x="2042" y="76"/>
                  </a:lnTo>
                  <a:lnTo>
                    <a:pt x="2028" y="64"/>
                  </a:lnTo>
                  <a:lnTo>
                    <a:pt x="2012" y="52"/>
                  </a:lnTo>
                  <a:lnTo>
                    <a:pt x="1990" y="38"/>
                  </a:lnTo>
                  <a:lnTo>
                    <a:pt x="1964" y="24"/>
                  </a:lnTo>
                  <a:lnTo>
                    <a:pt x="1932" y="12"/>
                  </a:lnTo>
                  <a:lnTo>
                    <a:pt x="1914" y="6"/>
                  </a:lnTo>
                  <a:lnTo>
                    <a:pt x="1896" y="2"/>
                  </a:lnTo>
                  <a:lnTo>
                    <a:pt x="1878" y="0"/>
                  </a:lnTo>
                  <a:lnTo>
                    <a:pt x="1858" y="0"/>
                  </a:lnTo>
                  <a:lnTo>
                    <a:pt x="922" y="0"/>
                  </a:lnTo>
                  <a:lnTo>
                    <a:pt x="922" y="0"/>
                  </a:lnTo>
                  <a:lnTo>
                    <a:pt x="904" y="0"/>
                  </a:lnTo>
                  <a:lnTo>
                    <a:pt x="884" y="4"/>
                  </a:lnTo>
                  <a:lnTo>
                    <a:pt x="858" y="10"/>
                  </a:lnTo>
                  <a:lnTo>
                    <a:pt x="830" y="18"/>
                  </a:lnTo>
                  <a:lnTo>
                    <a:pt x="798" y="32"/>
                  </a:lnTo>
                  <a:lnTo>
                    <a:pt x="782" y="40"/>
                  </a:lnTo>
                  <a:lnTo>
                    <a:pt x="768" y="52"/>
                  </a:lnTo>
                  <a:lnTo>
                    <a:pt x="752" y="62"/>
                  </a:lnTo>
                  <a:lnTo>
                    <a:pt x="738" y="76"/>
                  </a:lnTo>
                  <a:lnTo>
                    <a:pt x="76" y="738"/>
                  </a:lnTo>
                  <a:lnTo>
                    <a:pt x="76" y="738"/>
                  </a:lnTo>
                  <a:lnTo>
                    <a:pt x="64" y="750"/>
                  </a:lnTo>
                  <a:lnTo>
                    <a:pt x="52" y="768"/>
                  </a:lnTo>
                  <a:lnTo>
                    <a:pt x="38" y="790"/>
                  </a:lnTo>
                  <a:lnTo>
                    <a:pt x="24" y="816"/>
                  </a:lnTo>
                  <a:lnTo>
                    <a:pt x="12" y="848"/>
                  </a:lnTo>
                  <a:lnTo>
                    <a:pt x="6" y="866"/>
                  </a:lnTo>
                  <a:lnTo>
                    <a:pt x="2" y="884"/>
                  </a:lnTo>
                  <a:lnTo>
                    <a:pt x="0" y="902"/>
                  </a:lnTo>
                  <a:lnTo>
                    <a:pt x="0" y="922"/>
                  </a:lnTo>
                  <a:lnTo>
                    <a:pt x="0" y="1858"/>
                  </a:lnTo>
                  <a:lnTo>
                    <a:pt x="0" y="1858"/>
                  </a:lnTo>
                  <a:lnTo>
                    <a:pt x="0" y="1876"/>
                  </a:lnTo>
                  <a:lnTo>
                    <a:pt x="4" y="1896"/>
                  </a:lnTo>
                  <a:lnTo>
                    <a:pt x="10" y="1922"/>
                  </a:lnTo>
                  <a:lnTo>
                    <a:pt x="18" y="1950"/>
                  </a:lnTo>
                  <a:lnTo>
                    <a:pt x="32" y="1982"/>
                  </a:lnTo>
                  <a:lnTo>
                    <a:pt x="40" y="1998"/>
                  </a:lnTo>
                  <a:lnTo>
                    <a:pt x="50" y="2012"/>
                  </a:lnTo>
                  <a:lnTo>
                    <a:pt x="62" y="2028"/>
                  </a:lnTo>
                  <a:lnTo>
                    <a:pt x="76" y="2042"/>
                  </a:lnTo>
                  <a:lnTo>
                    <a:pt x="738" y="2704"/>
                  </a:lnTo>
                  <a:lnTo>
                    <a:pt x="738" y="2704"/>
                  </a:lnTo>
                  <a:lnTo>
                    <a:pt x="750" y="2716"/>
                  </a:lnTo>
                  <a:lnTo>
                    <a:pt x="768" y="2728"/>
                  </a:lnTo>
                  <a:lnTo>
                    <a:pt x="790" y="2742"/>
                  </a:lnTo>
                  <a:lnTo>
                    <a:pt x="816" y="2756"/>
                  </a:lnTo>
                  <a:lnTo>
                    <a:pt x="848" y="2768"/>
                  </a:lnTo>
                  <a:lnTo>
                    <a:pt x="866" y="2774"/>
                  </a:lnTo>
                  <a:lnTo>
                    <a:pt x="884" y="2778"/>
                  </a:lnTo>
                  <a:lnTo>
                    <a:pt x="902" y="2780"/>
                  </a:lnTo>
                  <a:lnTo>
                    <a:pt x="922" y="2780"/>
                  </a:lnTo>
                  <a:lnTo>
                    <a:pt x="1858" y="2780"/>
                  </a:lnTo>
                  <a:lnTo>
                    <a:pt x="1858" y="2780"/>
                  </a:lnTo>
                  <a:lnTo>
                    <a:pt x="1876" y="2780"/>
                  </a:lnTo>
                  <a:lnTo>
                    <a:pt x="1896" y="2776"/>
                  </a:lnTo>
                  <a:lnTo>
                    <a:pt x="1922" y="2770"/>
                  </a:lnTo>
                  <a:lnTo>
                    <a:pt x="1950" y="2762"/>
                  </a:lnTo>
                  <a:lnTo>
                    <a:pt x="1982" y="2748"/>
                  </a:lnTo>
                  <a:lnTo>
                    <a:pt x="1996" y="2740"/>
                  </a:lnTo>
                  <a:lnTo>
                    <a:pt x="2012" y="2728"/>
                  </a:lnTo>
                  <a:lnTo>
                    <a:pt x="2028" y="2718"/>
                  </a:lnTo>
                  <a:lnTo>
                    <a:pt x="2042" y="2704"/>
                  </a:lnTo>
                  <a:lnTo>
                    <a:pt x="2704" y="2042"/>
                  </a:lnTo>
                  <a:lnTo>
                    <a:pt x="2704" y="2042"/>
                  </a:lnTo>
                  <a:lnTo>
                    <a:pt x="2716" y="2030"/>
                  </a:lnTo>
                  <a:lnTo>
                    <a:pt x="2728" y="2012"/>
                  </a:lnTo>
                  <a:lnTo>
                    <a:pt x="2742" y="1990"/>
                  </a:lnTo>
                  <a:lnTo>
                    <a:pt x="2756" y="1964"/>
                  </a:lnTo>
                  <a:lnTo>
                    <a:pt x="2768" y="1932"/>
                  </a:lnTo>
                  <a:lnTo>
                    <a:pt x="2774" y="1914"/>
                  </a:lnTo>
                  <a:lnTo>
                    <a:pt x="2778" y="1896"/>
                  </a:lnTo>
                  <a:lnTo>
                    <a:pt x="2780" y="1878"/>
                  </a:lnTo>
                  <a:lnTo>
                    <a:pt x="2780" y="1858"/>
                  </a:lnTo>
                  <a:lnTo>
                    <a:pt x="2780" y="922"/>
                  </a:lnTo>
                  <a:lnTo>
                    <a:pt x="2780" y="922"/>
                  </a:lnTo>
                  <a:lnTo>
                    <a:pt x="2780" y="904"/>
                  </a:lnTo>
                  <a:lnTo>
                    <a:pt x="2776" y="884"/>
                  </a:lnTo>
                  <a:lnTo>
                    <a:pt x="2770" y="858"/>
                  </a:lnTo>
                  <a:lnTo>
                    <a:pt x="2762" y="830"/>
                  </a:lnTo>
                  <a:lnTo>
                    <a:pt x="2748" y="798"/>
                  </a:lnTo>
                  <a:lnTo>
                    <a:pt x="2740" y="782"/>
                  </a:lnTo>
                  <a:lnTo>
                    <a:pt x="2728" y="768"/>
                  </a:lnTo>
                  <a:lnTo>
                    <a:pt x="2718" y="752"/>
                  </a:lnTo>
                  <a:lnTo>
                    <a:pt x="2704" y="738"/>
                  </a:lnTo>
                  <a:lnTo>
                    <a:pt x="2042" y="7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2719" y="740"/>
              <a:ext cx="2316" cy="2316"/>
            </a:xfrm>
            <a:custGeom>
              <a:avLst/>
              <a:gdLst>
                <a:gd name="T0" fmla="*/ 1702 w 2316"/>
                <a:gd name="T1" fmla="*/ 64 h 2316"/>
                <a:gd name="T2" fmla="*/ 1676 w 2316"/>
                <a:gd name="T3" fmla="*/ 44 h 2316"/>
                <a:gd name="T4" fmla="*/ 1636 w 2316"/>
                <a:gd name="T5" fmla="*/ 22 h 2316"/>
                <a:gd name="T6" fmla="*/ 1580 w 2316"/>
                <a:gd name="T7" fmla="*/ 4 h 2316"/>
                <a:gd name="T8" fmla="*/ 1546 w 2316"/>
                <a:gd name="T9" fmla="*/ 0 h 2316"/>
                <a:gd name="T10" fmla="*/ 768 w 2316"/>
                <a:gd name="T11" fmla="*/ 0 h 2316"/>
                <a:gd name="T12" fmla="*/ 736 w 2316"/>
                <a:gd name="T13" fmla="*/ 4 h 2316"/>
                <a:gd name="T14" fmla="*/ 692 w 2316"/>
                <a:gd name="T15" fmla="*/ 16 h 2316"/>
                <a:gd name="T16" fmla="*/ 640 w 2316"/>
                <a:gd name="T17" fmla="*/ 44 h 2316"/>
                <a:gd name="T18" fmla="*/ 614 w 2316"/>
                <a:gd name="T19" fmla="*/ 64 h 2316"/>
                <a:gd name="T20" fmla="*/ 64 w 2316"/>
                <a:gd name="T21" fmla="*/ 614 h 2316"/>
                <a:gd name="T22" fmla="*/ 44 w 2316"/>
                <a:gd name="T23" fmla="*/ 640 h 2316"/>
                <a:gd name="T24" fmla="*/ 20 w 2316"/>
                <a:gd name="T25" fmla="*/ 680 h 2316"/>
                <a:gd name="T26" fmla="*/ 4 w 2316"/>
                <a:gd name="T27" fmla="*/ 736 h 2316"/>
                <a:gd name="T28" fmla="*/ 0 w 2316"/>
                <a:gd name="T29" fmla="*/ 770 h 2316"/>
                <a:gd name="T30" fmla="*/ 0 w 2316"/>
                <a:gd name="T31" fmla="*/ 1546 h 2316"/>
                <a:gd name="T32" fmla="*/ 4 w 2316"/>
                <a:gd name="T33" fmla="*/ 1578 h 2316"/>
                <a:gd name="T34" fmla="*/ 16 w 2316"/>
                <a:gd name="T35" fmla="*/ 1624 h 2316"/>
                <a:gd name="T36" fmla="*/ 44 w 2316"/>
                <a:gd name="T37" fmla="*/ 1676 h 2316"/>
                <a:gd name="T38" fmla="*/ 64 w 2316"/>
                <a:gd name="T39" fmla="*/ 1702 h 2316"/>
                <a:gd name="T40" fmla="*/ 614 w 2316"/>
                <a:gd name="T41" fmla="*/ 2252 h 2316"/>
                <a:gd name="T42" fmla="*/ 640 w 2316"/>
                <a:gd name="T43" fmla="*/ 2272 h 2316"/>
                <a:gd name="T44" fmla="*/ 680 w 2316"/>
                <a:gd name="T45" fmla="*/ 2296 h 2316"/>
                <a:gd name="T46" fmla="*/ 736 w 2316"/>
                <a:gd name="T47" fmla="*/ 2312 h 2316"/>
                <a:gd name="T48" fmla="*/ 768 w 2316"/>
                <a:gd name="T49" fmla="*/ 2316 h 2316"/>
                <a:gd name="T50" fmla="*/ 1546 w 2316"/>
                <a:gd name="T51" fmla="*/ 2316 h 2316"/>
                <a:gd name="T52" fmla="*/ 1578 w 2316"/>
                <a:gd name="T53" fmla="*/ 2312 h 2316"/>
                <a:gd name="T54" fmla="*/ 1624 w 2316"/>
                <a:gd name="T55" fmla="*/ 2300 h 2316"/>
                <a:gd name="T56" fmla="*/ 1676 w 2316"/>
                <a:gd name="T57" fmla="*/ 2272 h 2316"/>
                <a:gd name="T58" fmla="*/ 1702 w 2316"/>
                <a:gd name="T59" fmla="*/ 2252 h 2316"/>
                <a:gd name="T60" fmla="*/ 2252 w 2316"/>
                <a:gd name="T61" fmla="*/ 1702 h 2316"/>
                <a:gd name="T62" fmla="*/ 2272 w 2316"/>
                <a:gd name="T63" fmla="*/ 1676 h 2316"/>
                <a:gd name="T64" fmla="*/ 2294 w 2316"/>
                <a:gd name="T65" fmla="*/ 1636 h 2316"/>
                <a:gd name="T66" fmla="*/ 2312 w 2316"/>
                <a:gd name="T67" fmla="*/ 1580 h 2316"/>
                <a:gd name="T68" fmla="*/ 2316 w 2316"/>
                <a:gd name="T69" fmla="*/ 1546 h 2316"/>
                <a:gd name="T70" fmla="*/ 2316 w 2316"/>
                <a:gd name="T71" fmla="*/ 770 h 2316"/>
                <a:gd name="T72" fmla="*/ 2312 w 2316"/>
                <a:gd name="T73" fmla="*/ 738 h 2316"/>
                <a:gd name="T74" fmla="*/ 2300 w 2316"/>
                <a:gd name="T75" fmla="*/ 692 h 2316"/>
                <a:gd name="T76" fmla="*/ 2272 w 2316"/>
                <a:gd name="T77" fmla="*/ 640 h 2316"/>
                <a:gd name="T78" fmla="*/ 2252 w 2316"/>
                <a:gd name="T79" fmla="*/ 614 h 2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16" h="2316">
                  <a:moveTo>
                    <a:pt x="1702" y="64"/>
                  </a:moveTo>
                  <a:lnTo>
                    <a:pt x="1702" y="64"/>
                  </a:lnTo>
                  <a:lnTo>
                    <a:pt x="1690" y="54"/>
                  </a:lnTo>
                  <a:lnTo>
                    <a:pt x="1676" y="44"/>
                  </a:lnTo>
                  <a:lnTo>
                    <a:pt x="1658" y="32"/>
                  </a:lnTo>
                  <a:lnTo>
                    <a:pt x="1636" y="22"/>
                  </a:lnTo>
                  <a:lnTo>
                    <a:pt x="1610" y="10"/>
                  </a:lnTo>
                  <a:lnTo>
                    <a:pt x="1580" y="4"/>
                  </a:lnTo>
                  <a:lnTo>
                    <a:pt x="1564" y="2"/>
                  </a:lnTo>
                  <a:lnTo>
                    <a:pt x="1546" y="0"/>
                  </a:lnTo>
                  <a:lnTo>
                    <a:pt x="768" y="0"/>
                  </a:lnTo>
                  <a:lnTo>
                    <a:pt x="768" y="0"/>
                  </a:lnTo>
                  <a:lnTo>
                    <a:pt x="754" y="2"/>
                  </a:lnTo>
                  <a:lnTo>
                    <a:pt x="736" y="4"/>
                  </a:lnTo>
                  <a:lnTo>
                    <a:pt x="716" y="8"/>
                  </a:lnTo>
                  <a:lnTo>
                    <a:pt x="692" y="16"/>
                  </a:lnTo>
                  <a:lnTo>
                    <a:pt x="666" y="28"/>
                  </a:lnTo>
                  <a:lnTo>
                    <a:pt x="640" y="44"/>
                  </a:lnTo>
                  <a:lnTo>
                    <a:pt x="626" y="54"/>
                  </a:lnTo>
                  <a:lnTo>
                    <a:pt x="614" y="64"/>
                  </a:lnTo>
                  <a:lnTo>
                    <a:pt x="64" y="614"/>
                  </a:lnTo>
                  <a:lnTo>
                    <a:pt x="64" y="614"/>
                  </a:lnTo>
                  <a:lnTo>
                    <a:pt x="54" y="626"/>
                  </a:lnTo>
                  <a:lnTo>
                    <a:pt x="44" y="640"/>
                  </a:lnTo>
                  <a:lnTo>
                    <a:pt x="32" y="658"/>
                  </a:lnTo>
                  <a:lnTo>
                    <a:pt x="20" y="680"/>
                  </a:lnTo>
                  <a:lnTo>
                    <a:pt x="10" y="706"/>
                  </a:lnTo>
                  <a:lnTo>
                    <a:pt x="4" y="736"/>
                  </a:lnTo>
                  <a:lnTo>
                    <a:pt x="2" y="752"/>
                  </a:lnTo>
                  <a:lnTo>
                    <a:pt x="0" y="770"/>
                  </a:lnTo>
                  <a:lnTo>
                    <a:pt x="0" y="1546"/>
                  </a:lnTo>
                  <a:lnTo>
                    <a:pt x="0" y="1546"/>
                  </a:lnTo>
                  <a:lnTo>
                    <a:pt x="2" y="1562"/>
                  </a:lnTo>
                  <a:lnTo>
                    <a:pt x="4" y="1578"/>
                  </a:lnTo>
                  <a:lnTo>
                    <a:pt x="8" y="1600"/>
                  </a:lnTo>
                  <a:lnTo>
                    <a:pt x="16" y="1624"/>
                  </a:lnTo>
                  <a:lnTo>
                    <a:pt x="28" y="1650"/>
                  </a:lnTo>
                  <a:lnTo>
                    <a:pt x="44" y="1676"/>
                  </a:lnTo>
                  <a:lnTo>
                    <a:pt x="54" y="1690"/>
                  </a:lnTo>
                  <a:lnTo>
                    <a:pt x="64" y="1702"/>
                  </a:lnTo>
                  <a:lnTo>
                    <a:pt x="614" y="2252"/>
                  </a:lnTo>
                  <a:lnTo>
                    <a:pt x="614" y="2252"/>
                  </a:lnTo>
                  <a:lnTo>
                    <a:pt x="626" y="2262"/>
                  </a:lnTo>
                  <a:lnTo>
                    <a:pt x="640" y="2272"/>
                  </a:lnTo>
                  <a:lnTo>
                    <a:pt x="658" y="2284"/>
                  </a:lnTo>
                  <a:lnTo>
                    <a:pt x="680" y="2296"/>
                  </a:lnTo>
                  <a:lnTo>
                    <a:pt x="706" y="2306"/>
                  </a:lnTo>
                  <a:lnTo>
                    <a:pt x="736" y="2312"/>
                  </a:lnTo>
                  <a:lnTo>
                    <a:pt x="752" y="2314"/>
                  </a:lnTo>
                  <a:lnTo>
                    <a:pt x="768" y="2316"/>
                  </a:lnTo>
                  <a:lnTo>
                    <a:pt x="1546" y="2316"/>
                  </a:lnTo>
                  <a:lnTo>
                    <a:pt x="1546" y="2316"/>
                  </a:lnTo>
                  <a:lnTo>
                    <a:pt x="1562" y="2314"/>
                  </a:lnTo>
                  <a:lnTo>
                    <a:pt x="1578" y="2312"/>
                  </a:lnTo>
                  <a:lnTo>
                    <a:pt x="1600" y="2308"/>
                  </a:lnTo>
                  <a:lnTo>
                    <a:pt x="1624" y="2300"/>
                  </a:lnTo>
                  <a:lnTo>
                    <a:pt x="1650" y="2288"/>
                  </a:lnTo>
                  <a:lnTo>
                    <a:pt x="1676" y="2272"/>
                  </a:lnTo>
                  <a:lnTo>
                    <a:pt x="1688" y="2262"/>
                  </a:lnTo>
                  <a:lnTo>
                    <a:pt x="1702" y="2252"/>
                  </a:lnTo>
                  <a:lnTo>
                    <a:pt x="2252" y="1702"/>
                  </a:lnTo>
                  <a:lnTo>
                    <a:pt x="2252" y="1702"/>
                  </a:lnTo>
                  <a:lnTo>
                    <a:pt x="2262" y="1690"/>
                  </a:lnTo>
                  <a:lnTo>
                    <a:pt x="2272" y="1676"/>
                  </a:lnTo>
                  <a:lnTo>
                    <a:pt x="2284" y="1658"/>
                  </a:lnTo>
                  <a:lnTo>
                    <a:pt x="2294" y="1636"/>
                  </a:lnTo>
                  <a:lnTo>
                    <a:pt x="2306" y="1610"/>
                  </a:lnTo>
                  <a:lnTo>
                    <a:pt x="2312" y="1580"/>
                  </a:lnTo>
                  <a:lnTo>
                    <a:pt x="2314" y="1564"/>
                  </a:lnTo>
                  <a:lnTo>
                    <a:pt x="2316" y="1546"/>
                  </a:lnTo>
                  <a:lnTo>
                    <a:pt x="2316" y="770"/>
                  </a:lnTo>
                  <a:lnTo>
                    <a:pt x="2316" y="770"/>
                  </a:lnTo>
                  <a:lnTo>
                    <a:pt x="2314" y="754"/>
                  </a:lnTo>
                  <a:lnTo>
                    <a:pt x="2312" y="738"/>
                  </a:lnTo>
                  <a:lnTo>
                    <a:pt x="2308" y="716"/>
                  </a:lnTo>
                  <a:lnTo>
                    <a:pt x="2300" y="692"/>
                  </a:lnTo>
                  <a:lnTo>
                    <a:pt x="2288" y="666"/>
                  </a:lnTo>
                  <a:lnTo>
                    <a:pt x="2272" y="640"/>
                  </a:lnTo>
                  <a:lnTo>
                    <a:pt x="2262" y="628"/>
                  </a:lnTo>
                  <a:lnTo>
                    <a:pt x="2252" y="614"/>
                  </a:lnTo>
                  <a:lnTo>
                    <a:pt x="1702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3327" y="924"/>
              <a:ext cx="1100" cy="1948"/>
            </a:xfrm>
            <a:custGeom>
              <a:avLst/>
              <a:gdLst>
                <a:gd name="T0" fmla="*/ 1094 w 1100"/>
                <a:gd name="T1" fmla="*/ 762 h 1948"/>
                <a:gd name="T2" fmla="*/ 1072 w 1100"/>
                <a:gd name="T3" fmla="*/ 692 h 1948"/>
                <a:gd name="T4" fmla="*/ 1040 w 1100"/>
                <a:gd name="T5" fmla="*/ 666 h 1948"/>
                <a:gd name="T6" fmla="*/ 984 w 1100"/>
                <a:gd name="T7" fmla="*/ 660 h 1948"/>
                <a:gd name="T8" fmla="*/ 938 w 1100"/>
                <a:gd name="T9" fmla="*/ 680 h 1948"/>
                <a:gd name="T10" fmla="*/ 910 w 1100"/>
                <a:gd name="T11" fmla="*/ 722 h 1948"/>
                <a:gd name="T12" fmla="*/ 904 w 1100"/>
                <a:gd name="T13" fmla="*/ 1136 h 1948"/>
                <a:gd name="T14" fmla="*/ 882 w 1100"/>
                <a:gd name="T15" fmla="*/ 204 h 1948"/>
                <a:gd name="T16" fmla="*/ 866 w 1100"/>
                <a:gd name="T17" fmla="*/ 150 h 1948"/>
                <a:gd name="T18" fmla="*/ 826 w 1100"/>
                <a:gd name="T19" fmla="*/ 114 h 1948"/>
                <a:gd name="T20" fmla="*/ 792 w 1100"/>
                <a:gd name="T21" fmla="*/ 100 h 1948"/>
                <a:gd name="T22" fmla="*/ 754 w 1100"/>
                <a:gd name="T23" fmla="*/ 100 h 1948"/>
                <a:gd name="T24" fmla="*/ 704 w 1100"/>
                <a:gd name="T25" fmla="*/ 124 h 1948"/>
                <a:gd name="T26" fmla="*/ 674 w 1100"/>
                <a:gd name="T27" fmla="*/ 162 h 1948"/>
                <a:gd name="T28" fmla="*/ 664 w 1100"/>
                <a:gd name="T29" fmla="*/ 222 h 1948"/>
                <a:gd name="T30" fmla="*/ 644 w 1100"/>
                <a:gd name="T31" fmla="*/ 132 h 1948"/>
                <a:gd name="T32" fmla="*/ 632 w 1100"/>
                <a:gd name="T33" fmla="*/ 66 h 1948"/>
                <a:gd name="T34" fmla="*/ 602 w 1100"/>
                <a:gd name="T35" fmla="*/ 28 h 1948"/>
                <a:gd name="T36" fmla="*/ 548 w 1100"/>
                <a:gd name="T37" fmla="*/ 2 h 1948"/>
                <a:gd name="T38" fmla="*/ 508 w 1100"/>
                <a:gd name="T39" fmla="*/ 2 h 1948"/>
                <a:gd name="T40" fmla="*/ 472 w 1100"/>
                <a:gd name="T41" fmla="*/ 16 h 1948"/>
                <a:gd name="T42" fmla="*/ 430 w 1100"/>
                <a:gd name="T43" fmla="*/ 54 h 1948"/>
                <a:gd name="T44" fmla="*/ 412 w 1100"/>
                <a:gd name="T45" fmla="*/ 112 h 1948"/>
                <a:gd name="T46" fmla="*/ 388 w 1100"/>
                <a:gd name="T47" fmla="*/ 302 h 1948"/>
                <a:gd name="T48" fmla="*/ 384 w 1100"/>
                <a:gd name="T49" fmla="*/ 256 h 1948"/>
                <a:gd name="T50" fmla="*/ 350 w 1100"/>
                <a:gd name="T51" fmla="*/ 208 h 1948"/>
                <a:gd name="T52" fmla="*/ 302 w 1100"/>
                <a:gd name="T53" fmla="*/ 184 h 1948"/>
                <a:gd name="T54" fmla="*/ 266 w 1100"/>
                <a:gd name="T55" fmla="*/ 184 h 1948"/>
                <a:gd name="T56" fmla="*/ 232 w 1100"/>
                <a:gd name="T57" fmla="*/ 198 h 1948"/>
                <a:gd name="T58" fmla="*/ 190 w 1100"/>
                <a:gd name="T59" fmla="*/ 244 h 1948"/>
                <a:gd name="T60" fmla="*/ 180 w 1100"/>
                <a:gd name="T61" fmla="*/ 302 h 1948"/>
                <a:gd name="T62" fmla="*/ 156 w 1100"/>
                <a:gd name="T63" fmla="*/ 542 h 1948"/>
                <a:gd name="T64" fmla="*/ 138 w 1100"/>
                <a:gd name="T65" fmla="*/ 488 h 1948"/>
                <a:gd name="T66" fmla="*/ 110 w 1100"/>
                <a:gd name="T67" fmla="*/ 466 h 1948"/>
                <a:gd name="T68" fmla="*/ 66 w 1100"/>
                <a:gd name="T69" fmla="*/ 462 h 1948"/>
                <a:gd name="T70" fmla="*/ 30 w 1100"/>
                <a:gd name="T71" fmla="*/ 478 h 1948"/>
                <a:gd name="T72" fmla="*/ 2 w 1100"/>
                <a:gd name="T73" fmla="*/ 530 h 1948"/>
                <a:gd name="T74" fmla="*/ 0 w 1100"/>
                <a:gd name="T75" fmla="*/ 1228 h 1948"/>
                <a:gd name="T76" fmla="*/ 2 w 1100"/>
                <a:gd name="T77" fmla="*/ 1388 h 1948"/>
                <a:gd name="T78" fmla="*/ 22 w 1100"/>
                <a:gd name="T79" fmla="*/ 1510 h 1948"/>
                <a:gd name="T80" fmla="*/ 64 w 1100"/>
                <a:gd name="T81" fmla="*/ 1622 h 1948"/>
                <a:gd name="T82" fmla="*/ 124 w 1100"/>
                <a:gd name="T83" fmla="*/ 1720 h 1948"/>
                <a:gd name="T84" fmla="*/ 198 w 1100"/>
                <a:gd name="T85" fmla="*/ 1806 h 1948"/>
                <a:gd name="T86" fmla="*/ 288 w 1100"/>
                <a:gd name="T87" fmla="*/ 1872 h 1948"/>
                <a:gd name="T88" fmla="*/ 386 w 1100"/>
                <a:gd name="T89" fmla="*/ 1920 h 1948"/>
                <a:gd name="T90" fmla="*/ 494 w 1100"/>
                <a:gd name="T91" fmla="*/ 1944 h 1948"/>
                <a:gd name="T92" fmla="*/ 580 w 1100"/>
                <a:gd name="T93" fmla="*/ 1948 h 1948"/>
                <a:gd name="T94" fmla="*/ 688 w 1100"/>
                <a:gd name="T95" fmla="*/ 1928 h 1948"/>
                <a:gd name="T96" fmla="*/ 790 w 1100"/>
                <a:gd name="T97" fmla="*/ 1886 h 1948"/>
                <a:gd name="T98" fmla="*/ 880 w 1100"/>
                <a:gd name="T99" fmla="*/ 1824 h 1948"/>
                <a:gd name="T100" fmla="*/ 958 w 1100"/>
                <a:gd name="T101" fmla="*/ 1744 h 1948"/>
                <a:gd name="T102" fmla="*/ 1020 w 1100"/>
                <a:gd name="T103" fmla="*/ 1648 h 1948"/>
                <a:gd name="T104" fmla="*/ 1066 w 1100"/>
                <a:gd name="T105" fmla="*/ 1538 h 1948"/>
                <a:gd name="T106" fmla="*/ 1094 w 1100"/>
                <a:gd name="T107" fmla="*/ 1418 h 1948"/>
                <a:gd name="T108" fmla="*/ 1100 w 1100"/>
                <a:gd name="T109" fmla="*/ 1324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0" h="1948">
                  <a:moveTo>
                    <a:pt x="1100" y="1136"/>
                  </a:moveTo>
                  <a:lnTo>
                    <a:pt x="1100" y="1136"/>
                  </a:lnTo>
                  <a:lnTo>
                    <a:pt x="1094" y="762"/>
                  </a:lnTo>
                  <a:lnTo>
                    <a:pt x="1094" y="762"/>
                  </a:lnTo>
                  <a:lnTo>
                    <a:pt x="1092" y="746"/>
                  </a:lnTo>
                  <a:lnTo>
                    <a:pt x="1090" y="730"/>
                  </a:lnTo>
                  <a:lnTo>
                    <a:pt x="1082" y="712"/>
                  </a:lnTo>
                  <a:lnTo>
                    <a:pt x="1072" y="692"/>
                  </a:lnTo>
                  <a:lnTo>
                    <a:pt x="1066" y="684"/>
                  </a:lnTo>
                  <a:lnTo>
                    <a:pt x="1058" y="676"/>
                  </a:lnTo>
                  <a:lnTo>
                    <a:pt x="1050" y="670"/>
                  </a:lnTo>
                  <a:lnTo>
                    <a:pt x="1040" y="666"/>
                  </a:lnTo>
                  <a:lnTo>
                    <a:pt x="1028" y="662"/>
                  </a:lnTo>
                  <a:lnTo>
                    <a:pt x="1014" y="660"/>
                  </a:lnTo>
                  <a:lnTo>
                    <a:pt x="984" y="660"/>
                  </a:lnTo>
                  <a:lnTo>
                    <a:pt x="984" y="660"/>
                  </a:lnTo>
                  <a:lnTo>
                    <a:pt x="976" y="662"/>
                  </a:lnTo>
                  <a:lnTo>
                    <a:pt x="966" y="666"/>
                  </a:lnTo>
                  <a:lnTo>
                    <a:pt x="952" y="672"/>
                  </a:lnTo>
                  <a:lnTo>
                    <a:pt x="938" y="680"/>
                  </a:lnTo>
                  <a:lnTo>
                    <a:pt x="924" y="694"/>
                  </a:lnTo>
                  <a:lnTo>
                    <a:pt x="920" y="702"/>
                  </a:lnTo>
                  <a:lnTo>
                    <a:pt x="914" y="712"/>
                  </a:lnTo>
                  <a:lnTo>
                    <a:pt x="910" y="722"/>
                  </a:lnTo>
                  <a:lnTo>
                    <a:pt x="906" y="734"/>
                  </a:lnTo>
                  <a:lnTo>
                    <a:pt x="904" y="746"/>
                  </a:lnTo>
                  <a:lnTo>
                    <a:pt x="904" y="762"/>
                  </a:lnTo>
                  <a:lnTo>
                    <a:pt x="904" y="1136"/>
                  </a:lnTo>
                  <a:lnTo>
                    <a:pt x="882" y="1136"/>
                  </a:lnTo>
                  <a:lnTo>
                    <a:pt x="882" y="222"/>
                  </a:lnTo>
                  <a:lnTo>
                    <a:pt x="882" y="222"/>
                  </a:lnTo>
                  <a:lnTo>
                    <a:pt x="882" y="204"/>
                  </a:lnTo>
                  <a:lnTo>
                    <a:pt x="880" y="188"/>
                  </a:lnTo>
                  <a:lnTo>
                    <a:pt x="876" y="174"/>
                  </a:lnTo>
                  <a:lnTo>
                    <a:pt x="872" y="162"/>
                  </a:lnTo>
                  <a:lnTo>
                    <a:pt x="866" y="150"/>
                  </a:lnTo>
                  <a:lnTo>
                    <a:pt x="858" y="140"/>
                  </a:lnTo>
                  <a:lnTo>
                    <a:pt x="850" y="132"/>
                  </a:lnTo>
                  <a:lnTo>
                    <a:pt x="842" y="124"/>
                  </a:lnTo>
                  <a:lnTo>
                    <a:pt x="826" y="114"/>
                  </a:lnTo>
                  <a:lnTo>
                    <a:pt x="812" y="106"/>
                  </a:lnTo>
                  <a:lnTo>
                    <a:pt x="800" y="102"/>
                  </a:lnTo>
                  <a:lnTo>
                    <a:pt x="792" y="100"/>
                  </a:lnTo>
                  <a:lnTo>
                    <a:pt x="792" y="100"/>
                  </a:lnTo>
                  <a:lnTo>
                    <a:pt x="774" y="98"/>
                  </a:lnTo>
                  <a:lnTo>
                    <a:pt x="774" y="98"/>
                  </a:lnTo>
                  <a:lnTo>
                    <a:pt x="754" y="100"/>
                  </a:lnTo>
                  <a:lnTo>
                    <a:pt x="754" y="100"/>
                  </a:lnTo>
                  <a:lnTo>
                    <a:pt x="748" y="102"/>
                  </a:lnTo>
                  <a:lnTo>
                    <a:pt x="736" y="106"/>
                  </a:lnTo>
                  <a:lnTo>
                    <a:pt x="720" y="114"/>
                  </a:lnTo>
                  <a:lnTo>
                    <a:pt x="704" y="124"/>
                  </a:lnTo>
                  <a:lnTo>
                    <a:pt x="696" y="132"/>
                  </a:lnTo>
                  <a:lnTo>
                    <a:pt x="688" y="140"/>
                  </a:lnTo>
                  <a:lnTo>
                    <a:pt x="682" y="150"/>
                  </a:lnTo>
                  <a:lnTo>
                    <a:pt x="674" y="162"/>
                  </a:lnTo>
                  <a:lnTo>
                    <a:pt x="670" y="174"/>
                  </a:lnTo>
                  <a:lnTo>
                    <a:pt x="666" y="188"/>
                  </a:lnTo>
                  <a:lnTo>
                    <a:pt x="664" y="204"/>
                  </a:lnTo>
                  <a:lnTo>
                    <a:pt x="664" y="222"/>
                  </a:lnTo>
                  <a:lnTo>
                    <a:pt x="664" y="1136"/>
                  </a:lnTo>
                  <a:lnTo>
                    <a:pt x="644" y="1136"/>
                  </a:lnTo>
                  <a:lnTo>
                    <a:pt x="644" y="132"/>
                  </a:lnTo>
                  <a:lnTo>
                    <a:pt x="644" y="132"/>
                  </a:lnTo>
                  <a:lnTo>
                    <a:pt x="644" y="112"/>
                  </a:lnTo>
                  <a:lnTo>
                    <a:pt x="642" y="96"/>
                  </a:lnTo>
                  <a:lnTo>
                    <a:pt x="638" y="80"/>
                  </a:lnTo>
                  <a:lnTo>
                    <a:pt x="632" y="66"/>
                  </a:lnTo>
                  <a:lnTo>
                    <a:pt x="626" y="54"/>
                  </a:lnTo>
                  <a:lnTo>
                    <a:pt x="618" y="44"/>
                  </a:lnTo>
                  <a:lnTo>
                    <a:pt x="610" y="36"/>
                  </a:lnTo>
                  <a:lnTo>
                    <a:pt x="602" y="28"/>
                  </a:lnTo>
                  <a:lnTo>
                    <a:pt x="584" y="16"/>
                  </a:lnTo>
                  <a:lnTo>
                    <a:pt x="568" y="8"/>
                  </a:lnTo>
                  <a:lnTo>
                    <a:pt x="556" y="2"/>
                  </a:lnTo>
                  <a:lnTo>
                    <a:pt x="548" y="2"/>
                  </a:lnTo>
                  <a:lnTo>
                    <a:pt x="548" y="2"/>
                  </a:lnTo>
                  <a:lnTo>
                    <a:pt x="528" y="0"/>
                  </a:lnTo>
                  <a:lnTo>
                    <a:pt x="528" y="0"/>
                  </a:lnTo>
                  <a:lnTo>
                    <a:pt x="508" y="2"/>
                  </a:lnTo>
                  <a:lnTo>
                    <a:pt x="508" y="2"/>
                  </a:lnTo>
                  <a:lnTo>
                    <a:pt x="500" y="2"/>
                  </a:lnTo>
                  <a:lnTo>
                    <a:pt x="488" y="8"/>
                  </a:lnTo>
                  <a:lnTo>
                    <a:pt x="472" y="16"/>
                  </a:lnTo>
                  <a:lnTo>
                    <a:pt x="454" y="28"/>
                  </a:lnTo>
                  <a:lnTo>
                    <a:pt x="446" y="36"/>
                  </a:lnTo>
                  <a:lnTo>
                    <a:pt x="438" y="44"/>
                  </a:lnTo>
                  <a:lnTo>
                    <a:pt x="430" y="54"/>
                  </a:lnTo>
                  <a:lnTo>
                    <a:pt x="424" y="66"/>
                  </a:lnTo>
                  <a:lnTo>
                    <a:pt x="418" y="80"/>
                  </a:lnTo>
                  <a:lnTo>
                    <a:pt x="414" y="96"/>
                  </a:lnTo>
                  <a:lnTo>
                    <a:pt x="412" y="112"/>
                  </a:lnTo>
                  <a:lnTo>
                    <a:pt x="412" y="132"/>
                  </a:lnTo>
                  <a:lnTo>
                    <a:pt x="412" y="1136"/>
                  </a:lnTo>
                  <a:lnTo>
                    <a:pt x="388" y="1136"/>
                  </a:lnTo>
                  <a:lnTo>
                    <a:pt x="388" y="302"/>
                  </a:lnTo>
                  <a:lnTo>
                    <a:pt x="388" y="302"/>
                  </a:lnTo>
                  <a:lnTo>
                    <a:pt x="388" y="286"/>
                  </a:lnTo>
                  <a:lnTo>
                    <a:pt x="386" y="270"/>
                  </a:lnTo>
                  <a:lnTo>
                    <a:pt x="384" y="256"/>
                  </a:lnTo>
                  <a:lnTo>
                    <a:pt x="378" y="244"/>
                  </a:lnTo>
                  <a:lnTo>
                    <a:pt x="372" y="234"/>
                  </a:lnTo>
                  <a:lnTo>
                    <a:pt x="366" y="224"/>
                  </a:lnTo>
                  <a:lnTo>
                    <a:pt x="350" y="208"/>
                  </a:lnTo>
                  <a:lnTo>
                    <a:pt x="336" y="198"/>
                  </a:lnTo>
                  <a:lnTo>
                    <a:pt x="320" y="190"/>
                  </a:lnTo>
                  <a:lnTo>
                    <a:pt x="308" y="186"/>
                  </a:lnTo>
                  <a:lnTo>
                    <a:pt x="302" y="184"/>
                  </a:lnTo>
                  <a:lnTo>
                    <a:pt x="302" y="184"/>
                  </a:lnTo>
                  <a:lnTo>
                    <a:pt x="284" y="184"/>
                  </a:lnTo>
                  <a:lnTo>
                    <a:pt x="284" y="184"/>
                  </a:lnTo>
                  <a:lnTo>
                    <a:pt x="266" y="184"/>
                  </a:lnTo>
                  <a:lnTo>
                    <a:pt x="266" y="184"/>
                  </a:lnTo>
                  <a:lnTo>
                    <a:pt x="260" y="186"/>
                  </a:lnTo>
                  <a:lnTo>
                    <a:pt x="248" y="190"/>
                  </a:lnTo>
                  <a:lnTo>
                    <a:pt x="232" y="198"/>
                  </a:lnTo>
                  <a:lnTo>
                    <a:pt x="218" y="208"/>
                  </a:lnTo>
                  <a:lnTo>
                    <a:pt x="202" y="224"/>
                  </a:lnTo>
                  <a:lnTo>
                    <a:pt x="196" y="234"/>
                  </a:lnTo>
                  <a:lnTo>
                    <a:pt x="190" y="244"/>
                  </a:lnTo>
                  <a:lnTo>
                    <a:pt x="184" y="256"/>
                  </a:lnTo>
                  <a:lnTo>
                    <a:pt x="182" y="270"/>
                  </a:lnTo>
                  <a:lnTo>
                    <a:pt x="180" y="286"/>
                  </a:lnTo>
                  <a:lnTo>
                    <a:pt x="180" y="302"/>
                  </a:lnTo>
                  <a:lnTo>
                    <a:pt x="180" y="1136"/>
                  </a:lnTo>
                  <a:lnTo>
                    <a:pt x="156" y="1136"/>
                  </a:lnTo>
                  <a:lnTo>
                    <a:pt x="156" y="542"/>
                  </a:lnTo>
                  <a:lnTo>
                    <a:pt x="156" y="542"/>
                  </a:lnTo>
                  <a:lnTo>
                    <a:pt x="154" y="530"/>
                  </a:lnTo>
                  <a:lnTo>
                    <a:pt x="152" y="516"/>
                  </a:lnTo>
                  <a:lnTo>
                    <a:pt x="146" y="502"/>
                  </a:lnTo>
                  <a:lnTo>
                    <a:pt x="138" y="488"/>
                  </a:lnTo>
                  <a:lnTo>
                    <a:pt x="132" y="480"/>
                  </a:lnTo>
                  <a:lnTo>
                    <a:pt x="126" y="474"/>
                  </a:lnTo>
                  <a:lnTo>
                    <a:pt x="120" y="470"/>
                  </a:lnTo>
                  <a:lnTo>
                    <a:pt x="110" y="466"/>
                  </a:lnTo>
                  <a:lnTo>
                    <a:pt x="100" y="462"/>
                  </a:lnTo>
                  <a:lnTo>
                    <a:pt x="90" y="462"/>
                  </a:lnTo>
                  <a:lnTo>
                    <a:pt x="66" y="462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50" y="466"/>
                  </a:lnTo>
                  <a:lnTo>
                    <a:pt x="40" y="470"/>
                  </a:lnTo>
                  <a:lnTo>
                    <a:pt x="30" y="478"/>
                  </a:lnTo>
                  <a:lnTo>
                    <a:pt x="18" y="488"/>
                  </a:lnTo>
                  <a:lnTo>
                    <a:pt x="10" y="502"/>
                  </a:lnTo>
                  <a:lnTo>
                    <a:pt x="4" y="520"/>
                  </a:lnTo>
                  <a:lnTo>
                    <a:pt x="2" y="530"/>
                  </a:lnTo>
                  <a:lnTo>
                    <a:pt x="2" y="542"/>
                  </a:lnTo>
                  <a:lnTo>
                    <a:pt x="2" y="1136"/>
                  </a:lnTo>
                  <a:lnTo>
                    <a:pt x="2" y="1136"/>
                  </a:lnTo>
                  <a:lnTo>
                    <a:pt x="0" y="1228"/>
                  </a:lnTo>
                  <a:lnTo>
                    <a:pt x="0" y="1324"/>
                  </a:lnTo>
                  <a:lnTo>
                    <a:pt x="0" y="1324"/>
                  </a:lnTo>
                  <a:lnTo>
                    <a:pt x="0" y="1356"/>
                  </a:lnTo>
                  <a:lnTo>
                    <a:pt x="2" y="1388"/>
                  </a:lnTo>
                  <a:lnTo>
                    <a:pt x="4" y="1418"/>
                  </a:lnTo>
                  <a:lnTo>
                    <a:pt x="10" y="1450"/>
                  </a:lnTo>
                  <a:lnTo>
                    <a:pt x="16" y="1480"/>
                  </a:lnTo>
                  <a:lnTo>
                    <a:pt x="22" y="1510"/>
                  </a:lnTo>
                  <a:lnTo>
                    <a:pt x="30" y="1538"/>
                  </a:lnTo>
                  <a:lnTo>
                    <a:pt x="40" y="1566"/>
                  </a:lnTo>
                  <a:lnTo>
                    <a:pt x="52" y="1594"/>
                  </a:lnTo>
                  <a:lnTo>
                    <a:pt x="64" y="1622"/>
                  </a:lnTo>
                  <a:lnTo>
                    <a:pt x="78" y="1648"/>
                  </a:lnTo>
                  <a:lnTo>
                    <a:pt x="92" y="1672"/>
                  </a:lnTo>
                  <a:lnTo>
                    <a:pt x="108" y="1698"/>
                  </a:lnTo>
                  <a:lnTo>
                    <a:pt x="124" y="1720"/>
                  </a:lnTo>
                  <a:lnTo>
                    <a:pt x="140" y="1744"/>
                  </a:lnTo>
                  <a:lnTo>
                    <a:pt x="160" y="1766"/>
                  </a:lnTo>
                  <a:lnTo>
                    <a:pt x="178" y="1786"/>
                  </a:lnTo>
                  <a:lnTo>
                    <a:pt x="198" y="1806"/>
                  </a:lnTo>
                  <a:lnTo>
                    <a:pt x="220" y="1824"/>
                  </a:lnTo>
                  <a:lnTo>
                    <a:pt x="242" y="1842"/>
                  </a:lnTo>
                  <a:lnTo>
                    <a:pt x="264" y="1858"/>
                  </a:lnTo>
                  <a:lnTo>
                    <a:pt x="288" y="1872"/>
                  </a:lnTo>
                  <a:lnTo>
                    <a:pt x="312" y="1886"/>
                  </a:lnTo>
                  <a:lnTo>
                    <a:pt x="336" y="1900"/>
                  </a:lnTo>
                  <a:lnTo>
                    <a:pt x="360" y="1910"/>
                  </a:lnTo>
                  <a:lnTo>
                    <a:pt x="386" y="1920"/>
                  </a:lnTo>
                  <a:lnTo>
                    <a:pt x="412" y="1928"/>
                  </a:lnTo>
                  <a:lnTo>
                    <a:pt x="440" y="1936"/>
                  </a:lnTo>
                  <a:lnTo>
                    <a:pt x="466" y="1940"/>
                  </a:lnTo>
                  <a:lnTo>
                    <a:pt x="494" y="1944"/>
                  </a:lnTo>
                  <a:lnTo>
                    <a:pt x="522" y="1948"/>
                  </a:lnTo>
                  <a:lnTo>
                    <a:pt x="552" y="1948"/>
                  </a:lnTo>
                  <a:lnTo>
                    <a:pt x="552" y="1948"/>
                  </a:lnTo>
                  <a:lnTo>
                    <a:pt x="580" y="1948"/>
                  </a:lnTo>
                  <a:lnTo>
                    <a:pt x="608" y="1944"/>
                  </a:lnTo>
                  <a:lnTo>
                    <a:pt x="636" y="1940"/>
                  </a:lnTo>
                  <a:lnTo>
                    <a:pt x="662" y="1936"/>
                  </a:lnTo>
                  <a:lnTo>
                    <a:pt x="688" y="1928"/>
                  </a:lnTo>
                  <a:lnTo>
                    <a:pt x="714" y="1920"/>
                  </a:lnTo>
                  <a:lnTo>
                    <a:pt x="740" y="1910"/>
                  </a:lnTo>
                  <a:lnTo>
                    <a:pt x="766" y="1900"/>
                  </a:lnTo>
                  <a:lnTo>
                    <a:pt x="790" y="1886"/>
                  </a:lnTo>
                  <a:lnTo>
                    <a:pt x="814" y="1872"/>
                  </a:lnTo>
                  <a:lnTo>
                    <a:pt x="836" y="1858"/>
                  </a:lnTo>
                  <a:lnTo>
                    <a:pt x="858" y="1842"/>
                  </a:lnTo>
                  <a:lnTo>
                    <a:pt x="880" y="1824"/>
                  </a:lnTo>
                  <a:lnTo>
                    <a:pt x="900" y="1806"/>
                  </a:lnTo>
                  <a:lnTo>
                    <a:pt x="920" y="1786"/>
                  </a:lnTo>
                  <a:lnTo>
                    <a:pt x="940" y="1766"/>
                  </a:lnTo>
                  <a:lnTo>
                    <a:pt x="958" y="1744"/>
                  </a:lnTo>
                  <a:lnTo>
                    <a:pt x="974" y="1722"/>
                  </a:lnTo>
                  <a:lnTo>
                    <a:pt x="992" y="1698"/>
                  </a:lnTo>
                  <a:lnTo>
                    <a:pt x="1006" y="1672"/>
                  </a:lnTo>
                  <a:lnTo>
                    <a:pt x="1020" y="1648"/>
                  </a:lnTo>
                  <a:lnTo>
                    <a:pt x="1034" y="1622"/>
                  </a:lnTo>
                  <a:lnTo>
                    <a:pt x="1046" y="1594"/>
                  </a:lnTo>
                  <a:lnTo>
                    <a:pt x="1056" y="1566"/>
                  </a:lnTo>
                  <a:lnTo>
                    <a:pt x="1066" y="1538"/>
                  </a:lnTo>
                  <a:lnTo>
                    <a:pt x="1074" y="1510"/>
                  </a:lnTo>
                  <a:lnTo>
                    <a:pt x="1082" y="1480"/>
                  </a:lnTo>
                  <a:lnTo>
                    <a:pt x="1088" y="1450"/>
                  </a:lnTo>
                  <a:lnTo>
                    <a:pt x="1094" y="1418"/>
                  </a:lnTo>
                  <a:lnTo>
                    <a:pt x="1096" y="1388"/>
                  </a:lnTo>
                  <a:lnTo>
                    <a:pt x="1098" y="1356"/>
                  </a:lnTo>
                  <a:lnTo>
                    <a:pt x="1100" y="1324"/>
                  </a:lnTo>
                  <a:lnTo>
                    <a:pt x="1100" y="1324"/>
                  </a:lnTo>
                  <a:lnTo>
                    <a:pt x="1100" y="1228"/>
                  </a:lnTo>
                  <a:lnTo>
                    <a:pt x="1100" y="1180"/>
                  </a:lnTo>
                  <a:lnTo>
                    <a:pt x="1100" y="113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3327" y="924"/>
              <a:ext cx="1100" cy="1948"/>
            </a:xfrm>
            <a:custGeom>
              <a:avLst/>
              <a:gdLst>
                <a:gd name="T0" fmla="*/ 1094 w 1100"/>
                <a:gd name="T1" fmla="*/ 762 h 1948"/>
                <a:gd name="T2" fmla="*/ 1072 w 1100"/>
                <a:gd name="T3" fmla="*/ 692 h 1948"/>
                <a:gd name="T4" fmla="*/ 1040 w 1100"/>
                <a:gd name="T5" fmla="*/ 666 h 1948"/>
                <a:gd name="T6" fmla="*/ 984 w 1100"/>
                <a:gd name="T7" fmla="*/ 660 h 1948"/>
                <a:gd name="T8" fmla="*/ 938 w 1100"/>
                <a:gd name="T9" fmla="*/ 680 h 1948"/>
                <a:gd name="T10" fmla="*/ 910 w 1100"/>
                <a:gd name="T11" fmla="*/ 722 h 1948"/>
                <a:gd name="T12" fmla="*/ 904 w 1100"/>
                <a:gd name="T13" fmla="*/ 1136 h 1948"/>
                <a:gd name="T14" fmla="*/ 882 w 1100"/>
                <a:gd name="T15" fmla="*/ 204 h 1948"/>
                <a:gd name="T16" fmla="*/ 866 w 1100"/>
                <a:gd name="T17" fmla="*/ 150 h 1948"/>
                <a:gd name="T18" fmla="*/ 826 w 1100"/>
                <a:gd name="T19" fmla="*/ 114 h 1948"/>
                <a:gd name="T20" fmla="*/ 792 w 1100"/>
                <a:gd name="T21" fmla="*/ 100 h 1948"/>
                <a:gd name="T22" fmla="*/ 754 w 1100"/>
                <a:gd name="T23" fmla="*/ 100 h 1948"/>
                <a:gd name="T24" fmla="*/ 704 w 1100"/>
                <a:gd name="T25" fmla="*/ 124 h 1948"/>
                <a:gd name="T26" fmla="*/ 674 w 1100"/>
                <a:gd name="T27" fmla="*/ 162 h 1948"/>
                <a:gd name="T28" fmla="*/ 664 w 1100"/>
                <a:gd name="T29" fmla="*/ 222 h 1948"/>
                <a:gd name="T30" fmla="*/ 644 w 1100"/>
                <a:gd name="T31" fmla="*/ 132 h 1948"/>
                <a:gd name="T32" fmla="*/ 632 w 1100"/>
                <a:gd name="T33" fmla="*/ 66 h 1948"/>
                <a:gd name="T34" fmla="*/ 602 w 1100"/>
                <a:gd name="T35" fmla="*/ 28 h 1948"/>
                <a:gd name="T36" fmla="*/ 548 w 1100"/>
                <a:gd name="T37" fmla="*/ 2 h 1948"/>
                <a:gd name="T38" fmla="*/ 508 w 1100"/>
                <a:gd name="T39" fmla="*/ 2 h 1948"/>
                <a:gd name="T40" fmla="*/ 472 w 1100"/>
                <a:gd name="T41" fmla="*/ 16 h 1948"/>
                <a:gd name="T42" fmla="*/ 430 w 1100"/>
                <a:gd name="T43" fmla="*/ 54 h 1948"/>
                <a:gd name="T44" fmla="*/ 412 w 1100"/>
                <a:gd name="T45" fmla="*/ 112 h 1948"/>
                <a:gd name="T46" fmla="*/ 388 w 1100"/>
                <a:gd name="T47" fmla="*/ 302 h 1948"/>
                <a:gd name="T48" fmla="*/ 384 w 1100"/>
                <a:gd name="T49" fmla="*/ 256 h 1948"/>
                <a:gd name="T50" fmla="*/ 350 w 1100"/>
                <a:gd name="T51" fmla="*/ 208 h 1948"/>
                <a:gd name="T52" fmla="*/ 302 w 1100"/>
                <a:gd name="T53" fmla="*/ 184 h 1948"/>
                <a:gd name="T54" fmla="*/ 266 w 1100"/>
                <a:gd name="T55" fmla="*/ 184 h 1948"/>
                <a:gd name="T56" fmla="*/ 232 w 1100"/>
                <a:gd name="T57" fmla="*/ 198 h 1948"/>
                <a:gd name="T58" fmla="*/ 190 w 1100"/>
                <a:gd name="T59" fmla="*/ 244 h 1948"/>
                <a:gd name="T60" fmla="*/ 180 w 1100"/>
                <a:gd name="T61" fmla="*/ 302 h 1948"/>
                <a:gd name="T62" fmla="*/ 156 w 1100"/>
                <a:gd name="T63" fmla="*/ 542 h 1948"/>
                <a:gd name="T64" fmla="*/ 138 w 1100"/>
                <a:gd name="T65" fmla="*/ 488 h 1948"/>
                <a:gd name="T66" fmla="*/ 110 w 1100"/>
                <a:gd name="T67" fmla="*/ 466 h 1948"/>
                <a:gd name="T68" fmla="*/ 66 w 1100"/>
                <a:gd name="T69" fmla="*/ 462 h 1948"/>
                <a:gd name="T70" fmla="*/ 30 w 1100"/>
                <a:gd name="T71" fmla="*/ 478 h 1948"/>
                <a:gd name="T72" fmla="*/ 2 w 1100"/>
                <a:gd name="T73" fmla="*/ 530 h 1948"/>
                <a:gd name="T74" fmla="*/ 0 w 1100"/>
                <a:gd name="T75" fmla="*/ 1228 h 1948"/>
                <a:gd name="T76" fmla="*/ 2 w 1100"/>
                <a:gd name="T77" fmla="*/ 1388 h 1948"/>
                <a:gd name="T78" fmla="*/ 22 w 1100"/>
                <a:gd name="T79" fmla="*/ 1510 h 1948"/>
                <a:gd name="T80" fmla="*/ 64 w 1100"/>
                <a:gd name="T81" fmla="*/ 1622 h 1948"/>
                <a:gd name="T82" fmla="*/ 124 w 1100"/>
                <a:gd name="T83" fmla="*/ 1720 h 1948"/>
                <a:gd name="T84" fmla="*/ 198 w 1100"/>
                <a:gd name="T85" fmla="*/ 1806 h 1948"/>
                <a:gd name="T86" fmla="*/ 288 w 1100"/>
                <a:gd name="T87" fmla="*/ 1872 h 1948"/>
                <a:gd name="T88" fmla="*/ 386 w 1100"/>
                <a:gd name="T89" fmla="*/ 1920 h 1948"/>
                <a:gd name="T90" fmla="*/ 494 w 1100"/>
                <a:gd name="T91" fmla="*/ 1944 h 1948"/>
                <a:gd name="T92" fmla="*/ 580 w 1100"/>
                <a:gd name="T93" fmla="*/ 1948 h 1948"/>
                <a:gd name="T94" fmla="*/ 688 w 1100"/>
                <a:gd name="T95" fmla="*/ 1928 h 1948"/>
                <a:gd name="T96" fmla="*/ 790 w 1100"/>
                <a:gd name="T97" fmla="*/ 1886 h 1948"/>
                <a:gd name="T98" fmla="*/ 880 w 1100"/>
                <a:gd name="T99" fmla="*/ 1824 h 1948"/>
                <a:gd name="T100" fmla="*/ 958 w 1100"/>
                <a:gd name="T101" fmla="*/ 1744 h 1948"/>
                <a:gd name="T102" fmla="*/ 1020 w 1100"/>
                <a:gd name="T103" fmla="*/ 1648 h 1948"/>
                <a:gd name="T104" fmla="*/ 1066 w 1100"/>
                <a:gd name="T105" fmla="*/ 1538 h 1948"/>
                <a:gd name="T106" fmla="*/ 1094 w 1100"/>
                <a:gd name="T107" fmla="*/ 1418 h 1948"/>
                <a:gd name="T108" fmla="*/ 1100 w 1100"/>
                <a:gd name="T109" fmla="*/ 1324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0" h="1948">
                  <a:moveTo>
                    <a:pt x="1100" y="1136"/>
                  </a:moveTo>
                  <a:lnTo>
                    <a:pt x="1100" y="1136"/>
                  </a:lnTo>
                  <a:lnTo>
                    <a:pt x="1094" y="762"/>
                  </a:lnTo>
                  <a:lnTo>
                    <a:pt x="1094" y="762"/>
                  </a:lnTo>
                  <a:lnTo>
                    <a:pt x="1092" y="746"/>
                  </a:lnTo>
                  <a:lnTo>
                    <a:pt x="1090" y="730"/>
                  </a:lnTo>
                  <a:lnTo>
                    <a:pt x="1082" y="712"/>
                  </a:lnTo>
                  <a:lnTo>
                    <a:pt x="1072" y="692"/>
                  </a:lnTo>
                  <a:lnTo>
                    <a:pt x="1066" y="684"/>
                  </a:lnTo>
                  <a:lnTo>
                    <a:pt x="1058" y="676"/>
                  </a:lnTo>
                  <a:lnTo>
                    <a:pt x="1050" y="670"/>
                  </a:lnTo>
                  <a:lnTo>
                    <a:pt x="1040" y="666"/>
                  </a:lnTo>
                  <a:lnTo>
                    <a:pt x="1028" y="662"/>
                  </a:lnTo>
                  <a:lnTo>
                    <a:pt x="1014" y="660"/>
                  </a:lnTo>
                  <a:lnTo>
                    <a:pt x="984" y="660"/>
                  </a:lnTo>
                  <a:lnTo>
                    <a:pt x="984" y="660"/>
                  </a:lnTo>
                  <a:lnTo>
                    <a:pt x="976" y="662"/>
                  </a:lnTo>
                  <a:lnTo>
                    <a:pt x="966" y="666"/>
                  </a:lnTo>
                  <a:lnTo>
                    <a:pt x="952" y="672"/>
                  </a:lnTo>
                  <a:lnTo>
                    <a:pt x="938" y="680"/>
                  </a:lnTo>
                  <a:lnTo>
                    <a:pt x="924" y="694"/>
                  </a:lnTo>
                  <a:lnTo>
                    <a:pt x="920" y="702"/>
                  </a:lnTo>
                  <a:lnTo>
                    <a:pt x="914" y="712"/>
                  </a:lnTo>
                  <a:lnTo>
                    <a:pt x="910" y="722"/>
                  </a:lnTo>
                  <a:lnTo>
                    <a:pt x="906" y="734"/>
                  </a:lnTo>
                  <a:lnTo>
                    <a:pt x="904" y="746"/>
                  </a:lnTo>
                  <a:lnTo>
                    <a:pt x="904" y="762"/>
                  </a:lnTo>
                  <a:lnTo>
                    <a:pt x="904" y="1136"/>
                  </a:lnTo>
                  <a:lnTo>
                    <a:pt x="882" y="1136"/>
                  </a:lnTo>
                  <a:lnTo>
                    <a:pt x="882" y="222"/>
                  </a:lnTo>
                  <a:lnTo>
                    <a:pt x="882" y="222"/>
                  </a:lnTo>
                  <a:lnTo>
                    <a:pt x="882" y="204"/>
                  </a:lnTo>
                  <a:lnTo>
                    <a:pt x="880" y="188"/>
                  </a:lnTo>
                  <a:lnTo>
                    <a:pt x="876" y="174"/>
                  </a:lnTo>
                  <a:lnTo>
                    <a:pt x="872" y="162"/>
                  </a:lnTo>
                  <a:lnTo>
                    <a:pt x="866" y="150"/>
                  </a:lnTo>
                  <a:lnTo>
                    <a:pt x="858" y="140"/>
                  </a:lnTo>
                  <a:lnTo>
                    <a:pt x="850" y="132"/>
                  </a:lnTo>
                  <a:lnTo>
                    <a:pt x="842" y="124"/>
                  </a:lnTo>
                  <a:lnTo>
                    <a:pt x="826" y="114"/>
                  </a:lnTo>
                  <a:lnTo>
                    <a:pt x="812" y="106"/>
                  </a:lnTo>
                  <a:lnTo>
                    <a:pt x="800" y="102"/>
                  </a:lnTo>
                  <a:lnTo>
                    <a:pt x="792" y="100"/>
                  </a:lnTo>
                  <a:lnTo>
                    <a:pt x="792" y="100"/>
                  </a:lnTo>
                  <a:lnTo>
                    <a:pt x="774" y="98"/>
                  </a:lnTo>
                  <a:lnTo>
                    <a:pt x="774" y="98"/>
                  </a:lnTo>
                  <a:lnTo>
                    <a:pt x="754" y="100"/>
                  </a:lnTo>
                  <a:lnTo>
                    <a:pt x="754" y="100"/>
                  </a:lnTo>
                  <a:lnTo>
                    <a:pt x="748" y="102"/>
                  </a:lnTo>
                  <a:lnTo>
                    <a:pt x="736" y="106"/>
                  </a:lnTo>
                  <a:lnTo>
                    <a:pt x="720" y="114"/>
                  </a:lnTo>
                  <a:lnTo>
                    <a:pt x="704" y="124"/>
                  </a:lnTo>
                  <a:lnTo>
                    <a:pt x="696" y="132"/>
                  </a:lnTo>
                  <a:lnTo>
                    <a:pt x="688" y="140"/>
                  </a:lnTo>
                  <a:lnTo>
                    <a:pt x="682" y="150"/>
                  </a:lnTo>
                  <a:lnTo>
                    <a:pt x="674" y="162"/>
                  </a:lnTo>
                  <a:lnTo>
                    <a:pt x="670" y="174"/>
                  </a:lnTo>
                  <a:lnTo>
                    <a:pt x="666" y="188"/>
                  </a:lnTo>
                  <a:lnTo>
                    <a:pt x="664" y="204"/>
                  </a:lnTo>
                  <a:lnTo>
                    <a:pt x="664" y="222"/>
                  </a:lnTo>
                  <a:lnTo>
                    <a:pt x="664" y="1136"/>
                  </a:lnTo>
                  <a:lnTo>
                    <a:pt x="644" y="1136"/>
                  </a:lnTo>
                  <a:lnTo>
                    <a:pt x="644" y="132"/>
                  </a:lnTo>
                  <a:lnTo>
                    <a:pt x="644" y="132"/>
                  </a:lnTo>
                  <a:lnTo>
                    <a:pt x="644" y="112"/>
                  </a:lnTo>
                  <a:lnTo>
                    <a:pt x="642" y="96"/>
                  </a:lnTo>
                  <a:lnTo>
                    <a:pt x="638" y="80"/>
                  </a:lnTo>
                  <a:lnTo>
                    <a:pt x="632" y="66"/>
                  </a:lnTo>
                  <a:lnTo>
                    <a:pt x="626" y="54"/>
                  </a:lnTo>
                  <a:lnTo>
                    <a:pt x="618" y="44"/>
                  </a:lnTo>
                  <a:lnTo>
                    <a:pt x="610" y="36"/>
                  </a:lnTo>
                  <a:lnTo>
                    <a:pt x="602" y="28"/>
                  </a:lnTo>
                  <a:lnTo>
                    <a:pt x="584" y="16"/>
                  </a:lnTo>
                  <a:lnTo>
                    <a:pt x="568" y="8"/>
                  </a:lnTo>
                  <a:lnTo>
                    <a:pt x="556" y="2"/>
                  </a:lnTo>
                  <a:lnTo>
                    <a:pt x="548" y="2"/>
                  </a:lnTo>
                  <a:lnTo>
                    <a:pt x="548" y="2"/>
                  </a:lnTo>
                  <a:lnTo>
                    <a:pt x="528" y="0"/>
                  </a:lnTo>
                  <a:lnTo>
                    <a:pt x="528" y="0"/>
                  </a:lnTo>
                  <a:lnTo>
                    <a:pt x="508" y="2"/>
                  </a:lnTo>
                  <a:lnTo>
                    <a:pt x="508" y="2"/>
                  </a:lnTo>
                  <a:lnTo>
                    <a:pt x="500" y="2"/>
                  </a:lnTo>
                  <a:lnTo>
                    <a:pt x="488" y="8"/>
                  </a:lnTo>
                  <a:lnTo>
                    <a:pt x="472" y="16"/>
                  </a:lnTo>
                  <a:lnTo>
                    <a:pt x="454" y="28"/>
                  </a:lnTo>
                  <a:lnTo>
                    <a:pt x="446" y="36"/>
                  </a:lnTo>
                  <a:lnTo>
                    <a:pt x="438" y="44"/>
                  </a:lnTo>
                  <a:lnTo>
                    <a:pt x="430" y="54"/>
                  </a:lnTo>
                  <a:lnTo>
                    <a:pt x="424" y="66"/>
                  </a:lnTo>
                  <a:lnTo>
                    <a:pt x="418" y="80"/>
                  </a:lnTo>
                  <a:lnTo>
                    <a:pt x="414" y="96"/>
                  </a:lnTo>
                  <a:lnTo>
                    <a:pt x="412" y="112"/>
                  </a:lnTo>
                  <a:lnTo>
                    <a:pt x="412" y="132"/>
                  </a:lnTo>
                  <a:lnTo>
                    <a:pt x="412" y="1136"/>
                  </a:lnTo>
                  <a:lnTo>
                    <a:pt x="388" y="1136"/>
                  </a:lnTo>
                  <a:lnTo>
                    <a:pt x="388" y="302"/>
                  </a:lnTo>
                  <a:lnTo>
                    <a:pt x="388" y="302"/>
                  </a:lnTo>
                  <a:lnTo>
                    <a:pt x="388" y="286"/>
                  </a:lnTo>
                  <a:lnTo>
                    <a:pt x="386" y="270"/>
                  </a:lnTo>
                  <a:lnTo>
                    <a:pt x="384" y="256"/>
                  </a:lnTo>
                  <a:lnTo>
                    <a:pt x="378" y="244"/>
                  </a:lnTo>
                  <a:lnTo>
                    <a:pt x="372" y="234"/>
                  </a:lnTo>
                  <a:lnTo>
                    <a:pt x="366" y="224"/>
                  </a:lnTo>
                  <a:lnTo>
                    <a:pt x="350" y="208"/>
                  </a:lnTo>
                  <a:lnTo>
                    <a:pt x="336" y="198"/>
                  </a:lnTo>
                  <a:lnTo>
                    <a:pt x="320" y="190"/>
                  </a:lnTo>
                  <a:lnTo>
                    <a:pt x="308" y="186"/>
                  </a:lnTo>
                  <a:lnTo>
                    <a:pt x="302" y="184"/>
                  </a:lnTo>
                  <a:lnTo>
                    <a:pt x="302" y="184"/>
                  </a:lnTo>
                  <a:lnTo>
                    <a:pt x="284" y="184"/>
                  </a:lnTo>
                  <a:lnTo>
                    <a:pt x="284" y="184"/>
                  </a:lnTo>
                  <a:lnTo>
                    <a:pt x="266" y="184"/>
                  </a:lnTo>
                  <a:lnTo>
                    <a:pt x="266" y="184"/>
                  </a:lnTo>
                  <a:lnTo>
                    <a:pt x="260" y="186"/>
                  </a:lnTo>
                  <a:lnTo>
                    <a:pt x="248" y="190"/>
                  </a:lnTo>
                  <a:lnTo>
                    <a:pt x="232" y="198"/>
                  </a:lnTo>
                  <a:lnTo>
                    <a:pt x="218" y="208"/>
                  </a:lnTo>
                  <a:lnTo>
                    <a:pt x="202" y="224"/>
                  </a:lnTo>
                  <a:lnTo>
                    <a:pt x="196" y="234"/>
                  </a:lnTo>
                  <a:lnTo>
                    <a:pt x="190" y="244"/>
                  </a:lnTo>
                  <a:lnTo>
                    <a:pt x="184" y="256"/>
                  </a:lnTo>
                  <a:lnTo>
                    <a:pt x="182" y="270"/>
                  </a:lnTo>
                  <a:lnTo>
                    <a:pt x="180" y="286"/>
                  </a:lnTo>
                  <a:lnTo>
                    <a:pt x="180" y="302"/>
                  </a:lnTo>
                  <a:lnTo>
                    <a:pt x="180" y="1136"/>
                  </a:lnTo>
                  <a:lnTo>
                    <a:pt x="156" y="1136"/>
                  </a:lnTo>
                  <a:lnTo>
                    <a:pt x="156" y="542"/>
                  </a:lnTo>
                  <a:lnTo>
                    <a:pt x="156" y="542"/>
                  </a:lnTo>
                  <a:lnTo>
                    <a:pt x="154" y="530"/>
                  </a:lnTo>
                  <a:lnTo>
                    <a:pt x="152" y="516"/>
                  </a:lnTo>
                  <a:lnTo>
                    <a:pt x="146" y="502"/>
                  </a:lnTo>
                  <a:lnTo>
                    <a:pt x="138" y="488"/>
                  </a:lnTo>
                  <a:lnTo>
                    <a:pt x="132" y="480"/>
                  </a:lnTo>
                  <a:lnTo>
                    <a:pt x="126" y="474"/>
                  </a:lnTo>
                  <a:lnTo>
                    <a:pt x="120" y="470"/>
                  </a:lnTo>
                  <a:lnTo>
                    <a:pt x="110" y="466"/>
                  </a:lnTo>
                  <a:lnTo>
                    <a:pt x="100" y="462"/>
                  </a:lnTo>
                  <a:lnTo>
                    <a:pt x="90" y="462"/>
                  </a:lnTo>
                  <a:lnTo>
                    <a:pt x="66" y="462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50" y="466"/>
                  </a:lnTo>
                  <a:lnTo>
                    <a:pt x="40" y="470"/>
                  </a:lnTo>
                  <a:lnTo>
                    <a:pt x="30" y="478"/>
                  </a:lnTo>
                  <a:lnTo>
                    <a:pt x="18" y="488"/>
                  </a:lnTo>
                  <a:lnTo>
                    <a:pt x="10" y="502"/>
                  </a:lnTo>
                  <a:lnTo>
                    <a:pt x="4" y="520"/>
                  </a:lnTo>
                  <a:lnTo>
                    <a:pt x="2" y="530"/>
                  </a:lnTo>
                  <a:lnTo>
                    <a:pt x="2" y="542"/>
                  </a:lnTo>
                  <a:lnTo>
                    <a:pt x="2" y="1136"/>
                  </a:lnTo>
                  <a:lnTo>
                    <a:pt x="2" y="1136"/>
                  </a:lnTo>
                  <a:lnTo>
                    <a:pt x="0" y="1228"/>
                  </a:lnTo>
                  <a:lnTo>
                    <a:pt x="0" y="1324"/>
                  </a:lnTo>
                  <a:lnTo>
                    <a:pt x="0" y="1324"/>
                  </a:lnTo>
                  <a:lnTo>
                    <a:pt x="0" y="1356"/>
                  </a:lnTo>
                  <a:lnTo>
                    <a:pt x="2" y="1388"/>
                  </a:lnTo>
                  <a:lnTo>
                    <a:pt x="4" y="1418"/>
                  </a:lnTo>
                  <a:lnTo>
                    <a:pt x="10" y="1450"/>
                  </a:lnTo>
                  <a:lnTo>
                    <a:pt x="16" y="1480"/>
                  </a:lnTo>
                  <a:lnTo>
                    <a:pt x="22" y="1510"/>
                  </a:lnTo>
                  <a:lnTo>
                    <a:pt x="30" y="1538"/>
                  </a:lnTo>
                  <a:lnTo>
                    <a:pt x="40" y="1566"/>
                  </a:lnTo>
                  <a:lnTo>
                    <a:pt x="52" y="1594"/>
                  </a:lnTo>
                  <a:lnTo>
                    <a:pt x="64" y="1622"/>
                  </a:lnTo>
                  <a:lnTo>
                    <a:pt x="78" y="1648"/>
                  </a:lnTo>
                  <a:lnTo>
                    <a:pt x="92" y="1672"/>
                  </a:lnTo>
                  <a:lnTo>
                    <a:pt x="108" y="1698"/>
                  </a:lnTo>
                  <a:lnTo>
                    <a:pt x="124" y="1720"/>
                  </a:lnTo>
                  <a:lnTo>
                    <a:pt x="140" y="1744"/>
                  </a:lnTo>
                  <a:lnTo>
                    <a:pt x="160" y="1766"/>
                  </a:lnTo>
                  <a:lnTo>
                    <a:pt x="178" y="1786"/>
                  </a:lnTo>
                  <a:lnTo>
                    <a:pt x="198" y="1806"/>
                  </a:lnTo>
                  <a:lnTo>
                    <a:pt x="220" y="1824"/>
                  </a:lnTo>
                  <a:lnTo>
                    <a:pt x="242" y="1842"/>
                  </a:lnTo>
                  <a:lnTo>
                    <a:pt x="264" y="1858"/>
                  </a:lnTo>
                  <a:lnTo>
                    <a:pt x="288" y="1872"/>
                  </a:lnTo>
                  <a:lnTo>
                    <a:pt x="312" y="1886"/>
                  </a:lnTo>
                  <a:lnTo>
                    <a:pt x="336" y="1900"/>
                  </a:lnTo>
                  <a:lnTo>
                    <a:pt x="360" y="1910"/>
                  </a:lnTo>
                  <a:lnTo>
                    <a:pt x="386" y="1920"/>
                  </a:lnTo>
                  <a:lnTo>
                    <a:pt x="412" y="1928"/>
                  </a:lnTo>
                  <a:lnTo>
                    <a:pt x="440" y="1936"/>
                  </a:lnTo>
                  <a:lnTo>
                    <a:pt x="466" y="1940"/>
                  </a:lnTo>
                  <a:lnTo>
                    <a:pt x="494" y="1944"/>
                  </a:lnTo>
                  <a:lnTo>
                    <a:pt x="522" y="1948"/>
                  </a:lnTo>
                  <a:lnTo>
                    <a:pt x="552" y="1948"/>
                  </a:lnTo>
                  <a:lnTo>
                    <a:pt x="552" y="1948"/>
                  </a:lnTo>
                  <a:lnTo>
                    <a:pt x="580" y="1948"/>
                  </a:lnTo>
                  <a:lnTo>
                    <a:pt x="608" y="1944"/>
                  </a:lnTo>
                  <a:lnTo>
                    <a:pt x="636" y="1940"/>
                  </a:lnTo>
                  <a:lnTo>
                    <a:pt x="662" y="1936"/>
                  </a:lnTo>
                  <a:lnTo>
                    <a:pt x="688" y="1928"/>
                  </a:lnTo>
                  <a:lnTo>
                    <a:pt x="714" y="1920"/>
                  </a:lnTo>
                  <a:lnTo>
                    <a:pt x="740" y="1910"/>
                  </a:lnTo>
                  <a:lnTo>
                    <a:pt x="766" y="1900"/>
                  </a:lnTo>
                  <a:lnTo>
                    <a:pt x="790" y="1886"/>
                  </a:lnTo>
                  <a:lnTo>
                    <a:pt x="814" y="1872"/>
                  </a:lnTo>
                  <a:lnTo>
                    <a:pt x="836" y="1858"/>
                  </a:lnTo>
                  <a:lnTo>
                    <a:pt x="858" y="1842"/>
                  </a:lnTo>
                  <a:lnTo>
                    <a:pt x="880" y="1824"/>
                  </a:lnTo>
                  <a:lnTo>
                    <a:pt x="900" y="1806"/>
                  </a:lnTo>
                  <a:lnTo>
                    <a:pt x="920" y="1786"/>
                  </a:lnTo>
                  <a:lnTo>
                    <a:pt x="940" y="1766"/>
                  </a:lnTo>
                  <a:lnTo>
                    <a:pt x="958" y="1744"/>
                  </a:lnTo>
                  <a:lnTo>
                    <a:pt x="974" y="1722"/>
                  </a:lnTo>
                  <a:lnTo>
                    <a:pt x="992" y="1698"/>
                  </a:lnTo>
                  <a:lnTo>
                    <a:pt x="1006" y="1672"/>
                  </a:lnTo>
                  <a:lnTo>
                    <a:pt x="1020" y="1648"/>
                  </a:lnTo>
                  <a:lnTo>
                    <a:pt x="1034" y="1622"/>
                  </a:lnTo>
                  <a:lnTo>
                    <a:pt x="1046" y="1594"/>
                  </a:lnTo>
                  <a:lnTo>
                    <a:pt x="1056" y="1566"/>
                  </a:lnTo>
                  <a:lnTo>
                    <a:pt x="1066" y="1538"/>
                  </a:lnTo>
                  <a:lnTo>
                    <a:pt x="1074" y="1510"/>
                  </a:lnTo>
                  <a:lnTo>
                    <a:pt x="1082" y="1480"/>
                  </a:lnTo>
                  <a:lnTo>
                    <a:pt x="1088" y="1450"/>
                  </a:lnTo>
                  <a:lnTo>
                    <a:pt x="1094" y="1418"/>
                  </a:lnTo>
                  <a:lnTo>
                    <a:pt x="1096" y="1388"/>
                  </a:lnTo>
                  <a:lnTo>
                    <a:pt x="1098" y="1356"/>
                  </a:lnTo>
                  <a:lnTo>
                    <a:pt x="1100" y="1324"/>
                  </a:lnTo>
                  <a:lnTo>
                    <a:pt x="1100" y="1324"/>
                  </a:lnTo>
                  <a:lnTo>
                    <a:pt x="1100" y="1228"/>
                  </a:lnTo>
                  <a:lnTo>
                    <a:pt x="1100" y="1180"/>
                  </a:lnTo>
                  <a:lnTo>
                    <a:pt x="1100" y="113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2025" y="2016"/>
              <a:ext cx="278" cy="200"/>
            </a:xfrm>
            <a:custGeom>
              <a:avLst/>
              <a:gdLst>
                <a:gd name="T0" fmla="*/ 274 w 278"/>
                <a:gd name="T1" fmla="*/ 34 h 200"/>
                <a:gd name="T2" fmla="*/ 278 w 278"/>
                <a:gd name="T3" fmla="*/ 74 h 200"/>
                <a:gd name="T4" fmla="*/ 278 w 278"/>
                <a:gd name="T5" fmla="*/ 90 h 200"/>
                <a:gd name="T6" fmla="*/ 274 w 278"/>
                <a:gd name="T7" fmla="*/ 118 h 200"/>
                <a:gd name="T8" fmla="*/ 270 w 278"/>
                <a:gd name="T9" fmla="*/ 130 h 200"/>
                <a:gd name="T10" fmla="*/ 258 w 278"/>
                <a:gd name="T11" fmla="*/ 152 h 200"/>
                <a:gd name="T12" fmla="*/ 242 w 278"/>
                <a:gd name="T13" fmla="*/ 170 h 200"/>
                <a:gd name="T14" fmla="*/ 234 w 278"/>
                <a:gd name="T15" fmla="*/ 176 h 200"/>
                <a:gd name="T16" fmla="*/ 212 w 278"/>
                <a:gd name="T17" fmla="*/ 188 h 200"/>
                <a:gd name="T18" fmla="*/ 200 w 278"/>
                <a:gd name="T19" fmla="*/ 192 h 200"/>
                <a:gd name="T20" fmla="*/ 148 w 278"/>
                <a:gd name="T21" fmla="*/ 200 h 200"/>
                <a:gd name="T22" fmla="*/ 118 w 278"/>
                <a:gd name="T23" fmla="*/ 200 h 200"/>
                <a:gd name="T24" fmla="*/ 90 w 278"/>
                <a:gd name="T25" fmla="*/ 194 h 200"/>
                <a:gd name="T26" fmla="*/ 66 w 278"/>
                <a:gd name="T27" fmla="*/ 184 h 200"/>
                <a:gd name="T28" fmla="*/ 44 w 278"/>
                <a:gd name="T29" fmla="*/ 170 h 200"/>
                <a:gd name="T30" fmla="*/ 34 w 278"/>
                <a:gd name="T31" fmla="*/ 162 h 200"/>
                <a:gd name="T32" fmla="*/ 18 w 278"/>
                <a:gd name="T33" fmla="*/ 142 h 200"/>
                <a:gd name="T34" fmla="*/ 12 w 278"/>
                <a:gd name="T35" fmla="*/ 130 h 200"/>
                <a:gd name="T36" fmla="*/ 4 w 278"/>
                <a:gd name="T37" fmla="*/ 102 h 200"/>
                <a:gd name="T38" fmla="*/ 0 w 278"/>
                <a:gd name="T39" fmla="*/ 70 h 200"/>
                <a:gd name="T40" fmla="*/ 2 w 278"/>
                <a:gd name="T41" fmla="*/ 38 h 200"/>
                <a:gd name="T42" fmla="*/ 4 w 278"/>
                <a:gd name="T43" fmla="*/ 22 h 200"/>
                <a:gd name="T44" fmla="*/ 42 w 278"/>
                <a:gd name="T45" fmla="*/ 14 h 200"/>
                <a:gd name="T46" fmla="*/ 34 w 278"/>
                <a:gd name="T47" fmla="*/ 42 h 200"/>
                <a:gd name="T48" fmla="*/ 32 w 278"/>
                <a:gd name="T49" fmla="*/ 58 h 200"/>
                <a:gd name="T50" fmla="*/ 32 w 278"/>
                <a:gd name="T51" fmla="*/ 74 h 200"/>
                <a:gd name="T52" fmla="*/ 38 w 278"/>
                <a:gd name="T53" fmla="*/ 104 h 200"/>
                <a:gd name="T54" fmla="*/ 42 w 278"/>
                <a:gd name="T55" fmla="*/ 114 h 200"/>
                <a:gd name="T56" fmla="*/ 66 w 278"/>
                <a:gd name="T57" fmla="*/ 140 h 200"/>
                <a:gd name="T58" fmla="*/ 80 w 278"/>
                <a:gd name="T59" fmla="*/ 150 h 200"/>
                <a:gd name="T60" fmla="*/ 100 w 278"/>
                <a:gd name="T61" fmla="*/ 156 h 200"/>
                <a:gd name="T62" fmla="*/ 142 w 278"/>
                <a:gd name="T63" fmla="*/ 160 h 200"/>
                <a:gd name="T64" fmla="*/ 164 w 278"/>
                <a:gd name="T65" fmla="*/ 158 h 200"/>
                <a:gd name="T66" fmla="*/ 204 w 278"/>
                <a:gd name="T67" fmla="*/ 146 h 200"/>
                <a:gd name="T68" fmla="*/ 218 w 278"/>
                <a:gd name="T69" fmla="*/ 136 h 200"/>
                <a:gd name="T70" fmla="*/ 240 w 278"/>
                <a:gd name="T71" fmla="*/ 108 h 200"/>
                <a:gd name="T72" fmla="*/ 246 w 278"/>
                <a:gd name="T73" fmla="*/ 66 h 200"/>
                <a:gd name="T74" fmla="*/ 244 w 278"/>
                <a:gd name="T75" fmla="*/ 52 h 200"/>
                <a:gd name="T76" fmla="*/ 240 w 278"/>
                <a:gd name="T77" fmla="*/ 36 h 200"/>
                <a:gd name="T78" fmla="*/ 230 w 278"/>
                <a:gd name="T79" fmla="*/ 6 h 200"/>
                <a:gd name="T80" fmla="*/ 262 w 278"/>
                <a:gd name="T81" fmla="*/ 0 h 200"/>
                <a:gd name="T82" fmla="*/ 274 w 278"/>
                <a:gd name="T83" fmla="*/ 3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8" h="200">
                  <a:moveTo>
                    <a:pt x="274" y="34"/>
                  </a:moveTo>
                  <a:lnTo>
                    <a:pt x="274" y="34"/>
                  </a:lnTo>
                  <a:lnTo>
                    <a:pt x="276" y="54"/>
                  </a:lnTo>
                  <a:lnTo>
                    <a:pt x="278" y="74"/>
                  </a:lnTo>
                  <a:lnTo>
                    <a:pt x="278" y="74"/>
                  </a:lnTo>
                  <a:lnTo>
                    <a:pt x="278" y="90"/>
                  </a:lnTo>
                  <a:lnTo>
                    <a:pt x="276" y="104"/>
                  </a:lnTo>
                  <a:lnTo>
                    <a:pt x="274" y="118"/>
                  </a:lnTo>
                  <a:lnTo>
                    <a:pt x="270" y="130"/>
                  </a:lnTo>
                  <a:lnTo>
                    <a:pt x="270" y="130"/>
                  </a:lnTo>
                  <a:lnTo>
                    <a:pt x="264" y="142"/>
                  </a:lnTo>
                  <a:lnTo>
                    <a:pt x="258" y="152"/>
                  </a:lnTo>
                  <a:lnTo>
                    <a:pt x="250" y="162"/>
                  </a:lnTo>
                  <a:lnTo>
                    <a:pt x="242" y="170"/>
                  </a:lnTo>
                  <a:lnTo>
                    <a:pt x="242" y="170"/>
                  </a:lnTo>
                  <a:lnTo>
                    <a:pt x="234" y="176"/>
                  </a:lnTo>
                  <a:lnTo>
                    <a:pt x="224" y="184"/>
                  </a:lnTo>
                  <a:lnTo>
                    <a:pt x="212" y="188"/>
                  </a:lnTo>
                  <a:lnTo>
                    <a:pt x="200" y="192"/>
                  </a:lnTo>
                  <a:lnTo>
                    <a:pt x="200" y="192"/>
                  </a:lnTo>
                  <a:lnTo>
                    <a:pt x="176" y="198"/>
                  </a:lnTo>
                  <a:lnTo>
                    <a:pt x="148" y="200"/>
                  </a:lnTo>
                  <a:lnTo>
                    <a:pt x="148" y="200"/>
                  </a:lnTo>
                  <a:lnTo>
                    <a:pt x="118" y="200"/>
                  </a:lnTo>
                  <a:lnTo>
                    <a:pt x="90" y="194"/>
                  </a:lnTo>
                  <a:lnTo>
                    <a:pt x="90" y="194"/>
                  </a:lnTo>
                  <a:lnTo>
                    <a:pt x="78" y="190"/>
                  </a:lnTo>
                  <a:lnTo>
                    <a:pt x="66" y="184"/>
                  </a:lnTo>
                  <a:lnTo>
                    <a:pt x="54" y="178"/>
                  </a:lnTo>
                  <a:lnTo>
                    <a:pt x="44" y="170"/>
                  </a:lnTo>
                  <a:lnTo>
                    <a:pt x="44" y="170"/>
                  </a:lnTo>
                  <a:lnTo>
                    <a:pt x="34" y="162"/>
                  </a:lnTo>
                  <a:lnTo>
                    <a:pt x="26" y="152"/>
                  </a:lnTo>
                  <a:lnTo>
                    <a:pt x="18" y="142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8" y="116"/>
                  </a:lnTo>
                  <a:lnTo>
                    <a:pt x="4" y="102"/>
                  </a:lnTo>
                  <a:lnTo>
                    <a:pt x="2" y="8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4" y="22"/>
                  </a:lnTo>
                  <a:lnTo>
                    <a:pt x="8" y="8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2" y="58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4" y="96"/>
                  </a:lnTo>
                  <a:lnTo>
                    <a:pt x="38" y="104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52" y="128"/>
                  </a:lnTo>
                  <a:lnTo>
                    <a:pt x="66" y="140"/>
                  </a:lnTo>
                  <a:lnTo>
                    <a:pt x="66" y="140"/>
                  </a:lnTo>
                  <a:lnTo>
                    <a:pt x="80" y="150"/>
                  </a:lnTo>
                  <a:lnTo>
                    <a:pt x="100" y="156"/>
                  </a:lnTo>
                  <a:lnTo>
                    <a:pt x="100" y="156"/>
                  </a:lnTo>
                  <a:lnTo>
                    <a:pt x="120" y="160"/>
                  </a:lnTo>
                  <a:lnTo>
                    <a:pt x="142" y="160"/>
                  </a:lnTo>
                  <a:lnTo>
                    <a:pt x="142" y="160"/>
                  </a:lnTo>
                  <a:lnTo>
                    <a:pt x="164" y="158"/>
                  </a:lnTo>
                  <a:lnTo>
                    <a:pt x="186" y="154"/>
                  </a:lnTo>
                  <a:lnTo>
                    <a:pt x="204" y="146"/>
                  </a:lnTo>
                  <a:lnTo>
                    <a:pt x="218" y="136"/>
                  </a:lnTo>
                  <a:lnTo>
                    <a:pt x="218" y="136"/>
                  </a:lnTo>
                  <a:lnTo>
                    <a:pt x="230" y="124"/>
                  </a:lnTo>
                  <a:lnTo>
                    <a:pt x="240" y="108"/>
                  </a:lnTo>
                  <a:lnTo>
                    <a:pt x="244" y="88"/>
                  </a:lnTo>
                  <a:lnTo>
                    <a:pt x="246" y="66"/>
                  </a:lnTo>
                  <a:lnTo>
                    <a:pt x="246" y="66"/>
                  </a:lnTo>
                  <a:lnTo>
                    <a:pt x="244" y="52"/>
                  </a:lnTo>
                  <a:lnTo>
                    <a:pt x="240" y="36"/>
                  </a:lnTo>
                  <a:lnTo>
                    <a:pt x="240" y="36"/>
                  </a:lnTo>
                  <a:lnTo>
                    <a:pt x="236" y="20"/>
                  </a:lnTo>
                  <a:lnTo>
                    <a:pt x="230" y="6"/>
                  </a:lnTo>
                  <a:lnTo>
                    <a:pt x="262" y="0"/>
                  </a:lnTo>
                  <a:lnTo>
                    <a:pt x="262" y="0"/>
                  </a:lnTo>
                  <a:lnTo>
                    <a:pt x="268" y="16"/>
                  </a:lnTo>
                  <a:lnTo>
                    <a:pt x="274" y="34"/>
                  </a:lnTo>
                  <a:lnTo>
                    <a:pt x="274" y="34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Freeform 25"/>
            <p:cNvSpPr>
              <a:spLocks noEditPoints="1"/>
            </p:cNvSpPr>
            <p:nvPr userDrawn="1"/>
          </p:nvSpPr>
          <p:spPr bwMode="auto">
            <a:xfrm>
              <a:off x="2093" y="1804"/>
              <a:ext cx="206" cy="188"/>
            </a:xfrm>
            <a:custGeom>
              <a:avLst/>
              <a:gdLst>
                <a:gd name="T0" fmla="*/ 98 w 206"/>
                <a:gd name="T1" fmla="*/ 0 h 188"/>
                <a:gd name="T2" fmla="*/ 140 w 206"/>
                <a:gd name="T3" fmla="*/ 8 h 188"/>
                <a:gd name="T4" fmla="*/ 158 w 206"/>
                <a:gd name="T5" fmla="*/ 16 h 188"/>
                <a:gd name="T6" fmla="*/ 174 w 206"/>
                <a:gd name="T7" fmla="*/ 26 h 188"/>
                <a:gd name="T8" fmla="*/ 198 w 206"/>
                <a:gd name="T9" fmla="*/ 56 h 188"/>
                <a:gd name="T10" fmla="*/ 204 w 206"/>
                <a:gd name="T11" fmla="*/ 76 h 188"/>
                <a:gd name="T12" fmla="*/ 206 w 206"/>
                <a:gd name="T13" fmla="*/ 96 h 188"/>
                <a:gd name="T14" fmla="*/ 202 w 206"/>
                <a:gd name="T15" fmla="*/ 134 h 188"/>
                <a:gd name="T16" fmla="*/ 194 w 206"/>
                <a:gd name="T17" fmla="*/ 150 h 188"/>
                <a:gd name="T18" fmla="*/ 184 w 206"/>
                <a:gd name="T19" fmla="*/ 162 h 188"/>
                <a:gd name="T20" fmla="*/ 152 w 206"/>
                <a:gd name="T21" fmla="*/ 182 h 188"/>
                <a:gd name="T22" fmla="*/ 132 w 206"/>
                <a:gd name="T23" fmla="*/ 186 h 188"/>
                <a:gd name="T24" fmla="*/ 106 w 206"/>
                <a:gd name="T25" fmla="*/ 188 h 188"/>
                <a:gd name="T26" fmla="*/ 66 w 206"/>
                <a:gd name="T27" fmla="*/ 182 h 188"/>
                <a:gd name="T28" fmla="*/ 48 w 206"/>
                <a:gd name="T29" fmla="*/ 174 h 188"/>
                <a:gd name="T30" fmla="*/ 32 w 206"/>
                <a:gd name="T31" fmla="*/ 164 h 188"/>
                <a:gd name="T32" fmla="*/ 8 w 206"/>
                <a:gd name="T33" fmla="*/ 134 h 188"/>
                <a:gd name="T34" fmla="*/ 2 w 206"/>
                <a:gd name="T35" fmla="*/ 114 h 188"/>
                <a:gd name="T36" fmla="*/ 0 w 206"/>
                <a:gd name="T37" fmla="*/ 92 h 188"/>
                <a:gd name="T38" fmla="*/ 4 w 206"/>
                <a:gd name="T39" fmla="*/ 56 h 188"/>
                <a:gd name="T40" fmla="*/ 12 w 206"/>
                <a:gd name="T41" fmla="*/ 42 h 188"/>
                <a:gd name="T42" fmla="*/ 22 w 206"/>
                <a:gd name="T43" fmla="*/ 28 h 188"/>
                <a:gd name="T44" fmla="*/ 52 w 206"/>
                <a:gd name="T45" fmla="*/ 8 h 188"/>
                <a:gd name="T46" fmla="*/ 74 w 206"/>
                <a:gd name="T47" fmla="*/ 2 h 188"/>
                <a:gd name="T48" fmla="*/ 98 w 206"/>
                <a:gd name="T49" fmla="*/ 0 h 188"/>
                <a:gd name="T50" fmla="*/ 100 w 206"/>
                <a:gd name="T51" fmla="*/ 40 h 188"/>
                <a:gd name="T52" fmla="*/ 70 w 206"/>
                <a:gd name="T53" fmla="*/ 42 h 188"/>
                <a:gd name="T54" fmla="*/ 48 w 206"/>
                <a:gd name="T55" fmla="*/ 54 h 188"/>
                <a:gd name="T56" fmla="*/ 40 w 206"/>
                <a:gd name="T57" fmla="*/ 62 h 188"/>
                <a:gd name="T58" fmla="*/ 30 w 206"/>
                <a:gd name="T59" fmla="*/ 82 h 188"/>
                <a:gd name="T60" fmla="*/ 30 w 206"/>
                <a:gd name="T61" fmla="*/ 96 h 188"/>
                <a:gd name="T62" fmla="*/ 34 w 206"/>
                <a:gd name="T63" fmla="*/ 116 h 188"/>
                <a:gd name="T64" fmla="*/ 40 w 206"/>
                <a:gd name="T65" fmla="*/ 126 h 188"/>
                <a:gd name="T66" fmla="*/ 48 w 206"/>
                <a:gd name="T67" fmla="*/ 134 h 188"/>
                <a:gd name="T68" fmla="*/ 70 w 206"/>
                <a:gd name="T69" fmla="*/ 146 h 188"/>
                <a:gd name="T70" fmla="*/ 86 w 206"/>
                <a:gd name="T71" fmla="*/ 150 h 188"/>
                <a:gd name="T72" fmla="*/ 102 w 206"/>
                <a:gd name="T73" fmla="*/ 150 h 188"/>
                <a:gd name="T74" fmla="*/ 134 w 206"/>
                <a:gd name="T75" fmla="*/ 146 h 188"/>
                <a:gd name="T76" fmla="*/ 158 w 206"/>
                <a:gd name="T77" fmla="*/ 134 h 188"/>
                <a:gd name="T78" fmla="*/ 166 w 206"/>
                <a:gd name="T79" fmla="*/ 126 h 188"/>
                <a:gd name="T80" fmla="*/ 176 w 206"/>
                <a:gd name="T81" fmla="*/ 106 h 188"/>
                <a:gd name="T82" fmla="*/ 176 w 206"/>
                <a:gd name="T83" fmla="*/ 92 h 188"/>
                <a:gd name="T84" fmla="*/ 172 w 206"/>
                <a:gd name="T85" fmla="*/ 72 h 188"/>
                <a:gd name="T86" fmla="*/ 166 w 206"/>
                <a:gd name="T87" fmla="*/ 62 h 188"/>
                <a:gd name="T88" fmla="*/ 158 w 206"/>
                <a:gd name="T89" fmla="*/ 54 h 188"/>
                <a:gd name="T90" fmla="*/ 134 w 206"/>
                <a:gd name="T91" fmla="*/ 42 h 188"/>
                <a:gd name="T92" fmla="*/ 118 w 206"/>
                <a:gd name="T93" fmla="*/ 40 h 188"/>
                <a:gd name="T94" fmla="*/ 100 w 206"/>
                <a:gd name="T95" fmla="*/ 4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6" h="188">
                  <a:moveTo>
                    <a:pt x="98" y="0"/>
                  </a:moveTo>
                  <a:lnTo>
                    <a:pt x="98" y="0"/>
                  </a:lnTo>
                  <a:lnTo>
                    <a:pt x="120" y="2"/>
                  </a:lnTo>
                  <a:lnTo>
                    <a:pt x="140" y="8"/>
                  </a:lnTo>
                  <a:lnTo>
                    <a:pt x="140" y="8"/>
                  </a:lnTo>
                  <a:lnTo>
                    <a:pt x="158" y="16"/>
                  </a:lnTo>
                  <a:lnTo>
                    <a:pt x="174" y="26"/>
                  </a:lnTo>
                  <a:lnTo>
                    <a:pt x="174" y="26"/>
                  </a:lnTo>
                  <a:lnTo>
                    <a:pt x="188" y="40"/>
                  </a:lnTo>
                  <a:lnTo>
                    <a:pt x="198" y="56"/>
                  </a:lnTo>
                  <a:lnTo>
                    <a:pt x="198" y="56"/>
                  </a:lnTo>
                  <a:lnTo>
                    <a:pt x="204" y="76"/>
                  </a:lnTo>
                  <a:lnTo>
                    <a:pt x="206" y="96"/>
                  </a:lnTo>
                  <a:lnTo>
                    <a:pt x="206" y="96"/>
                  </a:lnTo>
                  <a:lnTo>
                    <a:pt x="206" y="116"/>
                  </a:lnTo>
                  <a:lnTo>
                    <a:pt x="202" y="134"/>
                  </a:lnTo>
                  <a:lnTo>
                    <a:pt x="202" y="134"/>
                  </a:lnTo>
                  <a:lnTo>
                    <a:pt x="194" y="150"/>
                  </a:lnTo>
                  <a:lnTo>
                    <a:pt x="184" y="162"/>
                  </a:lnTo>
                  <a:lnTo>
                    <a:pt x="184" y="162"/>
                  </a:lnTo>
                  <a:lnTo>
                    <a:pt x="170" y="172"/>
                  </a:lnTo>
                  <a:lnTo>
                    <a:pt x="152" y="182"/>
                  </a:lnTo>
                  <a:lnTo>
                    <a:pt x="152" y="182"/>
                  </a:lnTo>
                  <a:lnTo>
                    <a:pt x="132" y="186"/>
                  </a:lnTo>
                  <a:lnTo>
                    <a:pt x="106" y="188"/>
                  </a:lnTo>
                  <a:lnTo>
                    <a:pt x="106" y="188"/>
                  </a:lnTo>
                  <a:lnTo>
                    <a:pt x="86" y="188"/>
                  </a:lnTo>
                  <a:lnTo>
                    <a:pt x="66" y="182"/>
                  </a:lnTo>
                  <a:lnTo>
                    <a:pt x="66" y="182"/>
                  </a:lnTo>
                  <a:lnTo>
                    <a:pt x="48" y="174"/>
                  </a:lnTo>
                  <a:lnTo>
                    <a:pt x="32" y="164"/>
                  </a:lnTo>
                  <a:lnTo>
                    <a:pt x="32" y="164"/>
                  </a:lnTo>
                  <a:lnTo>
                    <a:pt x="18" y="150"/>
                  </a:lnTo>
                  <a:lnTo>
                    <a:pt x="8" y="134"/>
                  </a:lnTo>
                  <a:lnTo>
                    <a:pt x="8" y="134"/>
                  </a:lnTo>
                  <a:lnTo>
                    <a:pt x="2" y="114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74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12" y="42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34" y="16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74" y="2"/>
                  </a:lnTo>
                  <a:lnTo>
                    <a:pt x="98" y="0"/>
                  </a:lnTo>
                  <a:lnTo>
                    <a:pt x="98" y="0"/>
                  </a:lnTo>
                  <a:close/>
                  <a:moveTo>
                    <a:pt x="100" y="40"/>
                  </a:moveTo>
                  <a:lnTo>
                    <a:pt x="100" y="40"/>
                  </a:lnTo>
                  <a:lnTo>
                    <a:pt x="84" y="40"/>
                  </a:lnTo>
                  <a:lnTo>
                    <a:pt x="70" y="42"/>
                  </a:lnTo>
                  <a:lnTo>
                    <a:pt x="58" y="48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40" y="62"/>
                  </a:lnTo>
                  <a:lnTo>
                    <a:pt x="34" y="72"/>
                  </a:lnTo>
                  <a:lnTo>
                    <a:pt x="30" y="82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106"/>
                  </a:lnTo>
                  <a:lnTo>
                    <a:pt x="34" y="116"/>
                  </a:lnTo>
                  <a:lnTo>
                    <a:pt x="34" y="116"/>
                  </a:lnTo>
                  <a:lnTo>
                    <a:pt x="40" y="126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58" y="140"/>
                  </a:lnTo>
                  <a:lnTo>
                    <a:pt x="70" y="146"/>
                  </a:lnTo>
                  <a:lnTo>
                    <a:pt x="70" y="146"/>
                  </a:lnTo>
                  <a:lnTo>
                    <a:pt x="86" y="150"/>
                  </a:lnTo>
                  <a:lnTo>
                    <a:pt x="102" y="150"/>
                  </a:lnTo>
                  <a:lnTo>
                    <a:pt x="102" y="150"/>
                  </a:lnTo>
                  <a:lnTo>
                    <a:pt x="120" y="148"/>
                  </a:lnTo>
                  <a:lnTo>
                    <a:pt x="134" y="146"/>
                  </a:lnTo>
                  <a:lnTo>
                    <a:pt x="148" y="142"/>
                  </a:lnTo>
                  <a:lnTo>
                    <a:pt x="158" y="134"/>
                  </a:lnTo>
                  <a:lnTo>
                    <a:pt x="158" y="134"/>
                  </a:lnTo>
                  <a:lnTo>
                    <a:pt x="166" y="126"/>
                  </a:lnTo>
                  <a:lnTo>
                    <a:pt x="172" y="118"/>
                  </a:lnTo>
                  <a:lnTo>
                    <a:pt x="176" y="106"/>
                  </a:lnTo>
                  <a:lnTo>
                    <a:pt x="176" y="92"/>
                  </a:lnTo>
                  <a:lnTo>
                    <a:pt x="176" y="92"/>
                  </a:lnTo>
                  <a:lnTo>
                    <a:pt x="176" y="82"/>
                  </a:lnTo>
                  <a:lnTo>
                    <a:pt x="172" y="72"/>
                  </a:lnTo>
                  <a:lnTo>
                    <a:pt x="172" y="72"/>
                  </a:lnTo>
                  <a:lnTo>
                    <a:pt x="166" y="62"/>
                  </a:lnTo>
                  <a:lnTo>
                    <a:pt x="158" y="54"/>
                  </a:lnTo>
                  <a:lnTo>
                    <a:pt x="158" y="54"/>
                  </a:lnTo>
                  <a:lnTo>
                    <a:pt x="148" y="48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18" y="40"/>
                  </a:lnTo>
                  <a:lnTo>
                    <a:pt x="100" y="40"/>
                  </a:lnTo>
                  <a:lnTo>
                    <a:pt x="100" y="40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2089" y="1588"/>
              <a:ext cx="204" cy="168"/>
            </a:xfrm>
            <a:custGeom>
              <a:avLst/>
              <a:gdLst>
                <a:gd name="T0" fmla="*/ 202 w 204"/>
                <a:gd name="T1" fmla="*/ 38 h 168"/>
                <a:gd name="T2" fmla="*/ 74 w 204"/>
                <a:gd name="T3" fmla="*/ 40 h 168"/>
                <a:gd name="T4" fmla="*/ 74 w 204"/>
                <a:gd name="T5" fmla="*/ 40 h 168"/>
                <a:gd name="T6" fmla="*/ 54 w 204"/>
                <a:gd name="T7" fmla="*/ 42 h 168"/>
                <a:gd name="T8" fmla="*/ 46 w 204"/>
                <a:gd name="T9" fmla="*/ 44 h 168"/>
                <a:gd name="T10" fmla="*/ 40 w 204"/>
                <a:gd name="T11" fmla="*/ 48 h 168"/>
                <a:gd name="T12" fmla="*/ 40 w 204"/>
                <a:gd name="T13" fmla="*/ 48 h 168"/>
                <a:gd name="T14" fmla="*/ 36 w 204"/>
                <a:gd name="T15" fmla="*/ 52 h 168"/>
                <a:gd name="T16" fmla="*/ 32 w 204"/>
                <a:gd name="T17" fmla="*/ 58 h 168"/>
                <a:gd name="T18" fmla="*/ 30 w 204"/>
                <a:gd name="T19" fmla="*/ 66 h 168"/>
                <a:gd name="T20" fmla="*/ 30 w 204"/>
                <a:gd name="T21" fmla="*/ 74 h 168"/>
                <a:gd name="T22" fmla="*/ 30 w 204"/>
                <a:gd name="T23" fmla="*/ 74 h 168"/>
                <a:gd name="T24" fmla="*/ 32 w 204"/>
                <a:gd name="T25" fmla="*/ 86 h 168"/>
                <a:gd name="T26" fmla="*/ 36 w 204"/>
                <a:gd name="T27" fmla="*/ 98 h 168"/>
                <a:gd name="T28" fmla="*/ 36 w 204"/>
                <a:gd name="T29" fmla="*/ 98 h 168"/>
                <a:gd name="T30" fmla="*/ 44 w 204"/>
                <a:gd name="T31" fmla="*/ 108 h 168"/>
                <a:gd name="T32" fmla="*/ 52 w 204"/>
                <a:gd name="T33" fmla="*/ 116 h 168"/>
                <a:gd name="T34" fmla="*/ 52 w 204"/>
                <a:gd name="T35" fmla="*/ 116 h 168"/>
                <a:gd name="T36" fmla="*/ 64 w 204"/>
                <a:gd name="T37" fmla="*/ 122 h 168"/>
                <a:gd name="T38" fmla="*/ 78 w 204"/>
                <a:gd name="T39" fmla="*/ 126 h 168"/>
                <a:gd name="T40" fmla="*/ 78 w 204"/>
                <a:gd name="T41" fmla="*/ 126 h 168"/>
                <a:gd name="T42" fmla="*/ 92 w 204"/>
                <a:gd name="T43" fmla="*/ 130 h 168"/>
                <a:gd name="T44" fmla="*/ 108 w 204"/>
                <a:gd name="T45" fmla="*/ 130 h 168"/>
                <a:gd name="T46" fmla="*/ 204 w 204"/>
                <a:gd name="T47" fmla="*/ 128 h 168"/>
                <a:gd name="T48" fmla="*/ 204 w 204"/>
                <a:gd name="T49" fmla="*/ 164 h 168"/>
                <a:gd name="T50" fmla="*/ 4 w 204"/>
                <a:gd name="T51" fmla="*/ 168 h 168"/>
                <a:gd name="T52" fmla="*/ 4 w 204"/>
                <a:gd name="T53" fmla="*/ 134 h 168"/>
                <a:gd name="T54" fmla="*/ 4 w 204"/>
                <a:gd name="T55" fmla="*/ 134 h 168"/>
                <a:gd name="T56" fmla="*/ 26 w 204"/>
                <a:gd name="T57" fmla="*/ 134 h 168"/>
                <a:gd name="T58" fmla="*/ 26 w 204"/>
                <a:gd name="T59" fmla="*/ 134 h 168"/>
                <a:gd name="T60" fmla="*/ 46 w 204"/>
                <a:gd name="T61" fmla="*/ 136 h 168"/>
                <a:gd name="T62" fmla="*/ 46 w 204"/>
                <a:gd name="T63" fmla="*/ 134 h 168"/>
                <a:gd name="T64" fmla="*/ 46 w 204"/>
                <a:gd name="T65" fmla="*/ 134 h 168"/>
                <a:gd name="T66" fmla="*/ 36 w 204"/>
                <a:gd name="T67" fmla="*/ 130 h 168"/>
                <a:gd name="T68" fmla="*/ 28 w 204"/>
                <a:gd name="T69" fmla="*/ 124 h 168"/>
                <a:gd name="T70" fmla="*/ 20 w 204"/>
                <a:gd name="T71" fmla="*/ 116 h 168"/>
                <a:gd name="T72" fmla="*/ 12 w 204"/>
                <a:gd name="T73" fmla="*/ 108 h 168"/>
                <a:gd name="T74" fmla="*/ 12 w 204"/>
                <a:gd name="T75" fmla="*/ 108 h 168"/>
                <a:gd name="T76" fmla="*/ 6 w 204"/>
                <a:gd name="T77" fmla="*/ 100 h 168"/>
                <a:gd name="T78" fmla="*/ 2 w 204"/>
                <a:gd name="T79" fmla="*/ 88 h 168"/>
                <a:gd name="T80" fmla="*/ 0 w 204"/>
                <a:gd name="T81" fmla="*/ 78 h 168"/>
                <a:gd name="T82" fmla="*/ 0 w 204"/>
                <a:gd name="T83" fmla="*/ 66 h 168"/>
                <a:gd name="T84" fmla="*/ 0 w 204"/>
                <a:gd name="T85" fmla="*/ 66 h 168"/>
                <a:gd name="T86" fmla="*/ 0 w 204"/>
                <a:gd name="T87" fmla="*/ 50 h 168"/>
                <a:gd name="T88" fmla="*/ 4 w 204"/>
                <a:gd name="T89" fmla="*/ 36 h 168"/>
                <a:gd name="T90" fmla="*/ 4 w 204"/>
                <a:gd name="T91" fmla="*/ 36 h 168"/>
                <a:gd name="T92" fmla="*/ 10 w 204"/>
                <a:gd name="T93" fmla="*/ 26 h 168"/>
                <a:gd name="T94" fmla="*/ 16 w 204"/>
                <a:gd name="T95" fmla="*/ 18 h 168"/>
                <a:gd name="T96" fmla="*/ 16 w 204"/>
                <a:gd name="T97" fmla="*/ 18 h 168"/>
                <a:gd name="T98" fmla="*/ 26 w 204"/>
                <a:gd name="T99" fmla="*/ 12 h 168"/>
                <a:gd name="T100" fmla="*/ 38 w 204"/>
                <a:gd name="T101" fmla="*/ 6 h 168"/>
                <a:gd name="T102" fmla="*/ 38 w 204"/>
                <a:gd name="T103" fmla="*/ 6 h 168"/>
                <a:gd name="T104" fmla="*/ 50 w 204"/>
                <a:gd name="T105" fmla="*/ 4 h 168"/>
                <a:gd name="T106" fmla="*/ 62 w 204"/>
                <a:gd name="T107" fmla="*/ 4 h 168"/>
                <a:gd name="T108" fmla="*/ 202 w 204"/>
                <a:gd name="T109" fmla="*/ 0 h 168"/>
                <a:gd name="T110" fmla="*/ 202 w 204"/>
                <a:gd name="T111" fmla="*/ 3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04" h="168">
                  <a:moveTo>
                    <a:pt x="202" y="38"/>
                  </a:moveTo>
                  <a:lnTo>
                    <a:pt x="74" y="40"/>
                  </a:lnTo>
                  <a:lnTo>
                    <a:pt x="74" y="40"/>
                  </a:lnTo>
                  <a:lnTo>
                    <a:pt x="54" y="42"/>
                  </a:lnTo>
                  <a:lnTo>
                    <a:pt x="46" y="44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36" y="52"/>
                  </a:lnTo>
                  <a:lnTo>
                    <a:pt x="32" y="58"/>
                  </a:lnTo>
                  <a:lnTo>
                    <a:pt x="30" y="66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2" y="86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44" y="108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64" y="122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92" y="130"/>
                  </a:lnTo>
                  <a:lnTo>
                    <a:pt x="108" y="130"/>
                  </a:lnTo>
                  <a:lnTo>
                    <a:pt x="204" y="128"/>
                  </a:lnTo>
                  <a:lnTo>
                    <a:pt x="204" y="164"/>
                  </a:lnTo>
                  <a:lnTo>
                    <a:pt x="4" y="168"/>
                  </a:lnTo>
                  <a:lnTo>
                    <a:pt x="4" y="134"/>
                  </a:lnTo>
                  <a:lnTo>
                    <a:pt x="4" y="134"/>
                  </a:lnTo>
                  <a:lnTo>
                    <a:pt x="26" y="134"/>
                  </a:lnTo>
                  <a:lnTo>
                    <a:pt x="26" y="134"/>
                  </a:lnTo>
                  <a:lnTo>
                    <a:pt x="46" y="136"/>
                  </a:lnTo>
                  <a:lnTo>
                    <a:pt x="46" y="134"/>
                  </a:lnTo>
                  <a:lnTo>
                    <a:pt x="46" y="134"/>
                  </a:lnTo>
                  <a:lnTo>
                    <a:pt x="36" y="130"/>
                  </a:lnTo>
                  <a:lnTo>
                    <a:pt x="28" y="124"/>
                  </a:lnTo>
                  <a:lnTo>
                    <a:pt x="20" y="116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6" y="100"/>
                  </a:lnTo>
                  <a:lnTo>
                    <a:pt x="2" y="88"/>
                  </a:lnTo>
                  <a:lnTo>
                    <a:pt x="0" y="78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5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10" y="26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26" y="12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50" y="4"/>
                  </a:lnTo>
                  <a:lnTo>
                    <a:pt x="62" y="4"/>
                  </a:lnTo>
                  <a:lnTo>
                    <a:pt x="202" y="0"/>
                  </a:lnTo>
                  <a:lnTo>
                    <a:pt x="202" y="38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1991" y="1408"/>
              <a:ext cx="298" cy="148"/>
            </a:xfrm>
            <a:custGeom>
              <a:avLst/>
              <a:gdLst>
                <a:gd name="T0" fmla="*/ 34 w 298"/>
                <a:gd name="T1" fmla="*/ 2 h 148"/>
                <a:gd name="T2" fmla="*/ 34 w 298"/>
                <a:gd name="T3" fmla="*/ 2 h 148"/>
                <a:gd name="T4" fmla="*/ 30 w 298"/>
                <a:gd name="T5" fmla="*/ 16 h 148"/>
                <a:gd name="T6" fmla="*/ 30 w 298"/>
                <a:gd name="T7" fmla="*/ 16 h 148"/>
                <a:gd name="T8" fmla="*/ 30 w 298"/>
                <a:gd name="T9" fmla="*/ 32 h 148"/>
                <a:gd name="T10" fmla="*/ 30 w 298"/>
                <a:gd name="T11" fmla="*/ 32 h 148"/>
                <a:gd name="T12" fmla="*/ 30 w 298"/>
                <a:gd name="T13" fmla="*/ 42 h 148"/>
                <a:gd name="T14" fmla="*/ 34 w 298"/>
                <a:gd name="T15" fmla="*/ 50 h 148"/>
                <a:gd name="T16" fmla="*/ 38 w 298"/>
                <a:gd name="T17" fmla="*/ 58 h 148"/>
                <a:gd name="T18" fmla="*/ 42 w 298"/>
                <a:gd name="T19" fmla="*/ 62 h 148"/>
                <a:gd name="T20" fmla="*/ 42 w 298"/>
                <a:gd name="T21" fmla="*/ 62 h 148"/>
                <a:gd name="T22" fmla="*/ 50 w 298"/>
                <a:gd name="T23" fmla="*/ 66 h 148"/>
                <a:gd name="T24" fmla="*/ 60 w 298"/>
                <a:gd name="T25" fmla="*/ 70 h 148"/>
                <a:gd name="T26" fmla="*/ 70 w 298"/>
                <a:gd name="T27" fmla="*/ 72 h 148"/>
                <a:gd name="T28" fmla="*/ 82 w 298"/>
                <a:gd name="T29" fmla="*/ 72 h 148"/>
                <a:gd name="T30" fmla="*/ 98 w 298"/>
                <a:gd name="T31" fmla="*/ 72 h 148"/>
                <a:gd name="T32" fmla="*/ 96 w 298"/>
                <a:gd name="T33" fmla="*/ 16 h 148"/>
                <a:gd name="T34" fmla="*/ 124 w 298"/>
                <a:gd name="T35" fmla="*/ 16 h 148"/>
                <a:gd name="T36" fmla="*/ 126 w 298"/>
                <a:gd name="T37" fmla="*/ 70 h 148"/>
                <a:gd name="T38" fmla="*/ 298 w 298"/>
                <a:gd name="T39" fmla="*/ 68 h 148"/>
                <a:gd name="T40" fmla="*/ 298 w 298"/>
                <a:gd name="T41" fmla="*/ 104 h 148"/>
                <a:gd name="T42" fmla="*/ 126 w 298"/>
                <a:gd name="T43" fmla="*/ 106 h 148"/>
                <a:gd name="T44" fmla="*/ 128 w 298"/>
                <a:gd name="T45" fmla="*/ 148 h 148"/>
                <a:gd name="T46" fmla="*/ 98 w 298"/>
                <a:gd name="T47" fmla="*/ 148 h 148"/>
                <a:gd name="T48" fmla="*/ 98 w 298"/>
                <a:gd name="T49" fmla="*/ 108 h 148"/>
                <a:gd name="T50" fmla="*/ 84 w 298"/>
                <a:gd name="T51" fmla="*/ 108 h 148"/>
                <a:gd name="T52" fmla="*/ 84 w 298"/>
                <a:gd name="T53" fmla="*/ 108 h 148"/>
                <a:gd name="T54" fmla="*/ 64 w 298"/>
                <a:gd name="T55" fmla="*/ 106 h 148"/>
                <a:gd name="T56" fmla="*/ 48 w 298"/>
                <a:gd name="T57" fmla="*/ 104 h 148"/>
                <a:gd name="T58" fmla="*/ 32 w 298"/>
                <a:gd name="T59" fmla="*/ 98 h 148"/>
                <a:gd name="T60" fmla="*/ 22 w 298"/>
                <a:gd name="T61" fmla="*/ 90 h 148"/>
                <a:gd name="T62" fmla="*/ 22 w 298"/>
                <a:gd name="T63" fmla="*/ 90 h 148"/>
                <a:gd name="T64" fmla="*/ 12 w 298"/>
                <a:gd name="T65" fmla="*/ 78 h 148"/>
                <a:gd name="T66" fmla="*/ 6 w 298"/>
                <a:gd name="T67" fmla="*/ 66 h 148"/>
                <a:gd name="T68" fmla="*/ 2 w 298"/>
                <a:gd name="T69" fmla="*/ 50 h 148"/>
                <a:gd name="T70" fmla="*/ 0 w 298"/>
                <a:gd name="T71" fmla="*/ 32 h 148"/>
                <a:gd name="T72" fmla="*/ 0 w 298"/>
                <a:gd name="T73" fmla="*/ 32 h 148"/>
                <a:gd name="T74" fmla="*/ 2 w 298"/>
                <a:gd name="T75" fmla="*/ 16 h 148"/>
                <a:gd name="T76" fmla="*/ 4 w 298"/>
                <a:gd name="T77" fmla="*/ 0 h 148"/>
                <a:gd name="T78" fmla="*/ 34 w 298"/>
                <a:gd name="T79" fmla="*/ 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8" h="148">
                  <a:moveTo>
                    <a:pt x="34" y="2"/>
                  </a:moveTo>
                  <a:lnTo>
                    <a:pt x="34" y="2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42"/>
                  </a:lnTo>
                  <a:lnTo>
                    <a:pt x="34" y="50"/>
                  </a:lnTo>
                  <a:lnTo>
                    <a:pt x="38" y="58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50" y="66"/>
                  </a:lnTo>
                  <a:lnTo>
                    <a:pt x="60" y="70"/>
                  </a:lnTo>
                  <a:lnTo>
                    <a:pt x="70" y="72"/>
                  </a:lnTo>
                  <a:lnTo>
                    <a:pt x="82" y="72"/>
                  </a:lnTo>
                  <a:lnTo>
                    <a:pt x="98" y="72"/>
                  </a:lnTo>
                  <a:lnTo>
                    <a:pt x="96" y="16"/>
                  </a:lnTo>
                  <a:lnTo>
                    <a:pt x="124" y="16"/>
                  </a:lnTo>
                  <a:lnTo>
                    <a:pt x="126" y="70"/>
                  </a:lnTo>
                  <a:lnTo>
                    <a:pt x="298" y="68"/>
                  </a:lnTo>
                  <a:lnTo>
                    <a:pt x="298" y="104"/>
                  </a:lnTo>
                  <a:lnTo>
                    <a:pt x="126" y="106"/>
                  </a:lnTo>
                  <a:lnTo>
                    <a:pt x="128" y="148"/>
                  </a:lnTo>
                  <a:lnTo>
                    <a:pt x="98" y="148"/>
                  </a:lnTo>
                  <a:lnTo>
                    <a:pt x="98" y="108"/>
                  </a:lnTo>
                  <a:lnTo>
                    <a:pt x="84" y="108"/>
                  </a:lnTo>
                  <a:lnTo>
                    <a:pt x="84" y="108"/>
                  </a:lnTo>
                  <a:lnTo>
                    <a:pt x="64" y="106"/>
                  </a:lnTo>
                  <a:lnTo>
                    <a:pt x="48" y="104"/>
                  </a:lnTo>
                  <a:lnTo>
                    <a:pt x="32" y="98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12" y="78"/>
                  </a:lnTo>
                  <a:lnTo>
                    <a:pt x="6" y="66"/>
                  </a:lnTo>
                  <a:lnTo>
                    <a:pt x="2" y="5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16"/>
                  </a:lnTo>
                  <a:lnTo>
                    <a:pt x="4" y="0"/>
                  </a:lnTo>
                  <a:lnTo>
                    <a:pt x="34" y="2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Freeform 28"/>
            <p:cNvSpPr>
              <a:spLocks noEditPoints="1"/>
            </p:cNvSpPr>
            <p:nvPr userDrawn="1"/>
          </p:nvSpPr>
          <p:spPr bwMode="auto">
            <a:xfrm>
              <a:off x="2011" y="1306"/>
              <a:ext cx="286" cy="88"/>
            </a:xfrm>
            <a:custGeom>
              <a:avLst/>
              <a:gdLst>
                <a:gd name="T0" fmla="*/ 28 w 286"/>
                <a:gd name="T1" fmla="*/ 0 h 88"/>
                <a:gd name="T2" fmla="*/ 28 w 286"/>
                <a:gd name="T3" fmla="*/ 0 h 88"/>
                <a:gd name="T4" fmla="*/ 36 w 286"/>
                <a:gd name="T5" fmla="*/ 2 h 88"/>
                <a:gd name="T6" fmla="*/ 44 w 286"/>
                <a:gd name="T7" fmla="*/ 10 h 88"/>
                <a:gd name="T8" fmla="*/ 44 w 286"/>
                <a:gd name="T9" fmla="*/ 10 h 88"/>
                <a:gd name="T10" fmla="*/ 46 w 286"/>
                <a:gd name="T11" fmla="*/ 18 h 88"/>
                <a:gd name="T12" fmla="*/ 46 w 286"/>
                <a:gd name="T13" fmla="*/ 28 h 88"/>
                <a:gd name="T14" fmla="*/ 46 w 286"/>
                <a:gd name="T15" fmla="*/ 28 h 88"/>
                <a:gd name="T16" fmla="*/ 44 w 286"/>
                <a:gd name="T17" fmla="*/ 36 h 88"/>
                <a:gd name="T18" fmla="*/ 38 w 286"/>
                <a:gd name="T19" fmla="*/ 42 h 88"/>
                <a:gd name="T20" fmla="*/ 38 w 286"/>
                <a:gd name="T21" fmla="*/ 42 h 88"/>
                <a:gd name="T22" fmla="*/ 28 w 286"/>
                <a:gd name="T23" fmla="*/ 46 h 88"/>
                <a:gd name="T24" fmla="*/ 20 w 286"/>
                <a:gd name="T25" fmla="*/ 46 h 88"/>
                <a:gd name="T26" fmla="*/ 20 w 286"/>
                <a:gd name="T27" fmla="*/ 46 h 88"/>
                <a:gd name="T28" fmla="*/ 10 w 286"/>
                <a:gd name="T29" fmla="*/ 44 h 88"/>
                <a:gd name="T30" fmla="*/ 4 w 286"/>
                <a:gd name="T31" fmla="*/ 36 h 88"/>
                <a:gd name="T32" fmla="*/ 4 w 286"/>
                <a:gd name="T33" fmla="*/ 36 h 88"/>
                <a:gd name="T34" fmla="*/ 0 w 286"/>
                <a:gd name="T35" fmla="*/ 28 h 88"/>
                <a:gd name="T36" fmla="*/ 0 w 286"/>
                <a:gd name="T37" fmla="*/ 18 h 88"/>
                <a:gd name="T38" fmla="*/ 0 w 286"/>
                <a:gd name="T39" fmla="*/ 18 h 88"/>
                <a:gd name="T40" fmla="*/ 4 w 286"/>
                <a:gd name="T41" fmla="*/ 10 h 88"/>
                <a:gd name="T42" fmla="*/ 10 w 286"/>
                <a:gd name="T43" fmla="*/ 4 h 88"/>
                <a:gd name="T44" fmla="*/ 10 w 286"/>
                <a:gd name="T45" fmla="*/ 4 h 88"/>
                <a:gd name="T46" fmla="*/ 18 w 286"/>
                <a:gd name="T47" fmla="*/ 0 h 88"/>
                <a:gd name="T48" fmla="*/ 28 w 286"/>
                <a:gd name="T49" fmla="*/ 0 h 88"/>
                <a:gd name="T50" fmla="*/ 28 w 286"/>
                <a:gd name="T51" fmla="*/ 0 h 88"/>
                <a:gd name="T52" fmla="*/ 280 w 286"/>
                <a:gd name="T53" fmla="*/ 88 h 88"/>
                <a:gd name="T54" fmla="*/ 82 w 286"/>
                <a:gd name="T55" fmla="*/ 52 h 88"/>
                <a:gd name="T56" fmla="*/ 90 w 286"/>
                <a:gd name="T57" fmla="*/ 16 h 88"/>
                <a:gd name="T58" fmla="*/ 286 w 286"/>
                <a:gd name="T59" fmla="*/ 52 h 88"/>
                <a:gd name="T60" fmla="*/ 280 w 286"/>
                <a:gd name="T61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86" h="88">
                  <a:moveTo>
                    <a:pt x="28" y="0"/>
                  </a:moveTo>
                  <a:lnTo>
                    <a:pt x="28" y="0"/>
                  </a:lnTo>
                  <a:lnTo>
                    <a:pt x="36" y="2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6" y="18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44" y="36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28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10" y="44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2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4" y="10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8" y="0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280" y="88"/>
                  </a:moveTo>
                  <a:lnTo>
                    <a:pt x="82" y="52"/>
                  </a:lnTo>
                  <a:lnTo>
                    <a:pt x="90" y="16"/>
                  </a:lnTo>
                  <a:lnTo>
                    <a:pt x="286" y="52"/>
                  </a:lnTo>
                  <a:lnTo>
                    <a:pt x="280" y="88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Freeform 29"/>
            <p:cNvSpPr>
              <a:spLocks noEditPoints="1"/>
            </p:cNvSpPr>
            <p:nvPr userDrawn="1"/>
          </p:nvSpPr>
          <p:spPr bwMode="auto">
            <a:xfrm>
              <a:off x="2115" y="1026"/>
              <a:ext cx="270" cy="276"/>
            </a:xfrm>
            <a:custGeom>
              <a:avLst/>
              <a:gdLst>
                <a:gd name="T0" fmla="*/ 252 w 270"/>
                <a:gd name="T1" fmla="*/ 184 h 276"/>
                <a:gd name="T2" fmla="*/ 234 w 270"/>
                <a:gd name="T3" fmla="*/ 174 h 276"/>
                <a:gd name="T4" fmla="*/ 218 w 270"/>
                <a:gd name="T5" fmla="*/ 160 h 276"/>
                <a:gd name="T6" fmla="*/ 224 w 270"/>
                <a:gd name="T7" fmla="*/ 170 h 276"/>
                <a:gd name="T8" fmla="*/ 230 w 270"/>
                <a:gd name="T9" fmla="*/ 190 h 276"/>
                <a:gd name="T10" fmla="*/ 232 w 270"/>
                <a:gd name="T11" fmla="*/ 200 h 276"/>
                <a:gd name="T12" fmla="*/ 230 w 270"/>
                <a:gd name="T13" fmla="*/ 222 h 276"/>
                <a:gd name="T14" fmla="*/ 220 w 270"/>
                <a:gd name="T15" fmla="*/ 242 h 276"/>
                <a:gd name="T16" fmla="*/ 210 w 270"/>
                <a:gd name="T17" fmla="*/ 256 h 276"/>
                <a:gd name="T18" fmla="*/ 184 w 270"/>
                <a:gd name="T19" fmla="*/ 272 h 276"/>
                <a:gd name="T20" fmla="*/ 170 w 270"/>
                <a:gd name="T21" fmla="*/ 276 h 276"/>
                <a:gd name="T22" fmla="*/ 138 w 270"/>
                <a:gd name="T23" fmla="*/ 272 h 276"/>
                <a:gd name="T24" fmla="*/ 102 w 270"/>
                <a:gd name="T25" fmla="*/ 254 h 276"/>
                <a:gd name="T26" fmla="*/ 82 w 270"/>
                <a:gd name="T27" fmla="*/ 240 h 276"/>
                <a:gd name="T28" fmla="*/ 66 w 270"/>
                <a:gd name="T29" fmla="*/ 224 h 276"/>
                <a:gd name="T30" fmla="*/ 46 w 270"/>
                <a:gd name="T31" fmla="*/ 188 h 276"/>
                <a:gd name="T32" fmla="*/ 44 w 270"/>
                <a:gd name="T33" fmla="*/ 168 h 276"/>
                <a:gd name="T34" fmla="*/ 44 w 270"/>
                <a:gd name="T35" fmla="*/ 148 h 276"/>
                <a:gd name="T36" fmla="*/ 60 w 270"/>
                <a:gd name="T37" fmla="*/ 108 h 276"/>
                <a:gd name="T38" fmla="*/ 70 w 270"/>
                <a:gd name="T39" fmla="*/ 94 h 276"/>
                <a:gd name="T40" fmla="*/ 80 w 270"/>
                <a:gd name="T41" fmla="*/ 80 h 276"/>
                <a:gd name="T42" fmla="*/ 20 w 270"/>
                <a:gd name="T43" fmla="*/ 0 h 276"/>
                <a:gd name="T44" fmla="*/ 252 w 270"/>
                <a:gd name="T45" fmla="*/ 184 h 276"/>
                <a:gd name="T46" fmla="*/ 106 w 270"/>
                <a:gd name="T47" fmla="*/ 96 h 276"/>
                <a:gd name="T48" fmla="*/ 94 w 270"/>
                <a:gd name="T49" fmla="*/ 110 h 276"/>
                <a:gd name="T50" fmla="*/ 84 w 270"/>
                <a:gd name="T51" fmla="*/ 124 h 276"/>
                <a:gd name="T52" fmla="*/ 74 w 270"/>
                <a:gd name="T53" fmla="*/ 148 h 276"/>
                <a:gd name="T54" fmla="*/ 72 w 270"/>
                <a:gd name="T55" fmla="*/ 160 h 276"/>
                <a:gd name="T56" fmla="*/ 76 w 270"/>
                <a:gd name="T57" fmla="*/ 172 h 276"/>
                <a:gd name="T58" fmla="*/ 90 w 270"/>
                <a:gd name="T59" fmla="*/ 196 h 276"/>
                <a:gd name="T60" fmla="*/ 102 w 270"/>
                <a:gd name="T61" fmla="*/ 208 h 276"/>
                <a:gd name="T62" fmla="*/ 118 w 270"/>
                <a:gd name="T63" fmla="*/ 220 h 276"/>
                <a:gd name="T64" fmla="*/ 144 w 270"/>
                <a:gd name="T65" fmla="*/ 234 h 276"/>
                <a:gd name="T66" fmla="*/ 166 w 270"/>
                <a:gd name="T67" fmla="*/ 238 h 276"/>
                <a:gd name="T68" fmla="*/ 176 w 270"/>
                <a:gd name="T69" fmla="*/ 236 h 276"/>
                <a:gd name="T70" fmla="*/ 192 w 270"/>
                <a:gd name="T71" fmla="*/ 226 h 276"/>
                <a:gd name="T72" fmla="*/ 200 w 270"/>
                <a:gd name="T73" fmla="*/ 218 h 276"/>
                <a:gd name="T74" fmla="*/ 206 w 270"/>
                <a:gd name="T75" fmla="*/ 194 h 276"/>
                <a:gd name="T76" fmla="*/ 204 w 270"/>
                <a:gd name="T77" fmla="*/ 182 h 276"/>
                <a:gd name="T78" fmla="*/ 200 w 270"/>
                <a:gd name="T79" fmla="*/ 170 h 276"/>
                <a:gd name="T80" fmla="*/ 184 w 270"/>
                <a:gd name="T81" fmla="*/ 148 h 276"/>
                <a:gd name="T82" fmla="*/ 174 w 270"/>
                <a:gd name="T83" fmla="*/ 138 h 276"/>
                <a:gd name="T84" fmla="*/ 106 w 270"/>
                <a:gd name="T85" fmla="*/ 9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0" h="276">
                  <a:moveTo>
                    <a:pt x="252" y="184"/>
                  </a:moveTo>
                  <a:lnTo>
                    <a:pt x="252" y="184"/>
                  </a:lnTo>
                  <a:lnTo>
                    <a:pt x="234" y="174"/>
                  </a:lnTo>
                  <a:lnTo>
                    <a:pt x="234" y="174"/>
                  </a:lnTo>
                  <a:lnTo>
                    <a:pt x="218" y="160"/>
                  </a:lnTo>
                  <a:lnTo>
                    <a:pt x="218" y="160"/>
                  </a:lnTo>
                  <a:lnTo>
                    <a:pt x="218" y="160"/>
                  </a:lnTo>
                  <a:lnTo>
                    <a:pt x="224" y="170"/>
                  </a:lnTo>
                  <a:lnTo>
                    <a:pt x="228" y="180"/>
                  </a:lnTo>
                  <a:lnTo>
                    <a:pt x="230" y="190"/>
                  </a:lnTo>
                  <a:lnTo>
                    <a:pt x="232" y="200"/>
                  </a:lnTo>
                  <a:lnTo>
                    <a:pt x="232" y="200"/>
                  </a:lnTo>
                  <a:lnTo>
                    <a:pt x="232" y="210"/>
                  </a:lnTo>
                  <a:lnTo>
                    <a:pt x="230" y="222"/>
                  </a:lnTo>
                  <a:lnTo>
                    <a:pt x="226" y="232"/>
                  </a:lnTo>
                  <a:lnTo>
                    <a:pt x="220" y="242"/>
                  </a:lnTo>
                  <a:lnTo>
                    <a:pt x="220" y="242"/>
                  </a:lnTo>
                  <a:lnTo>
                    <a:pt x="210" y="256"/>
                  </a:lnTo>
                  <a:lnTo>
                    <a:pt x="198" y="266"/>
                  </a:lnTo>
                  <a:lnTo>
                    <a:pt x="184" y="272"/>
                  </a:lnTo>
                  <a:lnTo>
                    <a:pt x="170" y="276"/>
                  </a:lnTo>
                  <a:lnTo>
                    <a:pt x="170" y="276"/>
                  </a:lnTo>
                  <a:lnTo>
                    <a:pt x="154" y="274"/>
                  </a:lnTo>
                  <a:lnTo>
                    <a:pt x="138" y="272"/>
                  </a:lnTo>
                  <a:lnTo>
                    <a:pt x="120" y="264"/>
                  </a:lnTo>
                  <a:lnTo>
                    <a:pt x="102" y="254"/>
                  </a:lnTo>
                  <a:lnTo>
                    <a:pt x="102" y="254"/>
                  </a:lnTo>
                  <a:lnTo>
                    <a:pt x="82" y="240"/>
                  </a:lnTo>
                  <a:lnTo>
                    <a:pt x="66" y="224"/>
                  </a:lnTo>
                  <a:lnTo>
                    <a:pt x="66" y="224"/>
                  </a:lnTo>
                  <a:lnTo>
                    <a:pt x="54" y="206"/>
                  </a:lnTo>
                  <a:lnTo>
                    <a:pt x="46" y="188"/>
                  </a:lnTo>
                  <a:lnTo>
                    <a:pt x="46" y="188"/>
                  </a:lnTo>
                  <a:lnTo>
                    <a:pt x="44" y="168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50" y="128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70" y="94"/>
                  </a:lnTo>
                  <a:lnTo>
                    <a:pt x="70" y="94"/>
                  </a:lnTo>
                  <a:lnTo>
                    <a:pt x="80" y="80"/>
                  </a:lnTo>
                  <a:lnTo>
                    <a:pt x="0" y="30"/>
                  </a:lnTo>
                  <a:lnTo>
                    <a:pt x="20" y="0"/>
                  </a:lnTo>
                  <a:lnTo>
                    <a:pt x="270" y="154"/>
                  </a:lnTo>
                  <a:lnTo>
                    <a:pt x="252" y="184"/>
                  </a:lnTo>
                  <a:close/>
                  <a:moveTo>
                    <a:pt x="106" y="96"/>
                  </a:moveTo>
                  <a:lnTo>
                    <a:pt x="106" y="96"/>
                  </a:lnTo>
                  <a:lnTo>
                    <a:pt x="94" y="110"/>
                  </a:lnTo>
                  <a:lnTo>
                    <a:pt x="94" y="110"/>
                  </a:lnTo>
                  <a:lnTo>
                    <a:pt x="84" y="124"/>
                  </a:lnTo>
                  <a:lnTo>
                    <a:pt x="84" y="124"/>
                  </a:lnTo>
                  <a:lnTo>
                    <a:pt x="78" y="136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72" y="160"/>
                  </a:lnTo>
                  <a:lnTo>
                    <a:pt x="76" y="172"/>
                  </a:lnTo>
                  <a:lnTo>
                    <a:pt x="76" y="172"/>
                  </a:lnTo>
                  <a:lnTo>
                    <a:pt x="80" y="184"/>
                  </a:lnTo>
                  <a:lnTo>
                    <a:pt x="90" y="196"/>
                  </a:lnTo>
                  <a:lnTo>
                    <a:pt x="90" y="196"/>
                  </a:lnTo>
                  <a:lnTo>
                    <a:pt x="102" y="208"/>
                  </a:lnTo>
                  <a:lnTo>
                    <a:pt x="118" y="220"/>
                  </a:lnTo>
                  <a:lnTo>
                    <a:pt x="118" y="220"/>
                  </a:lnTo>
                  <a:lnTo>
                    <a:pt x="132" y="228"/>
                  </a:lnTo>
                  <a:lnTo>
                    <a:pt x="144" y="234"/>
                  </a:lnTo>
                  <a:lnTo>
                    <a:pt x="156" y="236"/>
                  </a:lnTo>
                  <a:lnTo>
                    <a:pt x="166" y="238"/>
                  </a:lnTo>
                  <a:lnTo>
                    <a:pt x="166" y="238"/>
                  </a:lnTo>
                  <a:lnTo>
                    <a:pt x="176" y="236"/>
                  </a:lnTo>
                  <a:lnTo>
                    <a:pt x="186" y="232"/>
                  </a:lnTo>
                  <a:lnTo>
                    <a:pt x="192" y="226"/>
                  </a:lnTo>
                  <a:lnTo>
                    <a:pt x="200" y="218"/>
                  </a:lnTo>
                  <a:lnTo>
                    <a:pt x="200" y="218"/>
                  </a:lnTo>
                  <a:lnTo>
                    <a:pt x="204" y="206"/>
                  </a:lnTo>
                  <a:lnTo>
                    <a:pt x="206" y="194"/>
                  </a:lnTo>
                  <a:lnTo>
                    <a:pt x="206" y="194"/>
                  </a:lnTo>
                  <a:lnTo>
                    <a:pt x="204" y="182"/>
                  </a:lnTo>
                  <a:lnTo>
                    <a:pt x="200" y="170"/>
                  </a:lnTo>
                  <a:lnTo>
                    <a:pt x="200" y="170"/>
                  </a:lnTo>
                  <a:lnTo>
                    <a:pt x="192" y="158"/>
                  </a:lnTo>
                  <a:lnTo>
                    <a:pt x="184" y="148"/>
                  </a:lnTo>
                  <a:lnTo>
                    <a:pt x="184" y="148"/>
                  </a:lnTo>
                  <a:lnTo>
                    <a:pt x="174" y="138"/>
                  </a:lnTo>
                  <a:lnTo>
                    <a:pt x="162" y="130"/>
                  </a:lnTo>
                  <a:lnTo>
                    <a:pt x="106" y="96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Freeform 30"/>
            <p:cNvSpPr>
              <a:spLocks noEditPoints="1"/>
            </p:cNvSpPr>
            <p:nvPr userDrawn="1"/>
          </p:nvSpPr>
          <p:spPr bwMode="auto">
            <a:xfrm>
              <a:off x="2307" y="926"/>
              <a:ext cx="216" cy="200"/>
            </a:xfrm>
            <a:custGeom>
              <a:avLst/>
              <a:gdLst>
                <a:gd name="T0" fmla="*/ 140 w 216"/>
                <a:gd name="T1" fmla="*/ 26 h 200"/>
                <a:gd name="T2" fmla="*/ 62 w 216"/>
                <a:gd name="T3" fmla="*/ 134 h 200"/>
                <a:gd name="T4" fmla="*/ 76 w 216"/>
                <a:gd name="T5" fmla="*/ 148 h 200"/>
                <a:gd name="T6" fmla="*/ 102 w 216"/>
                <a:gd name="T7" fmla="*/ 162 h 200"/>
                <a:gd name="T8" fmla="*/ 114 w 216"/>
                <a:gd name="T9" fmla="*/ 164 h 200"/>
                <a:gd name="T10" fmla="*/ 138 w 216"/>
                <a:gd name="T11" fmla="*/ 158 h 200"/>
                <a:gd name="T12" fmla="*/ 160 w 216"/>
                <a:gd name="T13" fmla="*/ 140 h 200"/>
                <a:gd name="T14" fmla="*/ 170 w 216"/>
                <a:gd name="T15" fmla="*/ 130 h 200"/>
                <a:gd name="T16" fmla="*/ 178 w 216"/>
                <a:gd name="T17" fmla="*/ 118 h 200"/>
                <a:gd name="T18" fmla="*/ 190 w 216"/>
                <a:gd name="T19" fmla="*/ 90 h 200"/>
                <a:gd name="T20" fmla="*/ 216 w 216"/>
                <a:gd name="T21" fmla="*/ 106 h 200"/>
                <a:gd name="T22" fmla="*/ 200 w 216"/>
                <a:gd name="T23" fmla="*/ 138 h 200"/>
                <a:gd name="T24" fmla="*/ 188 w 216"/>
                <a:gd name="T25" fmla="*/ 152 h 200"/>
                <a:gd name="T26" fmla="*/ 176 w 216"/>
                <a:gd name="T27" fmla="*/ 166 h 200"/>
                <a:gd name="T28" fmla="*/ 144 w 216"/>
                <a:gd name="T29" fmla="*/ 190 h 200"/>
                <a:gd name="T30" fmla="*/ 110 w 216"/>
                <a:gd name="T31" fmla="*/ 200 h 200"/>
                <a:gd name="T32" fmla="*/ 94 w 216"/>
                <a:gd name="T33" fmla="*/ 198 h 200"/>
                <a:gd name="T34" fmla="*/ 56 w 216"/>
                <a:gd name="T35" fmla="*/ 180 h 200"/>
                <a:gd name="T36" fmla="*/ 38 w 216"/>
                <a:gd name="T37" fmla="*/ 164 h 200"/>
                <a:gd name="T38" fmla="*/ 12 w 216"/>
                <a:gd name="T39" fmla="*/ 130 h 200"/>
                <a:gd name="T40" fmla="*/ 4 w 216"/>
                <a:gd name="T41" fmla="*/ 112 h 200"/>
                <a:gd name="T42" fmla="*/ 0 w 216"/>
                <a:gd name="T43" fmla="*/ 94 h 200"/>
                <a:gd name="T44" fmla="*/ 2 w 216"/>
                <a:gd name="T45" fmla="*/ 60 h 200"/>
                <a:gd name="T46" fmla="*/ 10 w 216"/>
                <a:gd name="T47" fmla="*/ 42 h 200"/>
                <a:gd name="T48" fmla="*/ 24 w 216"/>
                <a:gd name="T49" fmla="*/ 26 h 200"/>
                <a:gd name="T50" fmla="*/ 52 w 216"/>
                <a:gd name="T51" fmla="*/ 4 h 200"/>
                <a:gd name="T52" fmla="*/ 68 w 216"/>
                <a:gd name="T53" fmla="*/ 0 h 200"/>
                <a:gd name="T54" fmla="*/ 84 w 216"/>
                <a:gd name="T55" fmla="*/ 0 h 200"/>
                <a:gd name="T56" fmla="*/ 112 w 216"/>
                <a:gd name="T57" fmla="*/ 8 h 200"/>
                <a:gd name="T58" fmla="*/ 126 w 216"/>
                <a:gd name="T59" fmla="*/ 16 h 200"/>
                <a:gd name="T60" fmla="*/ 140 w 216"/>
                <a:gd name="T61" fmla="*/ 26 h 200"/>
                <a:gd name="T62" fmla="*/ 74 w 216"/>
                <a:gd name="T63" fmla="*/ 32 h 200"/>
                <a:gd name="T64" fmla="*/ 56 w 216"/>
                <a:gd name="T65" fmla="*/ 34 h 200"/>
                <a:gd name="T66" fmla="*/ 42 w 216"/>
                <a:gd name="T67" fmla="*/ 46 h 200"/>
                <a:gd name="T68" fmla="*/ 36 w 216"/>
                <a:gd name="T69" fmla="*/ 54 h 200"/>
                <a:gd name="T70" fmla="*/ 30 w 216"/>
                <a:gd name="T71" fmla="*/ 70 h 200"/>
                <a:gd name="T72" fmla="*/ 28 w 216"/>
                <a:gd name="T73" fmla="*/ 80 h 200"/>
                <a:gd name="T74" fmla="*/ 32 w 216"/>
                <a:gd name="T75" fmla="*/ 98 h 200"/>
                <a:gd name="T76" fmla="*/ 44 w 216"/>
                <a:gd name="T77" fmla="*/ 116 h 200"/>
                <a:gd name="T78" fmla="*/ 108 w 216"/>
                <a:gd name="T79" fmla="*/ 48 h 200"/>
                <a:gd name="T80" fmla="*/ 92 w 216"/>
                <a:gd name="T81" fmla="*/ 36 h 200"/>
                <a:gd name="T82" fmla="*/ 74 w 216"/>
                <a:gd name="T83" fmla="*/ 3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6" h="200">
                  <a:moveTo>
                    <a:pt x="140" y="26"/>
                  </a:moveTo>
                  <a:lnTo>
                    <a:pt x="140" y="26"/>
                  </a:lnTo>
                  <a:lnTo>
                    <a:pt x="152" y="40"/>
                  </a:lnTo>
                  <a:lnTo>
                    <a:pt x="62" y="134"/>
                  </a:lnTo>
                  <a:lnTo>
                    <a:pt x="62" y="134"/>
                  </a:lnTo>
                  <a:lnTo>
                    <a:pt x="76" y="148"/>
                  </a:lnTo>
                  <a:lnTo>
                    <a:pt x="88" y="156"/>
                  </a:lnTo>
                  <a:lnTo>
                    <a:pt x="102" y="162"/>
                  </a:lnTo>
                  <a:lnTo>
                    <a:pt x="114" y="164"/>
                  </a:lnTo>
                  <a:lnTo>
                    <a:pt x="114" y="164"/>
                  </a:lnTo>
                  <a:lnTo>
                    <a:pt x="126" y="162"/>
                  </a:lnTo>
                  <a:lnTo>
                    <a:pt x="138" y="158"/>
                  </a:lnTo>
                  <a:lnTo>
                    <a:pt x="148" y="150"/>
                  </a:lnTo>
                  <a:lnTo>
                    <a:pt x="160" y="140"/>
                  </a:lnTo>
                  <a:lnTo>
                    <a:pt x="160" y="140"/>
                  </a:lnTo>
                  <a:lnTo>
                    <a:pt x="170" y="130"/>
                  </a:lnTo>
                  <a:lnTo>
                    <a:pt x="178" y="118"/>
                  </a:lnTo>
                  <a:lnTo>
                    <a:pt x="178" y="118"/>
                  </a:lnTo>
                  <a:lnTo>
                    <a:pt x="186" y="104"/>
                  </a:lnTo>
                  <a:lnTo>
                    <a:pt x="190" y="90"/>
                  </a:lnTo>
                  <a:lnTo>
                    <a:pt x="216" y="106"/>
                  </a:lnTo>
                  <a:lnTo>
                    <a:pt x="216" y="106"/>
                  </a:lnTo>
                  <a:lnTo>
                    <a:pt x="208" y="122"/>
                  </a:lnTo>
                  <a:lnTo>
                    <a:pt x="200" y="138"/>
                  </a:lnTo>
                  <a:lnTo>
                    <a:pt x="200" y="138"/>
                  </a:lnTo>
                  <a:lnTo>
                    <a:pt x="188" y="152"/>
                  </a:lnTo>
                  <a:lnTo>
                    <a:pt x="176" y="166"/>
                  </a:lnTo>
                  <a:lnTo>
                    <a:pt x="176" y="166"/>
                  </a:lnTo>
                  <a:lnTo>
                    <a:pt x="160" y="180"/>
                  </a:lnTo>
                  <a:lnTo>
                    <a:pt x="144" y="190"/>
                  </a:lnTo>
                  <a:lnTo>
                    <a:pt x="128" y="198"/>
                  </a:lnTo>
                  <a:lnTo>
                    <a:pt x="110" y="200"/>
                  </a:lnTo>
                  <a:lnTo>
                    <a:pt x="110" y="200"/>
                  </a:lnTo>
                  <a:lnTo>
                    <a:pt x="94" y="198"/>
                  </a:lnTo>
                  <a:lnTo>
                    <a:pt x="76" y="190"/>
                  </a:lnTo>
                  <a:lnTo>
                    <a:pt x="56" y="180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22" y="148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4" y="112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76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10" y="42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38" y="1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68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98" y="2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26" y="16"/>
                  </a:lnTo>
                  <a:lnTo>
                    <a:pt x="140" y="26"/>
                  </a:lnTo>
                  <a:lnTo>
                    <a:pt x="140" y="26"/>
                  </a:lnTo>
                  <a:close/>
                  <a:moveTo>
                    <a:pt x="74" y="32"/>
                  </a:moveTo>
                  <a:lnTo>
                    <a:pt x="74" y="32"/>
                  </a:lnTo>
                  <a:lnTo>
                    <a:pt x="66" y="32"/>
                  </a:lnTo>
                  <a:lnTo>
                    <a:pt x="56" y="34"/>
                  </a:lnTo>
                  <a:lnTo>
                    <a:pt x="48" y="40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36" y="54"/>
                  </a:lnTo>
                  <a:lnTo>
                    <a:pt x="32" y="62"/>
                  </a:lnTo>
                  <a:lnTo>
                    <a:pt x="30" y="7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30" y="88"/>
                  </a:lnTo>
                  <a:lnTo>
                    <a:pt x="32" y="98"/>
                  </a:lnTo>
                  <a:lnTo>
                    <a:pt x="38" y="108"/>
                  </a:lnTo>
                  <a:lnTo>
                    <a:pt x="44" y="116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0" y="40"/>
                  </a:lnTo>
                  <a:lnTo>
                    <a:pt x="92" y="36"/>
                  </a:lnTo>
                  <a:lnTo>
                    <a:pt x="84" y="32"/>
                  </a:lnTo>
                  <a:lnTo>
                    <a:pt x="74" y="32"/>
                  </a:lnTo>
                  <a:lnTo>
                    <a:pt x="74" y="32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2423" y="760"/>
              <a:ext cx="258" cy="236"/>
            </a:xfrm>
            <a:custGeom>
              <a:avLst/>
              <a:gdLst>
                <a:gd name="T0" fmla="*/ 234 w 258"/>
                <a:gd name="T1" fmla="*/ 144 h 236"/>
                <a:gd name="T2" fmla="*/ 140 w 258"/>
                <a:gd name="T3" fmla="*/ 56 h 236"/>
                <a:gd name="T4" fmla="*/ 140 w 258"/>
                <a:gd name="T5" fmla="*/ 56 h 236"/>
                <a:gd name="T6" fmla="*/ 126 w 258"/>
                <a:gd name="T7" fmla="*/ 44 h 236"/>
                <a:gd name="T8" fmla="*/ 118 w 258"/>
                <a:gd name="T9" fmla="*/ 40 h 236"/>
                <a:gd name="T10" fmla="*/ 112 w 258"/>
                <a:gd name="T11" fmla="*/ 38 h 236"/>
                <a:gd name="T12" fmla="*/ 112 w 258"/>
                <a:gd name="T13" fmla="*/ 38 h 236"/>
                <a:gd name="T14" fmla="*/ 104 w 258"/>
                <a:gd name="T15" fmla="*/ 38 h 236"/>
                <a:gd name="T16" fmla="*/ 98 w 258"/>
                <a:gd name="T17" fmla="*/ 40 h 236"/>
                <a:gd name="T18" fmla="*/ 90 w 258"/>
                <a:gd name="T19" fmla="*/ 44 h 236"/>
                <a:gd name="T20" fmla="*/ 84 w 258"/>
                <a:gd name="T21" fmla="*/ 50 h 236"/>
                <a:gd name="T22" fmla="*/ 84 w 258"/>
                <a:gd name="T23" fmla="*/ 50 h 236"/>
                <a:gd name="T24" fmla="*/ 76 w 258"/>
                <a:gd name="T25" fmla="*/ 60 h 236"/>
                <a:gd name="T26" fmla="*/ 72 w 258"/>
                <a:gd name="T27" fmla="*/ 70 h 236"/>
                <a:gd name="T28" fmla="*/ 72 w 258"/>
                <a:gd name="T29" fmla="*/ 70 h 236"/>
                <a:gd name="T30" fmla="*/ 72 w 258"/>
                <a:gd name="T31" fmla="*/ 82 h 236"/>
                <a:gd name="T32" fmla="*/ 72 w 258"/>
                <a:gd name="T33" fmla="*/ 94 h 236"/>
                <a:gd name="T34" fmla="*/ 72 w 258"/>
                <a:gd name="T35" fmla="*/ 94 h 236"/>
                <a:gd name="T36" fmla="*/ 76 w 258"/>
                <a:gd name="T37" fmla="*/ 108 h 236"/>
                <a:gd name="T38" fmla="*/ 82 w 258"/>
                <a:gd name="T39" fmla="*/ 120 h 236"/>
                <a:gd name="T40" fmla="*/ 82 w 258"/>
                <a:gd name="T41" fmla="*/ 120 h 236"/>
                <a:gd name="T42" fmla="*/ 90 w 258"/>
                <a:gd name="T43" fmla="*/ 132 h 236"/>
                <a:gd name="T44" fmla="*/ 102 w 258"/>
                <a:gd name="T45" fmla="*/ 144 h 236"/>
                <a:gd name="T46" fmla="*/ 172 w 258"/>
                <a:gd name="T47" fmla="*/ 210 h 236"/>
                <a:gd name="T48" fmla="*/ 146 w 258"/>
                <a:gd name="T49" fmla="*/ 236 h 236"/>
                <a:gd name="T50" fmla="*/ 0 w 258"/>
                <a:gd name="T51" fmla="*/ 98 h 236"/>
                <a:gd name="T52" fmla="*/ 24 w 258"/>
                <a:gd name="T53" fmla="*/ 74 h 236"/>
                <a:gd name="T54" fmla="*/ 24 w 258"/>
                <a:gd name="T55" fmla="*/ 74 h 236"/>
                <a:gd name="T56" fmla="*/ 40 w 258"/>
                <a:gd name="T57" fmla="*/ 88 h 236"/>
                <a:gd name="T58" fmla="*/ 40 w 258"/>
                <a:gd name="T59" fmla="*/ 88 h 236"/>
                <a:gd name="T60" fmla="*/ 54 w 258"/>
                <a:gd name="T61" fmla="*/ 104 h 236"/>
                <a:gd name="T62" fmla="*/ 54 w 258"/>
                <a:gd name="T63" fmla="*/ 104 h 236"/>
                <a:gd name="T64" fmla="*/ 54 w 258"/>
                <a:gd name="T65" fmla="*/ 104 h 236"/>
                <a:gd name="T66" fmla="*/ 50 w 258"/>
                <a:gd name="T67" fmla="*/ 94 h 236"/>
                <a:gd name="T68" fmla="*/ 48 w 258"/>
                <a:gd name="T69" fmla="*/ 84 h 236"/>
                <a:gd name="T70" fmla="*/ 48 w 258"/>
                <a:gd name="T71" fmla="*/ 72 h 236"/>
                <a:gd name="T72" fmla="*/ 48 w 258"/>
                <a:gd name="T73" fmla="*/ 62 h 236"/>
                <a:gd name="T74" fmla="*/ 48 w 258"/>
                <a:gd name="T75" fmla="*/ 62 h 236"/>
                <a:gd name="T76" fmla="*/ 50 w 258"/>
                <a:gd name="T77" fmla="*/ 52 h 236"/>
                <a:gd name="T78" fmla="*/ 54 w 258"/>
                <a:gd name="T79" fmla="*/ 40 h 236"/>
                <a:gd name="T80" fmla="*/ 62 w 258"/>
                <a:gd name="T81" fmla="*/ 30 h 236"/>
                <a:gd name="T82" fmla="*/ 68 w 258"/>
                <a:gd name="T83" fmla="*/ 22 h 236"/>
                <a:gd name="T84" fmla="*/ 68 w 258"/>
                <a:gd name="T85" fmla="*/ 22 h 236"/>
                <a:gd name="T86" fmla="*/ 80 w 258"/>
                <a:gd name="T87" fmla="*/ 10 h 236"/>
                <a:gd name="T88" fmla="*/ 92 w 258"/>
                <a:gd name="T89" fmla="*/ 4 h 236"/>
                <a:gd name="T90" fmla="*/ 92 w 258"/>
                <a:gd name="T91" fmla="*/ 4 h 236"/>
                <a:gd name="T92" fmla="*/ 104 w 258"/>
                <a:gd name="T93" fmla="*/ 0 h 236"/>
                <a:gd name="T94" fmla="*/ 116 w 258"/>
                <a:gd name="T95" fmla="*/ 0 h 236"/>
                <a:gd name="T96" fmla="*/ 116 w 258"/>
                <a:gd name="T97" fmla="*/ 0 h 236"/>
                <a:gd name="T98" fmla="*/ 126 w 258"/>
                <a:gd name="T99" fmla="*/ 2 h 236"/>
                <a:gd name="T100" fmla="*/ 136 w 258"/>
                <a:gd name="T101" fmla="*/ 6 h 236"/>
                <a:gd name="T102" fmla="*/ 136 w 258"/>
                <a:gd name="T103" fmla="*/ 6 h 236"/>
                <a:gd name="T104" fmla="*/ 148 w 258"/>
                <a:gd name="T105" fmla="*/ 14 h 236"/>
                <a:gd name="T106" fmla="*/ 156 w 258"/>
                <a:gd name="T107" fmla="*/ 22 h 236"/>
                <a:gd name="T108" fmla="*/ 258 w 258"/>
                <a:gd name="T109" fmla="*/ 118 h 236"/>
                <a:gd name="T110" fmla="*/ 234 w 258"/>
                <a:gd name="T111" fmla="*/ 14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8" h="236">
                  <a:moveTo>
                    <a:pt x="234" y="144"/>
                  </a:moveTo>
                  <a:lnTo>
                    <a:pt x="140" y="56"/>
                  </a:lnTo>
                  <a:lnTo>
                    <a:pt x="140" y="56"/>
                  </a:lnTo>
                  <a:lnTo>
                    <a:pt x="126" y="44"/>
                  </a:lnTo>
                  <a:lnTo>
                    <a:pt x="118" y="40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04" y="38"/>
                  </a:lnTo>
                  <a:lnTo>
                    <a:pt x="98" y="40"/>
                  </a:lnTo>
                  <a:lnTo>
                    <a:pt x="90" y="44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76" y="6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82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6" y="108"/>
                  </a:lnTo>
                  <a:lnTo>
                    <a:pt x="82" y="120"/>
                  </a:lnTo>
                  <a:lnTo>
                    <a:pt x="82" y="120"/>
                  </a:lnTo>
                  <a:lnTo>
                    <a:pt x="90" y="132"/>
                  </a:lnTo>
                  <a:lnTo>
                    <a:pt x="102" y="144"/>
                  </a:lnTo>
                  <a:lnTo>
                    <a:pt x="172" y="210"/>
                  </a:lnTo>
                  <a:lnTo>
                    <a:pt x="146" y="236"/>
                  </a:lnTo>
                  <a:lnTo>
                    <a:pt x="0" y="98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0" y="94"/>
                  </a:lnTo>
                  <a:lnTo>
                    <a:pt x="48" y="84"/>
                  </a:lnTo>
                  <a:lnTo>
                    <a:pt x="48" y="72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50" y="52"/>
                  </a:lnTo>
                  <a:lnTo>
                    <a:pt x="54" y="40"/>
                  </a:lnTo>
                  <a:lnTo>
                    <a:pt x="62" y="30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80" y="10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104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26" y="2"/>
                  </a:lnTo>
                  <a:lnTo>
                    <a:pt x="136" y="6"/>
                  </a:lnTo>
                  <a:lnTo>
                    <a:pt x="136" y="6"/>
                  </a:lnTo>
                  <a:lnTo>
                    <a:pt x="148" y="14"/>
                  </a:lnTo>
                  <a:lnTo>
                    <a:pt x="156" y="22"/>
                  </a:lnTo>
                  <a:lnTo>
                    <a:pt x="258" y="118"/>
                  </a:lnTo>
                  <a:lnTo>
                    <a:pt x="234" y="144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2539" y="610"/>
              <a:ext cx="256" cy="200"/>
            </a:xfrm>
            <a:custGeom>
              <a:avLst/>
              <a:gdLst>
                <a:gd name="T0" fmla="*/ 244 w 256"/>
                <a:gd name="T1" fmla="*/ 162 h 200"/>
                <a:gd name="T2" fmla="*/ 244 w 256"/>
                <a:gd name="T3" fmla="*/ 162 h 200"/>
                <a:gd name="T4" fmla="*/ 232 w 256"/>
                <a:gd name="T5" fmla="*/ 178 h 200"/>
                <a:gd name="T6" fmla="*/ 232 w 256"/>
                <a:gd name="T7" fmla="*/ 178 h 200"/>
                <a:gd name="T8" fmla="*/ 222 w 256"/>
                <a:gd name="T9" fmla="*/ 188 h 200"/>
                <a:gd name="T10" fmla="*/ 212 w 256"/>
                <a:gd name="T11" fmla="*/ 194 h 200"/>
                <a:gd name="T12" fmla="*/ 212 w 256"/>
                <a:gd name="T13" fmla="*/ 194 h 200"/>
                <a:gd name="T14" fmla="*/ 202 w 256"/>
                <a:gd name="T15" fmla="*/ 198 h 200"/>
                <a:gd name="T16" fmla="*/ 192 w 256"/>
                <a:gd name="T17" fmla="*/ 200 h 200"/>
                <a:gd name="T18" fmla="*/ 192 w 256"/>
                <a:gd name="T19" fmla="*/ 200 h 200"/>
                <a:gd name="T20" fmla="*/ 182 w 256"/>
                <a:gd name="T21" fmla="*/ 198 h 200"/>
                <a:gd name="T22" fmla="*/ 172 w 256"/>
                <a:gd name="T23" fmla="*/ 192 h 200"/>
                <a:gd name="T24" fmla="*/ 172 w 256"/>
                <a:gd name="T25" fmla="*/ 192 h 200"/>
                <a:gd name="T26" fmla="*/ 162 w 256"/>
                <a:gd name="T27" fmla="*/ 186 h 200"/>
                <a:gd name="T28" fmla="*/ 150 w 256"/>
                <a:gd name="T29" fmla="*/ 176 h 200"/>
                <a:gd name="T30" fmla="*/ 68 w 256"/>
                <a:gd name="T31" fmla="*/ 96 h 200"/>
                <a:gd name="T32" fmla="*/ 40 w 256"/>
                <a:gd name="T33" fmla="*/ 126 h 200"/>
                <a:gd name="T34" fmla="*/ 18 w 256"/>
                <a:gd name="T35" fmla="*/ 108 h 200"/>
                <a:gd name="T36" fmla="*/ 46 w 256"/>
                <a:gd name="T37" fmla="*/ 78 h 200"/>
                <a:gd name="T38" fmla="*/ 0 w 256"/>
                <a:gd name="T39" fmla="*/ 32 h 200"/>
                <a:gd name="T40" fmla="*/ 18 w 256"/>
                <a:gd name="T41" fmla="*/ 0 h 200"/>
                <a:gd name="T42" fmla="*/ 72 w 256"/>
                <a:gd name="T43" fmla="*/ 52 h 200"/>
                <a:gd name="T44" fmla="*/ 110 w 256"/>
                <a:gd name="T45" fmla="*/ 10 h 200"/>
                <a:gd name="T46" fmla="*/ 130 w 256"/>
                <a:gd name="T47" fmla="*/ 30 h 200"/>
                <a:gd name="T48" fmla="*/ 92 w 256"/>
                <a:gd name="T49" fmla="*/ 70 h 200"/>
                <a:gd name="T50" fmla="*/ 166 w 256"/>
                <a:gd name="T51" fmla="*/ 140 h 200"/>
                <a:gd name="T52" fmla="*/ 166 w 256"/>
                <a:gd name="T53" fmla="*/ 140 h 200"/>
                <a:gd name="T54" fmla="*/ 182 w 256"/>
                <a:gd name="T55" fmla="*/ 154 h 200"/>
                <a:gd name="T56" fmla="*/ 182 w 256"/>
                <a:gd name="T57" fmla="*/ 154 h 200"/>
                <a:gd name="T58" fmla="*/ 188 w 256"/>
                <a:gd name="T59" fmla="*/ 158 h 200"/>
                <a:gd name="T60" fmla="*/ 194 w 256"/>
                <a:gd name="T61" fmla="*/ 160 h 200"/>
                <a:gd name="T62" fmla="*/ 194 w 256"/>
                <a:gd name="T63" fmla="*/ 160 h 200"/>
                <a:gd name="T64" fmla="*/ 200 w 256"/>
                <a:gd name="T65" fmla="*/ 160 h 200"/>
                <a:gd name="T66" fmla="*/ 206 w 256"/>
                <a:gd name="T67" fmla="*/ 158 h 200"/>
                <a:gd name="T68" fmla="*/ 206 w 256"/>
                <a:gd name="T69" fmla="*/ 158 h 200"/>
                <a:gd name="T70" fmla="*/ 216 w 256"/>
                <a:gd name="T71" fmla="*/ 148 h 200"/>
                <a:gd name="T72" fmla="*/ 216 w 256"/>
                <a:gd name="T73" fmla="*/ 148 h 200"/>
                <a:gd name="T74" fmla="*/ 226 w 256"/>
                <a:gd name="T75" fmla="*/ 138 h 200"/>
                <a:gd name="T76" fmla="*/ 232 w 256"/>
                <a:gd name="T77" fmla="*/ 128 h 200"/>
                <a:gd name="T78" fmla="*/ 256 w 256"/>
                <a:gd name="T79" fmla="*/ 146 h 200"/>
                <a:gd name="T80" fmla="*/ 256 w 256"/>
                <a:gd name="T81" fmla="*/ 146 h 200"/>
                <a:gd name="T82" fmla="*/ 244 w 256"/>
                <a:gd name="T83" fmla="*/ 162 h 200"/>
                <a:gd name="T84" fmla="*/ 244 w 256"/>
                <a:gd name="T85" fmla="*/ 16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6" h="200">
                  <a:moveTo>
                    <a:pt x="244" y="162"/>
                  </a:moveTo>
                  <a:lnTo>
                    <a:pt x="244" y="162"/>
                  </a:lnTo>
                  <a:lnTo>
                    <a:pt x="232" y="178"/>
                  </a:lnTo>
                  <a:lnTo>
                    <a:pt x="232" y="178"/>
                  </a:lnTo>
                  <a:lnTo>
                    <a:pt x="222" y="188"/>
                  </a:lnTo>
                  <a:lnTo>
                    <a:pt x="212" y="194"/>
                  </a:lnTo>
                  <a:lnTo>
                    <a:pt x="212" y="194"/>
                  </a:lnTo>
                  <a:lnTo>
                    <a:pt x="202" y="198"/>
                  </a:lnTo>
                  <a:lnTo>
                    <a:pt x="192" y="200"/>
                  </a:lnTo>
                  <a:lnTo>
                    <a:pt x="192" y="200"/>
                  </a:lnTo>
                  <a:lnTo>
                    <a:pt x="182" y="198"/>
                  </a:lnTo>
                  <a:lnTo>
                    <a:pt x="172" y="192"/>
                  </a:lnTo>
                  <a:lnTo>
                    <a:pt x="172" y="192"/>
                  </a:lnTo>
                  <a:lnTo>
                    <a:pt x="162" y="186"/>
                  </a:lnTo>
                  <a:lnTo>
                    <a:pt x="150" y="176"/>
                  </a:lnTo>
                  <a:lnTo>
                    <a:pt x="68" y="96"/>
                  </a:lnTo>
                  <a:lnTo>
                    <a:pt x="40" y="126"/>
                  </a:lnTo>
                  <a:lnTo>
                    <a:pt x="18" y="108"/>
                  </a:lnTo>
                  <a:lnTo>
                    <a:pt x="46" y="78"/>
                  </a:lnTo>
                  <a:lnTo>
                    <a:pt x="0" y="32"/>
                  </a:lnTo>
                  <a:lnTo>
                    <a:pt x="18" y="0"/>
                  </a:lnTo>
                  <a:lnTo>
                    <a:pt x="72" y="52"/>
                  </a:lnTo>
                  <a:lnTo>
                    <a:pt x="110" y="10"/>
                  </a:lnTo>
                  <a:lnTo>
                    <a:pt x="130" y="30"/>
                  </a:lnTo>
                  <a:lnTo>
                    <a:pt x="92" y="70"/>
                  </a:lnTo>
                  <a:lnTo>
                    <a:pt x="166" y="140"/>
                  </a:lnTo>
                  <a:lnTo>
                    <a:pt x="166" y="140"/>
                  </a:lnTo>
                  <a:lnTo>
                    <a:pt x="182" y="154"/>
                  </a:lnTo>
                  <a:lnTo>
                    <a:pt x="182" y="154"/>
                  </a:lnTo>
                  <a:lnTo>
                    <a:pt x="188" y="158"/>
                  </a:lnTo>
                  <a:lnTo>
                    <a:pt x="194" y="160"/>
                  </a:lnTo>
                  <a:lnTo>
                    <a:pt x="194" y="160"/>
                  </a:lnTo>
                  <a:lnTo>
                    <a:pt x="200" y="160"/>
                  </a:lnTo>
                  <a:lnTo>
                    <a:pt x="206" y="158"/>
                  </a:lnTo>
                  <a:lnTo>
                    <a:pt x="206" y="158"/>
                  </a:lnTo>
                  <a:lnTo>
                    <a:pt x="216" y="148"/>
                  </a:lnTo>
                  <a:lnTo>
                    <a:pt x="216" y="148"/>
                  </a:lnTo>
                  <a:lnTo>
                    <a:pt x="226" y="138"/>
                  </a:lnTo>
                  <a:lnTo>
                    <a:pt x="232" y="128"/>
                  </a:lnTo>
                  <a:lnTo>
                    <a:pt x="256" y="146"/>
                  </a:lnTo>
                  <a:lnTo>
                    <a:pt x="256" y="146"/>
                  </a:lnTo>
                  <a:lnTo>
                    <a:pt x="244" y="162"/>
                  </a:lnTo>
                  <a:lnTo>
                    <a:pt x="244" y="162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Freeform 33"/>
            <p:cNvSpPr>
              <a:spLocks noEditPoints="1"/>
            </p:cNvSpPr>
            <p:nvPr userDrawn="1"/>
          </p:nvSpPr>
          <p:spPr bwMode="auto">
            <a:xfrm>
              <a:off x="2625" y="504"/>
              <a:ext cx="228" cy="218"/>
            </a:xfrm>
            <a:custGeom>
              <a:avLst/>
              <a:gdLst>
                <a:gd name="T0" fmla="*/ 42 w 228"/>
                <a:gd name="T1" fmla="*/ 6 h 218"/>
                <a:gd name="T2" fmla="*/ 42 w 228"/>
                <a:gd name="T3" fmla="*/ 6 h 218"/>
                <a:gd name="T4" fmla="*/ 46 w 228"/>
                <a:gd name="T5" fmla="*/ 14 h 218"/>
                <a:gd name="T6" fmla="*/ 48 w 228"/>
                <a:gd name="T7" fmla="*/ 22 h 218"/>
                <a:gd name="T8" fmla="*/ 48 w 228"/>
                <a:gd name="T9" fmla="*/ 22 h 218"/>
                <a:gd name="T10" fmla="*/ 46 w 228"/>
                <a:gd name="T11" fmla="*/ 32 h 218"/>
                <a:gd name="T12" fmla="*/ 42 w 228"/>
                <a:gd name="T13" fmla="*/ 40 h 218"/>
                <a:gd name="T14" fmla="*/ 42 w 228"/>
                <a:gd name="T15" fmla="*/ 40 h 218"/>
                <a:gd name="T16" fmla="*/ 34 w 228"/>
                <a:gd name="T17" fmla="*/ 46 h 218"/>
                <a:gd name="T18" fmla="*/ 24 w 228"/>
                <a:gd name="T19" fmla="*/ 48 h 218"/>
                <a:gd name="T20" fmla="*/ 24 w 228"/>
                <a:gd name="T21" fmla="*/ 48 h 218"/>
                <a:gd name="T22" fmla="*/ 16 w 228"/>
                <a:gd name="T23" fmla="*/ 46 h 218"/>
                <a:gd name="T24" fmla="*/ 8 w 228"/>
                <a:gd name="T25" fmla="*/ 42 h 218"/>
                <a:gd name="T26" fmla="*/ 8 w 228"/>
                <a:gd name="T27" fmla="*/ 42 h 218"/>
                <a:gd name="T28" fmla="*/ 2 w 228"/>
                <a:gd name="T29" fmla="*/ 34 h 218"/>
                <a:gd name="T30" fmla="*/ 0 w 228"/>
                <a:gd name="T31" fmla="*/ 24 h 218"/>
                <a:gd name="T32" fmla="*/ 0 w 228"/>
                <a:gd name="T33" fmla="*/ 24 h 218"/>
                <a:gd name="T34" fmla="*/ 2 w 228"/>
                <a:gd name="T35" fmla="*/ 16 h 218"/>
                <a:gd name="T36" fmla="*/ 8 w 228"/>
                <a:gd name="T37" fmla="*/ 8 h 218"/>
                <a:gd name="T38" fmla="*/ 8 w 228"/>
                <a:gd name="T39" fmla="*/ 8 h 218"/>
                <a:gd name="T40" fmla="*/ 14 w 228"/>
                <a:gd name="T41" fmla="*/ 2 h 218"/>
                <a:gd name="T42" fmla="*/ 24 w 228"/>
                <a:gd name="T43" fmla="*/ 0 h 218"/>
                <a:gd name="T44" fmla="*/ 24 w 228"/>
                <a:gd name="T45" fmla="*/ 0 h 218"/>
                <a:gd name="T46" fmla="*/ 34 w 228"/>
                <a:gd name="T47" fmla="*/ 2 h 218"/>
                <a:gd name="T48" fmla="*/ 42 w 228"/>
                <a:gd name="T49" fmla="*/ 6 h 218"/>
                <a:gd name="T50" fmla="*/ 42 w 228"/>
                <a:gd name="T51" fmla="*/ 6 h 218"/>
                <a:gd name="T52" fmla="*/ 204 w 228"/>
                <a:gd name="T53" fmla="*/ 218 h 218"/>
                <a:gd name="T54" fmla="*/ 58 w 228"/>
                <a:gd name="T55" fmla="*/ 80 h 218"/>
                <a:gd name="T56" fmla="*/ 82 w 228"/>
                <a:gd name="T57" fmla="*/ 54 h 218"/>
                <a:gd name="T58" fmla="*/ 228 w 228"/>
                <a:gd name="T59" fmla="*/ 192 h 218"/>
                <a:gd name="T60" fmla="*/ 204 w 228"/>
                <a:gd name="T61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8" h="218">
                  <a:moveTo>
                    <a:pt x="42" y="6"/>
                  </a:moveTo>
                  <a:lnTo>
                    <a:pt x="42" y="6"/>
                  </a:lnTo>
                  <a:lnTo>
                    <a:pt x="46" y="14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6" y="32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34" y="46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16" y="46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2" y="3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16"/>
                  </a:lnTo>
                  <a:lnTo>
                    <a:pt x="8" y="8"/>
                  </a:lnTo>
                  <a:lnTo>
                    <a:pt x="8" y="8"/>
                  </a:lnTo>
                  <a:lnTo>
                    <a:pt x="14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4" y="2"/>
                  </a:lnTo>
                  <a:lnTo>
                    <a:pt x="42" y="6"/>
                  </a:lnTo>
                  <a:lnTo>
                    <a:pt x="42" y="6"/>
                  </a:lnTo>
                  <a:close/>
                  <a:moveTo>
                    <a:pt x="204" y="218"/>
                  </a:moveTo>
                  <a:lnTo>
                    <a:pt x="58" y="80"/>
                  </a:lnTo>
                  <a:lnTo>
                    <a:pt x="82" y="54"/>
                  </a:lnTo>
                  <a:lnTo>
                    <a:pt x="228" y="192"/>
                  </a:lnTo>
                  <a:lnTo>
                    <a:pt x="204" y="218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Freeform 31"/>
            <p:cNvSpPr>
              <a:spLocks noEditPoints="1"/>
            </p:cNvSpPr>
            <p:nvPr userDrawn="1"/>
          </p:nvSpPr>
          <p:spPr bwMode="auto">
            <a:xfrm>
              <a:off x="2759" y="428"/>
              <a:ext cx="238" cy="212"/>
            </a:xfrm>
            <a:custGeom>
              <a:avLst/>
              <a:gdLst>
                <a:gd name="T0" fmla="*/ 214 w 238"/>
                <a:gd name="T1" fmla="*/ 140 h 212"/>
                <a:gd name="T2" fmla="*/ 200 w 238"/>
                <a:gd name="T3" fmla="*/ 126 h 212"/>
                <a:gd name="T4" fmla="*/ 186 w 238"/>
                <a:gd name="T5" fmla="*/ 112 h 212"/>
                <a:gd name="T6" fmla="*/ 190 w 238"/>
                <a:gd name="T7" fmla="*/ 122 h 212"/>
                <a:gd name="T8" fmla="*/ 192 w 238"/>
                <a:gd name="T9" fmla="*/ 142 h 212"/>
                <a:gd name="T10" fmla="*/ 192 w 238"/>
                <a:gd name="T11" fmla="*/ 152 h 212"/>
                <a:gd name="T12" fmla="*/ 184 w 238"/>
                <a:gd name="T13" fmla="*/ 174 h 212"/>
                <a:gd name="T14" fmla="*/ 172 w 238"/>
                <a:gd name="T15" fmla="*/ 192 h 212"/>
                <a:gd name="T16" fmla="*/ 162 w 238"/>
                <a:gd name="T17" fmla="*/ 200 h 212"/>
                <a:gd name="T18" fmla="*/ 142 w 238"/>
                <a:gd name="T19" fmla="*/ 210 h 212"/>
                <a:gd name="T20" fmla="*/ 132 w 238"/>
                <a:gd name="T21" fmla="*/ 212 h 212"/>
                <a:gd name="T22" fmla="*/ 112 w 238"/>
                <a:gd name="T23" fmla="*/ 208 h 212"/>
                <a:gd name="T24" fmla="*/ 94 w 238"/>
                <a:gd name="T25" fmla="*/ 196 h 212"/>
                <a:gd name="T26" fmla="*/ 84 w 238"/>
                <a:gd name="T27" fmla="*/ 184 h 212"/>
                <a:gd name="T28" fmla="*/ 76 w 238"/>
                <a:gd name="T29" fmla="*/ 154 h 212"/>
                <a:gd name="T30" fmla="*/ 78 w 238"/>
                <a:gd name="T31" fmla="*/ 138 h 212"/>
                <a:gd name="T32" fmla="*/ 94 w 238"/>
                <a:gd name="T33" fmla="*/ 100 h 212"/>
                <a:gd name="T34" fmla="*/ 126 w 238"/>
                <a:gd name="T35" fmla="*/ 60 h 212"/>
                <a:gd name="T36" fmla="*/ 116 w 238"/>
                <a:gd name="T37" fmla="*/ 52 h 212"/>
                <a:gd name="T38" fmla="*/ 102 w 238"/>
                <a:gd name="T39" fmla="*/ 40 h 212"/>
                <a:gd name="T40" fmla="*/ 86 w 238"/>
                <a:gd name="T41" fmla="*/ 36 h 212"/>
                <a:gd name="T42" fmla="*/ 80 w 238"/>
                <a:gd name="T43" fmla="*/ 36 h 212"/>
                <a:gd name="T44" fmla="*/ 64 w 238"/>
                <a:gd name="T45" fmla="*/ 46 h 212"/>
                <a:gd name="T46" fmla="*/ 54 w 238"/>
                <a:gd name="T47" fmla="*/ 54 h 212"/>
                <a:gd name="T48" fmla="*/ 38 w 238"/>
                <a:gd name="T49" fmla="*/ 78 h 212"/>
                <a:gd name="T50" fmla="*/ 30 w 238"/>
                <a:gd name="T51" fmla="*/ 92 h 212"/>
                <a:gd name="T52" fmla="*/ 0 w 238"/>
                <a:gd name="T53" fmla="*/ 92 h 212"/>
                <a:gd name="T54" fmla="*/ 6 w 238"/>
                <a:gd name="T55" fmla="*/ 76 h 212"/>
                <a:gd name="T56" fmla="*/ 16 w 238"/>
                <a:gd name="T57" fmla="*/ 60 h 212"/>
                <a:gd name="T58" fmla="*/ 38 w 238"/>
                <a:gd name="T59" fmla="*/ 30 h 212"/>
                <a:gd name="T60" fmla="*/ 52 w 238"/>
                <a:gd name="T61" fmla="*/ 16 h 212"/>
                <a:gd name="T62" fmla="*/ 66 w 238"/>
                <a:gd name="T63" fmla="*/ 8 h 212"/>
                <a:gd name="T64" fmla="*/ 92 w 238"/>
                <a:gd name="T65" fmla="*/ 0 h 212"/>
                <a:gd name="T66" fmla="*/ 104 w 238"/>
                <a:gd name="T67" fmla="*/ 0 h 212"/>
                <a:gd name="T68" fmla="*/ 116 w 238"/>
                <a:gd name="T69" fmla="*/ 6 h 212"/>
                <a:gd name="T70" fmla="*/ 138 w 238"/>
                <a:gd name="T71" fmla="*/ 22 h 212"/>
                <a:gd name="T72" fmla="*/ 196 w 238"/>
                <a:gd name="T73" fmla="*/ 76 h 212"/>
                <a:gd name="T74" fmla="*/ 218 w 238"/>
                <a:gd name="T75" fmla="*/ 96 h 212"/>
                <a:gd name="T76" fmla="*/ 214 w 238"/>
                <a:gd name="T77" fmla="*/ 140 h 212"/>
                <a:gd name="T78" fmla="*/ 144 w 238"/>
                <a:gd name="T79" fmla="*/ 78 h 212"/>
                <a:gd name="T80" fmla="*/ 118 w 238"/>
                <a:gd name="T81" fmla="*/ 110 h 212"/>
                <a:gd name="T82" fmla="*/ 112 w 238"/>
                <a:gd name="T83" fmla="*/ 124 h 212"/>
                <a:gd name="T84" fmla="*/ 108 w 238"/>
                <a:gd name="T85" fmla="*/ 134 h 212"/>
                <a:gd name="T86" fmla="*/ 106 w 238"/>
                <a:gd name="T87" fmla="*/ 154 h 212"/>
                <a:gd name="T88" fmla="*/ 110 w 238"/>
                <a:gd name="T89" fmla="*/ 160 h 212"/>
                <a:gd name="T90" fmla="*/ 114 w 238"/>
                <a:gd name="T91" fmla="*/ 166 h 212"/>
                <a:gd name="T92" fmla="*/ 136 w 238"/>
                <a:gd name="T93" fmla="*/ 176 h 212"/>
                <a:gd name="T94" fmla="*/ 142 w 238"/>
                <a:gd name="T95" fmla="*/ 174 h 212"/>
                <a:gd name="T96" fmla="*/ 158 w 238"/>
                <a:gd name="T97" fmla="*/ 166 h 212"/>
                <a:gd name="T98" fmla="*/ 164 w 238"/>
                <a:gd name="T99" fmla="*/ 156 h 212"/>
                <a:gd name="T100" fmla="*/ 170 w 238"/>
                <a:gd name="T101" fmla="*/ 146 h 212"/>
                <a:gd name="T102" fmla="*/ 170 w 238"/>
                <a:gd name="T103" fmla="*/ 122 h 212"/>
                <a:gd name="T104" fmla="*/ 168 w 238"/>
                <a:gd name="T105" fmla="*/ 112 h 212"/>
                <a:gd name="T106" fmla="*/ 162 w 238"/>
                <a:gd name="T107" fmla="*/ 100 h 212"/>
                <a:gd name="T108" fmla="*/ 148 w 238"/>
                <a:gd name="T109" fmla="*/ 8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8" h="212">
                  <a:moveTo>
                    <a:pt x="214" y="140"/>
                  </a:moveTo>
                  <a:lnTo>
                    <a:pt x="214" y="140"/>
                  </a:lnTo>
                  <a:lnTo>
                    <a:pt x="200" y="126"/>
                  </a:lnTo>
                  <a:lnTo>
                    <a:pt x="200" y="126"/>
                  </a:lnTo>
                  <a:lnTo>
                    <a:pt x="186" y="112"/>
                  </a:lnTo>
                  <a:lnTo>
                    <a:pt x="186" y="112"/>
                  </a:lnTo>
                  <a:lnTo>
                    <a:pt x="186" y="112"/>
                  </a:lnTo>
                  <a:lnTo>
                    <a:pt x="190" y="122"/>
                  </a:lnTo>
                  <a:lnTo>
                    <a:pt x="192" y="132"/>
                  </a:lnTo>
                  <a:lnTo>
                    <a:pt x="192" y="142"/>
                  </a:lnTo>
                  <a:lnTo>
                    <a:pt x="192" y="152"/>
                  </a:lnTo>
                  <a:lnTo>
                    <a:pt x="192" y="152"/>
                  </a:lnTo>
                  <a:lnTo>
                    <a:pt x="188" y="162"/>
                  </a:lnTo>
                  <a:lnTo>
                    <a:pt x="184" y="174"/>
                  </a:lnTo>
                  <a:lnTo>
                    <a:pt x="178" y="182"/>
                  </a:lnTo>
                  <a:lnTo>
                    <a:pt x="172" y="192"/>
                  </a:lnTo>
                  <a:lnTo>
                    <a:pt x="172" y="192"/>
                  </a:lnTo>
                  <a:lnTo>
                    <a:pt x="162" y="200"/>
                  </a:lnTo>
                  <a:lnTo>
                    <a:pt x="152" y="206"/>
                  </a:lnTo>
                  <a:lnTo>
                    <a:pt x="142" y="210"/>
                  </a:lnTo>
                  <a:lnTo>
                    <a:pt x="132" y="212"/>
                  </a:lnTo>
                  <a:lnTo>
                    <a:pt x="132" y="212"/>
                  </a:lnTo>
                  <a:lnTo>
                    <a:pt x="122" y="210"/>
                  </a:lnTo>
                  <a:lnTo>
                    <a:pt x="112" y="208"/>
                  </a:lnTo>
                  <a:lnTo>
                    <a:pt x="102" y="202"/>
                  </a:lnTo>
                  <a:lnTo>
                    <a:pt x="94" y="196"/>
                  </a:lnTo>
                  <a:lnTo>
                    <a:pt x="94" y="196"/>
                  </a:lnTo>
                  <a:lnTo>
                    <a:pt x="84" y="184"/>
                  </a:lnTo>
                  <a:lnTo>
                    <a:pt x="78" y="170"/>
                  </a:lnTo>
                  <a:lnTo>
                    <a:pt x="76" y="154"/>
                  </a:lnTo>
                  <a:lnTo>
                    <a:pt x="78" y="138"/>
                  </a:lnTo>
                  <a:lnTo>
                    <a:pt x="78" y="138"/>
                  </a:lnTo>
                  <a:lnTo>
                    <a:pt x="84" y="120"/>
                  </a:lnTo>
                  <a:lnTo>
                    <a:pt x="94" y="100"/>
                  </a:lnTo>
                  <a:lnTo>
                    <a:pt x="108" y="82"/>
                  </a:lnTo>
                  <a:lnTo>
                    <a:pt x="126" y="60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0" y="44"/>
                  </a:lnTo>
                  <a:lnTo>
                    <a:pt x="102" y="40"/>
                  </a:lnTo>
                  <a:lnTo>
                    <a:pt x="94" y="38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0" y="36"/>
                  </a:lnTo>
                  <a:lnTo>
                    <a:pt x="72" y="40"/>
                  </a:lnTo>
                  <a:lnTo>
                    <a:pt x="64" y="46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46" y="64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0" y="92"/>
                  </a:lnTo>
                  <a:lnTo>
                    <a:pt x="26" y="10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6" y="76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26" y="44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52" y="16"/>
                  </a:lnTo>
                  <a:lnTo>
                    <a:pt x="66" y="8"/>
                  </a:lnTo>
                  <a:lnTo>
                    <a:pt x="66" y="8"/>
                  </a:lnTo>
                  <a:lnTo>
                    <a:pt x="80" y="2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104" y="0"/>
                  </a:lnTo>
                  <a:lnTo>
                    <a:pt x="116" y="6"/>
                  </a:lnTo>
                  <a:lnTo>
                    <a:pt x="116" y="6"/>
                  </a:lnTo>
                  <a:lnTo>
                    <a:pt x="126" y="12"/>
                  </a:lnTo>
                  <a:lnTo>
                    <a:pt x="138" y="22"/>
                  </a:lnTo>
                  <a:lnTo>
                    <a:pt x="196" y="76"/>
                  </a:lnTo>
                  <a:lnTo>
                    <a:pt x="196" y="76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38" y="116"/>
                  </a:lnTo>
                  <a:lnTo>
                    <a:pt x="214" y="140"/>
                  </a:lnTo>
                  <a:close/>
                  <a:moveTo>
                    <a:pt x="144" y="78"/>
                  </a:moveTo>
                  <a:lnTo>
                    <a:pt x="144" y="78"/>
                  </a:lnTo>
                  <a:lnTo>
                    <a:pt x="130" y="96"/>
                  </a:lnTo>
                  <a:lnTo>
                    <a:pt x="118" y="110"/>
                  </a:lnTo>
                  <a:lnTo>
                    <a:pt x="118" y="110"/>
                  </a:lnTo>
                  <a:lnTo>
                    <a:pt x="112" y="124"/>
                  </a:lnTo>
                  <a:lnTo>
                    <a:pt x="108" y="134"/>
                  </a:lnTo>
                  <a:lnTo>
                    <a:pt x="108" y="134"/>
                  </a:lnTo>
                  <a:lnTo>
                    <a:pt x="106" y="144"/>
                  </a:lnTo>
                  <a:lnTo>
                    <a:pt x="106" y="154"/>
                  </a:lnTo>
                  <a:lnTo>
                    <a:pt x="106" y="154"/>
                  </a:lnTo>
                  <a:lnTo>
                    <a:pt x="110" y="160"/>
                  </a:lnTo>
                  <a:lnTo>
                    <a:pt x="114" y="166"/>
                  </a:lnTo>
                  <a:lnTo>
                    <a:pt x="114" y="166"/>
                  </a:lnTo>
                  <a:lnTo>
                    <a:pt x="124" y="172"/>
                  </a:lnTo>
                  <a:lnTo>
                    <a:pt x="136" y="176"/>
                  </a:lnTo>
                  <a:lnTo>
                    <a:pt x="136" y="176"/>
                  </a:lnTo>
                  <a:lnTo>
                    <a:pt x="142" y="174"/>
                  </a:lnTo>
                  <a:lnTo>
                    <a:pt x="148" y="172"/>
                  </a:lnTo>
                  <a:lnTo>
                    <a:pt x="158" y="166"/>
                  </a:lnTo>
                  <a:lnTo>
                    <a:pt x="158" y="166"/>
                  </a:lnTo>
                  <a:lnTo>
                    <a:pt x="164" y="156"/>
                  </a:lnTo>
                  <a:lnTo>
                    <a:pt x="170" y="146"/>
                  </a:lnTo>
                  <a:lnTo>
                    <a:pt x="170" y="146"/>
                  </a:lnTo>
                  <a:lnTo>
                    <a:pt x="170" y="134"/>
                  </a:lnTo>
                  <a:lnTo>
                    <a:pt x="170" y="122"/>
                  </a:lnTo>
                  <a:lnTo>
                    <a:pt x="170" y="122"/>
                  </a:lnTo>
                  <a:lnTo>
                    <a:pt x="168" y="112"/>
                  </a:lnTo>
                  <a:lnTo>
                    <a:pt x="162" y="100"/>
                  </a:lnTo>
                  <a:lnTo>
                    <a:pt x="162" y="100"/>
                  </a:lnTo>
                  <a:lnTo>
                    <a:pt x="156" y="90"/>
                  </a:lnTo>
                  <a:lnTo>
                    <a:pt x="148" y="82"/>
                  </a:lnTo>
                  <a:lnTo>
                    <a:pt x="144" y="78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Freeform 32"/>
            <p:cNvSpPr>
              <a:spLocks/>
            </p:cNvSpPr>
            <p:nvPr userDrawn="1"/>
          </p:nvSpPr>
          <p:spPr bwMode="auto">
            <a:xfrm>
              <a:off x="2851" y="250"/>
              <a:ext cx="214" cy="248"/>
            </a:xfrm>
            <a:custGeom>
              <a:avLst/>
              <a:gdLst>
                <a:gd name="T0" fmla="*/ 186 w 214"/>
                <a:gd name="T1" fmla="*/ 248 h 248"/>
                <a:gd name="T2" fmla="*/ 0 w 214"/>
                <a:gd name="T3" fmla="*/ 22 h 248"/>
                <a:gd name="T4" fmla="*/ 28 w 214"/>
                <a:gd name="T5" fmla="*/ 0 h 248"/>
                <a:gd name="T6" fmla="*/ 214 w 214"/>
                <a:gd name="T7" fmla="*/ 226 h 248"/>
                <a:gd name="T8" fmla="*/ 186 w 214"/>
                <a:gd name="T9" fmla="*/ 24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248">
                  <a:moveTo>
                    <a:pt x="186" y="248"/>
                  </a:moveTo>
                  <a:lnTo>
                    <a:pt x="0" y="22"/>
                  </a:lnTo>
                  <a:lnTo>
                    <a:pt x="28" y="0"/>
                  </a:lnTo>
                  <a:lnTo>
                    <a:pt x="214" y="226"/>
                  </a:lnTo>
                  <a:lnTo>
                    <a:pt x="186" y="248"/>
                  </a:lnTo>
                  <a:close/>
                </a:path>
              </a:pathLst>
            </a:custGeom>
            <a:solidFill>
              <a:srgbClr val="C6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6217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7" r:id="rId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tx2"/>
        </a:buClr>
        <a:buSzPct val="120000"/>
        <a:buFont typeface="Verdana" pitchFamily="34" charset="0"/>
        <a:buChar char="_"/>
        <a:defRPr sz="2400" kern="1200">
          <a:solidFill>
            <a:srgbClr val="4D4D4D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tx2"/>
        </a:buClr>
        <a:buSzPct val="120000"/>
        <a:buFont typeface="Arial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tx2"/>
        </a:buClr>
        <a:buSzPct val="100000"/>
        <a:buFont typeface="Arial" pitchFamily="34" charset="0"/>
        <a:buChar char="•"/>
        <a:defRPr sz="1800" kern="1200">
          <a:solidFill>
            <a:srgbClr val="4D4D4D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tx2"/>
        </a:buClr>
        <a:buSzPct val="100000"/>
        <a:buFont typeface="Arial" pitchFamily="34" charset="0"/>
        <a:buChar char="•"/>
        <a:defRPr sz="1600" kern="1200">
          <a:solidFill>
            <a:srgbClr val="4D4D4D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tx2"/>
        </a:buClr>
        <a:buSzPct val="100000"/>
        <a:buFont typeface="Arial" pitchFamily="34" charset="0"/>
        <a:buChar char="•"/>
        <a:defRPr sz="1600" kern="1200">
          <a:solidFill>
            <a:srgbClr val="4D4D4D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74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 rot="16200000">
            <a:off x="6669131" y="3741732"/>
            <a:ext cx="4643437" cy="274648"/>
          </a:xfrm>
          <a:prstGeom prst="rect">
            <a:avLst/>
          </a:prstGeom>
        </p:spPr>
        <p:txBody>
          <a:bodyPr vert="horz" lIns="324000" tIns="0" rIns="0" bIns="0" rtlCol="0" anchor="ctr"/>
          <a:lstStyle>
            <a:lvl1pPr algn="l">
              <a:defRPr sz="7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FFFFFF">
                    <a:lumMod val="65000"/>
                  </a:srgbClr>
                </a:solidFill>
              </a:rPr>
              <a:t>© 2015 Amadeus IT Group SA</a:t>
            </a:r>
            <a:endParaRPr lang="en-GB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2523" y="8999"/>
            <a:ext cx="8221884" cy="755705"/>
          </a:xfrm>
          <a:prstGeom prst="rect">
            <a:avLst/>
          </a:prstGeom>
        </p:spPr>
        <p:txBody>
          <a:bodyPr vert="horz" lIns="50400" tIns="45720" rIns="0" bIns="45720" rtlCol="0" anchor="t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2523" y="764704"/>
            <a:ext cx="8229347" cy="55881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6" name="Text Box 12"/>
          <p:cNvSpPr txBox="1">
            <a:spLocks noChangeArrowheads="1"/>
          </p:cNvSpPr>
          <p:nvPr/>
        </p:nvSpPr>
        <p:spPr bwMode="auto">
          <a:xfrm>
            <a:off x="9209167" y="5296057"/>
            <a:ext cx="1843553" cy="969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tabLst>
                <a:tab pos="177800" algn="l"/>
              </a:tabLst>
              <a:defRPr/>
            </a:pPr>
            <a:r>
              <a:rPr lang="en-GB" sz="900" b="1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Change the Year in the Copyright field</a:t>
            </a:r>
            <a: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/>
            </a:r>
            <a:b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</a:br>
            <a:r>
              <a:rPr lang="en-GB" sz="900" b="1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1. </a:t>
            </a:r>
            <a: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Click ‘Insert’ in Top menu</a:t>
            </a:r>
            <a:b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</a:br>
            <a:r>
              <a:rPr lang="en-GB" sz="900" b="1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2. </a:t>
            </a:r>
            <a: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Click ’Header &amp; Footer’ </a:t>
            </a:r>
            <a:b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</a:br>
            <a:r>
              <a:rPr lang="en-GB" sz="900" b="1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3. </a:t>
            </a:r>
            <a: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Write new Year </a:t>
            </a:r>
            <a:b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</a:br>
            <a: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	in field ‘Footer’</a:t>
            </a:r>
            <a:b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</a:br>
            <a:r>
              <a:rPr lang="en-GB" sz="900" b="1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4. </a:t>
            </a:r>
            <a:r>
              <a:rPr lang="en-GB" sz="900" dirty="0" smtClean="0">
                <a:solidFill>
                  <a:srgbClr val="4D4D4D">
                    <a:lumMod val="75000"/>
                    <a:lumOff val="25000"/>
                  </a:srgbClr>
                </a:solidFill>
                <a:latin typeface="Verdana"/>
                <a:cs typeface="Arial" pitchFamily="34" charset="0"/>
              </a:rPr>
              <a:t>Click ‘Apply to All’</a:t>
            </a:r>
          </a:p>
        </p:txBody>
      </p:sp>
      <p:sp>
        <p:nvSpPr>
          <p:cNvPr id="48" name="AutoShape 3"/>
          <p:cNvSpPr>
            <a:spLocks noChangeAspect="1" noChangeArrowheads="1" noTextEdit="1"/>
          </p:cNvSpPr>
          <p:nvPr/>
        </p:nvSpPr>
        <p:spPr bwMode="auto">
          <a:xfrm>
            <a:off x="7770859" y="6482312"/>
            <a:ext cx="1022999" cy="179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0" name="Freeform 49"/>
          <p:cNvSpPr>
            <a:spLocks/>
          </p:cNvSpPr>
          <p:nvPr/>
        </p:nvSpPr>
        <p:spPr bwMode="auto">
          <a:xfrm>
            <a:off x="8414643" y="6482312"/>
            <a:ext cx="95749" cy="179767"/>
          </a:xfrm>
          <a:custGeom>
            <a:avLst/>
            <a:gdLst>
              <a:gd name="T0" fmla="*/ 0 w 305"/>
              <a:gd name="T1" fmla="*/ 407 h 428"/>
              <a:gd name="T2" fmla="*/ 0 w 305"/>
              <a:gd name="T3" fmla="*/ 407 h 428"/>
              <a:gd name="T4" fmla="*/ 13 w 305"/>
              <a:gd name="T5" fmla="*/ 411 h 428"/>
              <a:gd name="T6" fmla="*/ 47 w 305"/>
              <a:gd name="T7" fmla="*/ 418 h 428"/>
              <a:gd name="T8" fmla="*/ 71 w 305"/>
              <a:gd name="T9" fmla="*/ 421 h 428"/>
              <a:gd name="T10" fmla="*/ 98 w 305"/>
              <a:gd name="T11" fmla="*/ 425 h 428"/>
              <a:gd name="T12" fmla="*/ 129 w 305"/>
              <a:gd name="T13" fmla="*/ 427 h 428"/>
              <a:gd name="T14" fmla="*/ 163 w 305"/>
              <a:gd name="T15" fmla="*/ 428 h 428"/>
              <a:gd name="T16" fmla="*/ 163 w 305"/>
              <a:gd name="T17" fmla="*/ 428 h 428"/>
              <a:gd name="T18" fmla="*/ 197 w 305"/>
              <a:gd name="T19" fmla="*/ 427 h 428"/>
              <a:gd name="T20" fmla="*/ 226 w 305"/>
              <a:gd name="T21" fmla="*/ 426 h 428"/>
              <a:gd name="T22" fmla="*/ 251 w 305"/>
              <a:gd name="T23" fmla="*/ 424 h 428"/>
              <a:gd name="T24" fmla="*/ 270 w 305"/>
              <a:gd name="T25" fmla="*/ 422 h 428"/>
              <a:gd name="T26" fmla="*/ 297 w 305"/>
              <a:gd name="T27" fmla="*/ 419 h 428"/>
              <a:gd name="T28" fmla="*/ 305 w 305"/>
              <a:gd name="T29" fmla="*/ 417 h 428"/>
              <a:gd name="T30" fmla="*/ 305 w 305"/>
              <a:gd name="T31" fmla="*/ 346 h 428"/>
              <a:gd name="T32" fmla="*/ 305 w 305"/>
              <a:gd name="T33" fmla="*/ 346 h 428"/>
              <a:gd name="T34" fmla="*/ 297 w 305"/>
              <a:gd name="T35" fmla="*/ 347 h 428"/>
              <a:gd name="T36" fmla="*/ 272 w 305"/>
              <a:gd name="T37" fmla="*/ 351 h 428"/>
              <a:gd name="T38" fmla="*/ 235 w 305"/>
              <a:gd name="T39" fmla="*/ 354 h 428"/>
              <a:gd name="T40" fmla="*/ 213 w 305"/>
              <a:gd name="T41" fmla="*/ 355 h 428"/>
              <a:gd name="T42" fmla="*/ 188 w 305"/>
              <a:gd name="T43" fmla="*/ 355 h 428"/>
              <a:gd name="T44" fmla="*/ 188 w 305"/>
              <a:gd name="T45" fmla="*/ 355 h 428"/>
              <a:gd name="T46" fmla="*/ 167 w 305"/>
              <a:gd name="T47" fmla="*/ 355 h 428"/>
              <a:gd name="T48" fmla="*/ 149 w 305"/>
              <a:gd name="T49" fmla="*/ 354 h 428"/>
              <a:gd name="T50" fmla="*/ 118 w 305"/>
              <a:gd name="T51" fmla="*/ 351 h 428"/>
              <a:gd name="T52" fmla="*/ 99 w 305"/>
              <a:gd name="T53" fmla="*/ 349 h 428"/>
              <a:gd name="T54" fmla="*/ 92 w 305"/>
              <a:gd name="T55" fmla="*/ 348 h 428"/>
              <a:gd name="T56" fmla="*/ 92 w 305"/>
              <a:gd name="T57" fmla="*/ 247 h 428"/>
              <a:gd name="T58" fmla="*/ 276 w 305"/>
              <a:gd name="T59" fmla="*/ 247 h 428"/>
              <a:gd name="T60" fmla="*/ 276 w 305"/>
              <a:gd name="T61" fmla="*/ 175 h 428"/>
              <a:gd name="T62" fmla="*/ 92 w 305"/>
              <a:gd name="T63" fmla="*/ 175 h 428"/>
              <a:gd name="T64" fmla="*/ 92 w 305"/>
              <a:gd name="T65" fmla="*/ 79 h 428"/>
              <a:gd name="T66" fmla="*/ 92 w 305"/>
              <a:gd name="T67" fmla="*/ 79 h 428"/>
              <a:gd name="T68" fmla="*/ 99 w 305"/>
              <a:gd name="T69" fmla="*/ 78 h 428"/>
              <a:gd name="T70" fmla="*/ 117 w 305"/>
              <a:gd name="T71" fmla="*/ 76 h 428"/>
              <a:gd name="T72" fmla="*/ 145 w 305"/>
              <a:gd name="T73" fmla="*/ 74 h 428"/>
              <a:gd name="T74" fmla="*/ 182 w 305"/>
              <a:gd name="T75" fmla="*/ 73 h 428"/>
              <a:gd name="T76" fmla="*/ 182 w 305"/>
              <a:gd name="T77" fmla="*/ 73 h 428"/>
              <a:gd name="T78" fmla="*/ 205 w 305"/>
              <a:gd name="T79" fmla="*/ 73 h 428"/>
              <a:gd name="T80" fmla="*/ 226 w 305"/>
              <a:gd name="T81" fmla="*/ 74 h 428"/>
              <a:gd name="T82" fmla="*/ 263 w 305"/>
              <a:gd name="T83" fmla="*/ 77 h 428"/>
              <a:gd name="T84" fmla="*/ 289 w 305"/>
              <a:gd name="T85" fmla="*/ 80 h 428"/>
              <a:gd name="T86" fmla="*/ 298 w 305"/>
              <a:gd name="T87" fmla="*/ 82 h 428"/>
              <a:gd name="T88" fmla="*/ 298 w 305"/>
              <a:gd name="T89" fmla="*/ 10 h 428"/>
              <a:gd name="T90" fmla="*/ 298 w 305"/>
              <a:gd name="T91" fmla="*/ 10 h 428"/>
              <a:gd name="T92" fmla="*/ 289 w 305"/>
              <a:gd name="T93" fmla="*/ 9 h 428"/>
              <a:gd name="T94" fmla="*/ 264 w 305"/>
              <a:gd name="T95" fmla="*/ 5 h 428"/>
              <a:gd name="T96" fmla="*/ 224 w 305"/>
              <a:gd name="T97" fmla="*/ 2 h 428"/>
              <a:gd name="T98" fmla="*/ 200 w 305"/>
              <a:gd name="T99" fmla="*/ 1 h 428"/>
              <a:gd name="T100" fmla="*/ 172 w 305"/>
              <a:gd name="T101" fmla="*/ 0 h 428"/>
              <a:gd name="T102" fmla="*/ 172 w 305"/>
              <a:gd name="T103" fmla="*/ 0 h 428"/>
              <a:gd name="T104" fmla="*/ 134 w 305"/>
              <a:gd name="T105" fmla="*/ 1 h 428"/>
              <a:gd name="T106" fmla="*/ 102 w 305"/>
              <a:gd name="T107" fmla="*/ 3 h 428"/>
              <a:gd name="T108" fmla="*/ 72 w 305"/>
              <a:gd name="T109" fmla="*/ 6 h 428"/>
              <a:gd name="T110" fmla="*/ 47 w 305"/>
              <a:gd name="T111" fmla="*/ 9 h 428"/>
              <a:gd name="T112" fmla="*/ 27 w 305"/>
              <a:gd name="T113" fmla="*/ 13 h 428"/>
              <a:gd name="T114" fmla="*/ 13 w 305"/>
              <a:gd name="T115" fmla="*/ 15 h 428"/>
              <a:gd name="T116" fmla="*/ 0 w 305"/>
              <a:gd name="T117" fmla="*/ 19 h 428"/>
              <a:gd name="T118" fmla="*/ 0 w 305"/>
              <a:gd name="T119" fmla="*/ 407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05" h="428">
                <a:moveTo>
                  <a:pt x="0" y="407"/>
                </a:moveTo>
                <a:lnTo>
                  <a:pt x="0" y="407"/>
                </a:lnTo>
                <a:lnTo>
                  <a:pt x="13" y="411"/>
                </a:lnTo>
                <a:lnTo>
                  <a:pt x="47" y="418"/>
                </a:lnTo>
                <a:lnTo>
                  <a:pt x="71" y="421"/>
                </a:lnTo>
                <a:lnTo>
                  <a:pt x="98" y="425"/>
                </a:lnTo>
                <a:lnTo>
                  <a:pt x="129" y="427"/>
                </a:lnTo>
                <a:lnTo>
                  <a:pt x="163" y="428"/>
                </a:lnTo>
                <a:lnTo>
                  <a:pt x="163" y="428"/>
                </a:lnTo>
                <a:lnTo>
                  <a:pt x="197" y="427"/>
                </a:lnTo>
                <a:lnTo>
                  <a:pt x="226" y="426"/>
                </a:lnTo>
                <a:lnTo>
                  <a:pt x="251" y="424"/>
                </a:lnTo>
                <a:lnTo>
                  <a:pt x="270" y="422"/>
                </a:lnTo>
                <a:lnTo>
                  <a:pt x="297" y="419"/>
                </a:lnTo>
                <a:lnTo>
                  <a:pt x="305" y="417"/>
                </a:lnTo>
                <a:lnTo>
                  <a:pt x="305" y="346"/>
                </a:lnTo>
                <a:lnTo>
                  <a:pt x="305" y="346"/>
                </a:lnTo>
                <a:lnTo>
                  <a:pt x="297" y="347"/>
                </a:lnTo>
                <a:lnTo>
                  <a:pt x="272" y="351"/>
                </a:lnTo>
                <a:lnTo>
                  <a:pt x="235" y="354"/>
                </a:lnTo>
                <a:lnTo>
                  <a:pt x="213" y="355"/>
                </a:lnTo>
                <a:lnTo>
                  <a:pt x="188" y="355"/>
                </a:lnTo>
                <a:lnTo>
                  <a:pt x="188" y="355"/>
                </a:lnTo>
                <a:lnTo>
                  <a:pt x="167" y="355"/>
                </a:lnTo>
                <a:lnTo>
                  <a:pt x="149" y="354"/>
                </a:lnTo>
                <a:lnTo>
                  <a:pt x="118" y="351"/>
                </a:lnTo>
                <a:lnTo>
                  <a:pt x="99" y="349"/>
                </a:lnTo>
                <a:lnTo>
                  <a:pt x="92" y="348"/>
                </a:lnTo>
                <a:lnTo>
                  <a:pt x="92" y="247"/>
                </a:lnTo>
                <a:lnTo>
                  <a:pt x="276" y="247"/>
                </a:lnTo>
                <a:lnTo>
                  <a:pt x="276" y="175"/>
                </a:lnTo>
                <a:lnTo>
                  <a:pt x="92" y="175"/>
                </a:lnTo>
                <a:lnTo>
                  <a:pt x="92" y="79"/>
                </a:lnTo>
                <a:lnTo>
                  <a:pt x="92" y="79"/>
                </a:lnTo>
                <a:lnTo>
                  <a:pt x="99" y="78"/>
                </a:lnTo>
                <a:lnTo>
                  <a:pt x="117" y="76"/>
                </a:lnTo>
                <a:lnTo>
                  <a:pt x="145" y="74"/>
                </a:lnTo>
                <a:lnTo>
                  <a:pt x="182" y="73"/>
                </a:lnTo>
                <a:lnTo>
                  <a:pt x="182" y="73"/>
                </a:lnTo>
                <a:lnTo>
                  <a:pt x="205" y="73"/>
                </a:lnTo>
                <a:lnTo>
                  <a:pt x="226" y="74"/>
                </a:lnTo>
                <a:lnTo>
                  <a:pt x="263" y="77"/>
                </a:lnTo>
                <a:lnTo>
                  <a:pt x="289" y="80"/>
                </a:lnTo>
                <a:lnTo>
                  <a:pt x="298" y="82"/>
                </a:lnTo>
                <a:lnTo>
                  <a:pt x="298" y="10"/>
                </a:lnTo>
                <a:lnTo>
                  <a:pt x="298" y="10"/>
                </a:lnTo>
                <a:lnTo>
                  <a:pt x="289" y="9"/>
                </a:lnTo>
                <a:lnTo>
                  <a:pt x="264" y="5"/>
                </a:lnTo>
                <a:lnTo>
                  <a:pt x="224" y="2"/>
                </a:lnTo>
                <a:lnTo>
                  <a:pt x="200" y="1"/>
                </a:lnTo>
                <a:lnTo>
                  <a:pt x="172" y="0"/>
                </a:lnTo>
                <a:lnTo>
                  <a:pt x="172" y="0"/>
                </a:lnTo>
                <a:lnTo>
                  <a:pt x="134" y="1"/>
                </a:lnTo>
                <a:lnTo>
                  <a:pt x="102" y="3"/>
                </a:lnTo>
                <a:lnTo>
                  <a:pt x="72" y="6"/>
                </a:lnTo>
                <a:lnTo>
                  <a:pt x="47" y="9"/>
                </a:lnTo>
                <a:lnTo>
                  <a:pt x="27" y="13"/>
                </a:lnTo>
                <a:lnTo>
                  <a:pt x="13" y="15"/>
                </a:lnTo>
                <a:lnTo>
                  <a:pt x="0" y="19"/>
                </a:lnTo>
                <a:lnTo>
                  <a:pt x="0" y="407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1" name="Freeform 50"/>
          <p:cNvSpPr>
            <a:spLocks/>
          </p:cNvSpPr>
          <p:nvPr/>
        </p:nvSpPr>
        <p:spPr bwMode="auto">
          <a:xfrm>
            <a:off x="7919521" y="6482311"/>
            <a:ext cx="156222" cy="176407"/>
          </a:xfrm>
          <a:custGeom>
            <a:avLst/>
            <a:gdLst>
              <a:gd name="T0" fmla="*/ 255 w 496"/>
              <a:gd name="T1" fmla="*/ 246 h 422"/>
              <a:gd name="T2" fmla="*/ 255 w 496"/>
              <a:gd name="T3" fmla="*/ 246 h 422"/>
              <a:gd name="T4" fmla="*/ 251 w 496"/>
              <a:gd name="T5" fmla="*/ 257 h 422"/>
              <a:gd name="T6" fmla="*/ 248 w 496"/>
              <a:gd name="T7" fmla="*/ 270 h 422"/>
              <a:gd name="T8" fmla="*/ 248 w 496"/>
              <a:gd name="T9" fmla="*/ 270 h 422"/>
              <a:gd name="T10" fmla="*/ 244 w 496"/>
              <a:gd name="T11" fmla="*/ 257 h 422"/>
              <a:gd name="T12" fmla="*/ 241 w 496"/>
              <a:gd name="T13" fmla="*/ 246 h 422"/>
              <a:gd name="T14" fmla="*/ 159 w 496"/>
              <a:gd name="T15" fmla="*/ 39 h 422"/>
              <a:gd name="T16" fmla="*/ 159 w 496"/>
              <a:gd name="T17" fmla="*/ 39 h 422"/>
              <a:gd name="T18" fmla="*/ 153 w 496"/>
              <a:gd name="T19" fmla="*/ 28 h 422"/>
              <a:gd name="T20" fmla="*/ 147 w 496"/>
              <a:gd name="T21" fmla="*/ 19 h 422"/>
              <a:gd name="T22" fmla="*/ 140 w 496"/>
              <a:gd name="T23" fmla="*/ 11 h 422"/>
              <a:gd name="T24" fmla="*/ 132 w 496"/>
              <a:gd name="T25" fmla="*/ 7 h 422"/>
              <a:gd name="T26" fmla="*/ 122 w 496"/>
              <a:gd name="T27" fmla="*/ 3 h 422"/>
              <a:gd name="T28" fmla="*/ 110 w 496"/>
              <a:gd name="T29" fmla="*/ 1 h 422"/>
              <a:gd name="T30" fmla="*/ 98 w 496"/>
              <a:gd name="T31" fmla="*/ 1 h 422"/>
              <a:gd name="T32" fmla="*/ 84 w 496"/>
              <a:gd name="T33" fmla="*/ 0 h 422"/>
              <a:gd name="T34" fmla="*/ 84 w 496"/>
              <a:gd name="T35" fmla="*/ 0 h 422"/>
              <a:gd name="T36" fmla="*/ 58 w 496"/>
              <a:gd name="T37" fmla="*/ 1 h 422"/>
              <a:gd name="T38" fmla="*/ 42 w 496"/>
              <a:gd name="T39" fmla="*/ 2 h 422"/>
              <a:gd name="T40" fmla="*/ 0 w 496"/>
              <a:gd name="T41" fmla="*/ 422 h 422"/>
              <a:gd name="T42" fmla="*/ 93 w 496"/>
              <a:gd name="T43" fmla="*/ 422 h 422"/>
              <a:gd name="T44" fmla="*/ 113 w 496"/>
              <a:gd name="T45" fmla="*/ 140 h 422"/>
              <a:gd name="T46" fmla="*/ 201 w 496"/>
              <a:gd name="T47" fmla="*/ 353 h 422"/>
              <a:gd name="T48" fmla="*/ 201 w 496"/>
              <a:gd name="T49" fmla="*/ 353 h 422"/>
              <a:gd name="T50" fmla="*/ 204 w 496"/>
              <a:gd name="T51" fmla="*/ 359 h 422"/>
              <a:gd name="T52" fmla="*/ 208 w 496"/>
              <a:gd name="T53" fmla="*/ 364 h 422"/>
              <a:gd name="T54" fmla="*/ 213 w 496"/>
              <a:gd name="T55" fmla="*/ 368 h 422"/>
              <a:gd name="T56" fmla="*/ 218 w 496"/>
              <a:gd name="T57" fmla="*/ 371 h 422"/>
              <a:gd name="T58" fmla="*/ 224 w 496"/>
              <a:gd name="T59" fmla="*/ 373 h 422"/>
              <a:gd name="T60" fmla="*/ 231 w 496"/>
              <a:gd name="T61" fmla="*/ 376 h 422"/>
              <a:gd name="T62" fmla="*/ 239 w 496"/>
              <a:gd name="T63" fmla="*/ 377 h 422"/>
              <a:gd name="T64" fmla="*/ 248 w 496"/>
              <a:gd name="T65" fmla="*/ 377 h 422"/>
              <a:gd name="T66" fmla="*/ 248 w 496"/>
              <a:gd name="T67" fmla="*/ 377 h 422"/>
              <a:gd name="T68" fmla="*/ 257 w 496"/>
              <a:gd name="T69" fmla="*/ 377 h 422"/>
              <a:gd name="T70" fmla="*/ 266 w 496"/>
              <a:gd name="T71" fmla="*/ 376 h 422"/>
              <a:gd name="T72" fmla="*/ 273 w 496"/>
              <a:gd name="T73" fmla="*/ 373 h 422"/>
              <a:gd name="T74" fmla="*/ 279 w 496"/>
              <a:gd name="T75" fmla="*/ 371 h 422"/>
              <a:gd name="T76" fmla="*/ 284 w 496"/>
              <a:gd name="T77" fmla="*/ 368 h 422"/>
              <a:gd name="T78" fmla="*/ 288 w 496"/>
              <a:gd name="T79" fmla="*/ 364 h 422"/>
              <a:gd name="T80" fmla="*/ 291 w 496"/>
              <a:gd name="T81" fmla="*/ 359 h 422"/>
              <a:gd name="T82" fmla="*/ 294 w 496"/>
              <a:gd name="T83" fmla="*/ 353 h 422"/>
              <a:gd name="T84" fmla="*/ 382 w 496"/>
              <a:gd name="T85" fmla="*/ 140 h 422"/>
              <a:gd name="T86" fmla="*/ 403 w 496"/>
              <a:gd name="T87" fmla="*/ 422 h 422"/>
              <a:gd name="T88" fmla="*/ 496 w 496"/>
              <a:gd name="T89" fmla="*/ 422 h 422"/>
              <a:gd name="T90" fmla="*/ 454 w 496"/>
              <a:gd name="T91" fmla="*/ 2 h 422"/>
              <a:gd name="T92" fmla="*/ 454 w 496"/>
              <a:gd name="T93" fmla="*/ 2 h 422"/>
              <a:gd name="T94" fmla="*/ 438 w 496"/>
              <a:gd name="T95" fmla="*/ 1 h 422"/>
              <a:gd name="T96" fmla="*/ 412 w 496"/>
              <a:gd name="T97" fmla="*/ 0 h 422"/>
              <a:gd name="T98" fmla="*/ 412 w 496"/>
              <a:gd name="T99" fmla="*/ 0 h 422"/>
              <a:gd name="T100" fmla="*/ 397 w 496"/>
              <a:gd name="T101" fmla="*/ 1 h 422"/>
              <a:gd name="T102" fmla="*/ 385 w 496"/>
              <a:gd name="T103" fmla="*/ 1 h 422"/>
              <a:gd name="T104" fmla="*/ 374 w 496"/>
              <a:gd name="T105" fmla="*/ 3 h 422"/>
              <a:gd name="T106" fmla="*/ 365 w 496"/>
              <a:gd name="T107" fmla="*/ 7 h 422"/>
              <a:gd name="T108" fmla="*/ 356 w 496"/>
              <a:gd name="T109" fmla="*/ 11 h 422"/>
              <a:gd name="T110" fmla="*/ 348 w 496"/>
              <a:gd name="T111" fmla="*/ 19 h 422"/>
              <a:gd name="T112" fmla="*/ 342 w 496"/>
              <a:gd name="T113" fmla="*/ 28 h 422"/>
              <a:gd name="T114" fmla="*/ 337 w 496"/>
              <a:gd name="T115" fmla="*/ 39 h 422"/>
              <a:gd name="T116" fmla="*/ 255 w 496"/>
              <a:gd name="T117" fmla="*/ 246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96" h="422">
                <a:moveTo>
                  <a:pt x="255" y="246"/>
                </a:moveTo>
                <a:lnTo>
                  <a:pt x="255" y="246"/>
                </a:lnTo>
                <a:lnTo>
                  <a:pt x="251" y="257"/>
                </a:lnTo>
                <a:lnTo>
                  <a:pt x="248" y="270"/>
                </a:lnTo>
                <a:lnTo>
                  <a:pt x="248" y="270"/>
                </a:lnTo>
                <a:lnTo>
                  <a:pt x="244" y="257"/>
                </a:lnTo>
                <a:lnTo>
                  <a:pt x="241" y="246"/>
                </a:lnTo>
                <a:lnTo>
                  <a:pt x="159" y="39"/>
                </a:lnTo>
                <a:lnTo>
                  <a:pt x="159" y="39"/>
                </a:lnTo>
                <a:lnTo>
                  <a:pt x="153" y="28"/>
                </a:lnTo>
                <a:lnTo>
                  <a:pt x="147" y="19"/>
                </a:lnTo>
                <a:lnTo>
                  <a:pt x="140" y="11"/>
                </a:lnTo>
                <a:lnTo>
                  <a:pt x="132" y="7"/>
                </a:lnTo>
                <a:lnTo>
                  <a:pt x="122" y="3"/>
                </a:lnTo>
                <a:lnTo>
                  <a:pt x="110" y="1"/>
                </a:lnTo>
                <a:lnTo>
                  <a:pt x="98" y="1"/>
                </a:lnTo>
                <a:lnTo>
                  <a:pt x="84" y="0"/>
                </a:lnTo>
                <a:lnTo>
                  <a:pt x="84" y="0"/>
                </a:lnTo>
                <a:lnTo>
                  <a:pt x="58" y="1"/>
                </a:lnTo>
                <a:lnTo>
                  <a:pt x="42" y="2"/>
                </a:lnTo>
                <a:lnTo>
                  <a:pt x="0" y="422"/>
                </a:lnTo>
                <a:lnTo>
                  <a:pt x="93" y="422"/>
                </a:lnTo>
                <a:lnTo>
                  <a:pt x="113" y="140"/>
                </a:lnTo>
                <a:lnTo>
                  <a:pt x="201" y="353"/>
                </a:lnTo>
                <a:lnTo>
                  <a:pt x="201" y="353"/>
                </a:lnTo>
                <a:lnTo>
                  <a:pt x="204" y="359"/>
                </a:lnTo>
                <a:lnTo>
                  <a:pt x="208" y="364"/>
                </a:lnTo>
                <a:lnTo>
                  <a:pt x="213" y="368"/>
                </a:lnTo>
                <a:lnTo>
                  <a:pt x="218" y="371"/>
                </a:lnTo>
                <a:lnTo>
                  <a:pt x="224" y="373"/>
                </a:lnTo>
                <a:lnTo>
                  <a:pt x="231" y="376"/>
                </a:lnTo>
                <a:lnTo>
                  <a:pt x="239" y="377"/>
                </a:lnTo>
                <a:lnTo>
                  <a:pt x="248" y="377"/>
                </a:lnTo>
                <a:lnTo>
                  <a:pt x="248" y="377"/>
                </a:lnTo>
                <a:lnTo>
                  <a:pt x="257" y="377"/>
                </a:lnTo>
                <a:lnTo>
                  <a:pt x="266" y="376"/>
                </a:lnTo>
                <a:lnTo>
                  <a:pt x="273" y="373"/>
                </a:lnTo>
                <a:lnTo>
                  <a:pt x="279" y="371"/>
                </a:lnTo>
                <a:lnTo>
                  <a:pt x="284" y="368"/>
                </a:lnTo>
                <a:lnTo>
                  <a:pt x="288" y="364"/>
                </a:lnTo>
                <a:lnTo>
                  <a:pt x="291" y="359"/>
                </a:lnTo>
                <a:lnTo>
                  <a:pt x="294" y="353"/>
                </a:lnTo>
                <a:lnTo>
                  <a:pt x="382" y="140"/>
                </a:lnTo>
                <a:lnTo>
                  <a:pt x="403" y="422"/>
                </a:lnTo>
                <a:lnTo>
                  <a:pt x="496" y="422"/>
                </a:lnTo>
                <a:lnTo>
                  <a:pt x="454" y="2"/>
                </a:lnTo>
                <a:lnTo>
                  <a:pt x="454" y="2"/>
                </a:lnTo>
                <a:lnTo>
                  <a:pt x="438" y="1"/>
                </a:lnTo>
                <a:lnTo>
                  <a:pt x="412" y="0"/>
                </a:lnTo>
                <a:lnTo>
                  <a:pt x="412" y="0"/>
                </a:lnTo>
                <a:lnTo>
                  <a:pt x="397" y="1"/>
                </a:lnTo>
                <a:lnTo>
                  <a:pt x="385" y="1"/>
                </a:lnTo>
                <a:lnTo>
                  <a:pt x="374" y="3"/>
                </a:lnTo>
                <a:lnTo>
                  <a:pt x="365" y="7"/>
                </a:lnTo>
                <a:lnTo>
                  <a:pt x="356" y="11"/>
                </a:lnTo>
                <a:lnTo>
                  <a:pt x="348" y="19"/>
                </a:lnTo>
                <a:lnTo>
                  <a:pt x="342" y="28"/>
                </a:lnTo>
                <a:lnTo>
                  <a:pt x="337" y="39"/>
                </a:lnTo>
                <a:lnTo>
                  <a:pt x="255" y="24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2" name="Freeform 51"/>
          <p:cNvSpPr>
            <a:spLocks/>
          </p:cNvSpPr>
          <p:nvPr/>
        </p:nvSpPr>
        <p:spPr bwMode="auto">
          <a:xfrm>
            <a:off x="7798576" y="6583115"/>
            <a:ext cx="54174" cy="48722"/>
          </a:xfrm>
          <a:custGeom>
            <a:avLst/>
            <a:gdLst>
              <a:gd name="T0" fmla="*/ 171 w 171"/>
              <a:gd name="T1" fmla="*/ 93 h 116"/>
              <a:gd name="T2" fmla="*/ 171 w 171"/>
              <a:gd name="T3" fmla="*/ 93 h 116"/>
              <a:gd name="T4" fmla="*/ 151 w 171"/>
              <a:gd name="T5" fmla="*/ 99 h 116"/>
              <a:gd name="T6" fmla="*/ 125 w 171"/>
              <a:gd name="T7" fmla="*/ 108 h 116"/>
              <a:gd name="T8" fmla="*/ 110 w 171"/>
              <a:gd name="T9" fmla="*/ 111 h 116"/>
              <a:gd name="T10" fmla="*/ 96 w 171"/>
              <a:gd name="T11" fmla="*/ 114 h 116"/>
              <a:gd name="T12" fmla="*/ 82 w 171"/>
              <a:gd name="T13" fmla="*/ 116 h 116"/>
              <a:gd name="T14" fmla="*/ 67 w 171"/>
              <a:gd name="T15" fmla="*/ 116 h 116"/>
              <a:gd name="T16" fmla="*/ 67 w 171"/>
              <a:gd name="T17" fmla="*/ 116 h 116"/>
              <a:gd name="T18" fmla="*/ 54 w 171"/>
              <a:gd name="T19" fmla="*/ 116 h 116"/>
              <a:gd name="T20" fmla="*/ 41 w 171"/>
              <a:gd name="T21" fmla="*/ 114 h 116"/>
              <a:gd name="T22" fmla="*/ 30 w 171"/>
              <a:gd name="T23" fmla="*/ 110 h 116"/>
              <a:gd name="T24" fmla="*/ 24 w 171"/>
              <a:gd name="T25" fmla="*/ 108 h 116"/>
              <a:gd name="T26" fmla="*/ 19 w 171"/>
              <a:gd name="T27" fmla="*/ 105 h 116"/>
              <a:gd name="T28" fmla="*/ 15 w 171"/>
              <a:gd name="T29" fmla="*/ 101 h 116"/>
              <a:gd name="T30" fmla="*/ 11 w 171"/>
              <a:gd name="T31" fmla="*/ 97 h 116"/>
              <a:gd name="T32" fmla="*/ 8 w 171"/>
              <a:gd name="T33" fmla="*/ 92 h 116"/>
              <a:gd name="T34" fmla="*/ 5 w 171"/>
              <a:gd name="T35" fmla="*/ 87 h 116"/>
              <a:gd name="T36" fmla="*/ 3 w 171"/>
              <a:gd name="T37" fmla="*/ 82 h 116"/>
              <a:gd name="T38" fmla="*/ 2 w 171"/>
              <a:gd name="T39" fmla="*/ 76 h 116"/>
              <a:gd name="T40" fmla="*/ 1 w 171"/>
              <a:gd name="T41" fmla="*/ 69 h 116"/>
              <a:gd name="T42" fmla="*/ 0 w 171"/>
              <a:gd name="T43" fmla="*/ 61 h 116"/>
              <a:gd name="T44" fmla="*/ 0 w 171"/>
              <a:gd name="T45" fmla="*/ 61 h 116"/>
              <a:gd name="T46" fmla="*/ 1 w 171"/>
              <a:gd name="T47" fmla="*/ 49 h 116"/>
              <a:gd name="T48" fmla="*/ 4 w 171"/>
              <a:gd name="T49" fmla="*/ 38 h 116"/>
              <a:gd name="T50" fmla="*/ 6 w 171"/>
              <a:gd name="T51" fmla="*/ 33 h 116"/>
              <a:gd name="T52" fmla="*/ 9 w 171"/>
              <a:gd name="T53" fmla="*/ 27 h 116"/>
              <a:gd name="T54" fmla="*/ 13 w 171"/>
              <a:gd name="T55" fmla="*/ 23 h 116"/>
              <a:gd name="T56" fmla="*/ 16 w 171"/>
              <a:gd name="T57" fmla="*/ 19 h 116"/>
              <a:gd name="T58" fmla="*/ 21 w 171"/>
              <a:gd name="T59" fmla="*/ 16 h 116"/>
              <a:gd name="T60" fmla="*/ 26 w 171"/>
              <a:gd name="T61" fmla="*/ 13 h 116"/>
              <a:gd name="T62" fmla="*/ 33 w 171"/>
              <a:gd name="T63" fmla="*/ 10 h 116"/>
              <a:gd name="T64" fmla="*/ 39 w 171"/>
              <a:gd name="T65" fmla="*/ 8 h 116"/>
              <a:gd name="T66" fmla="*/ 55 w 171"/>
              <a:gd name="T67" fmla="*/ 5 h 116"/>
              <a:gd name="T68" fmla="*/ 72 w 171"/>
              <a:gd name="T69" fmla="*/ 3 h 116"/>
              <a:gd name="T70" fmla="*/ 171 w 171"/>
              <a:gd name="T71" fmla="*/ 0 h 116"/>
              <a:gd name="T72" fmla="*/ 171 w 171"/>
              <a:gd name="T73" fmla="*/ 93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71" h="116">
                <a:moveTo>
                  <a:pt x="171" y="93"/>
                </a:moveTo>
                <a:lnTo>
                  <a:pt x="171" y="93"/>
                </a:lnTo>
                <a:lnTo>
                  <a:pt x="151" y="99"/>
                </a:lnTo>
                <a:lnTo>
                  <a:pt x="125" y="108"/>
                </a:lnTo>
                <a:lnTo>
                  <a:pt x="110" y="111"/>
                </a:lnTo>
                <a:lnTo>
                  <a:pt x="96" y="114"/>
                </a:lnTo>
                <a:lnTo>
                  <a:pt x="82" y="116"/>
                </a:lnTo>
                <a:lnTo>
                  <a:pt x="67" y="116"/>
                </a:lnTo>
                <a:lnTo>
                  <a:pt x="67" y="116"/>
                </a:lnTo>
                <a:lnTo>
                  <a:pt x="54" y="116"/>
                </a:lnTo>
                <a:lnTo>
                  <a:pt x="41" y="114"/>
                </a:lnTo>
                <a:lnTo>
                  <a:pt x="30" y="110"/>
                </a:lnTo>
                <a:lnTo>
                  <a:pt x="24" y="108"/>
                </a:lnTo>
                <a:lnTo>
                  <a:pt x="19" y="105"/>
                </a:lnTo>
                <a:lnTo>
                  <a:pt x="15" y="101"/>
                </a:lnTo>
                <a:lnTo>
                  <a:pt x="11" y="97"/>
                </a:lnTo>
                <a:lnTo>
                  <a:pt x="8" y="92"/>
                </a:lnTo>
                <a:lnTo>
                  <a:pt x="5" y="87"/>
                </a:lnTo>
                <a:lnTo>
                  <a:pt x="3" y="82"/>
                </a:lnTo>
                <a:lnTo>
                  <a:pt x="2" y="76"/>
                </a:lnTo>
                <a:lnTo>
                  <a:pt x="1" y="69"/>
                </a:lnTo>
                <a:lnTo>
                  <a:pt x="0" y="61"/>
                </a:lnTo>
                <a:lnTo>
                  <a:pt x="0" y="61"/>
                </a:lnTo>
                <a:lnTo>
                  <a:pt x="1" y="49"/>
                </a:lnTo>
                <a:lnTo>
                  <a:pt x="4" y="38"/>
                </a:lnTo>
                <a:lnTo>
                  <a:pt x="6" y="33"/>
                </a:lnTo>
                <a:lnTo>
                  <a:pt x="9" y="27"/>
                </a:lnTo>
                <a:lnTo>
                  <a:pt x="13" y="23"/>
                </a:lnTo>
                <a:lnTo>
                  <a:pt x="16" y="19"/>
                </a:lnTo>
                <a:lnTo>
                  <a:pt x="21" y="16"/>
                </a:lnTo>
                <a:lnTo>
                  <a:pt x="26" y="13"/>
                </a:lnTo>
                <a:lnTo>
                  <a:pt x="33" y="10"/>
                </a:lnTo>
                <a:lnTo>
                  <a:pt x="39" y="8"/>
                </a:lnTo>
                <a:lnTo>
                  <a:pt x="55" y="5"/>
                </a:lnTo>
                <a:lnTo>
                  <a:pt x="72" y="3"/>
                </a:lnTo>
                <a:lnTo>
                  <a:pt x="171" y="0"/>
                </a:lnTo>
                <a:lnTo>
                  <a:pt x="171" y="9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3" name="Freeform 52"/>
          <p:cNvSpPr>
            <a:spLocks/>
          </p:cNvSpPr>
          <p:nvPr/>
        </p:nvSpPr>
        <p:spPr bwMode="auto">
          <a:xfrm>
            <a:off x="7770859" y="6482312"/>
            <a:ext cx="110867" cy="179767"/>
          </a:xfrm>
          <a:custGeom>
            <a:avLst/>
            <a:gdLst>
              <a:gd name="T0" fmla="*/ 205 w 352"/>
              <a:gd name="T1" fmla="*/ 0 h 428"/>
              <a:gd name="T2" fmla="*/ 147 w 352"/>
              <a:gd name="T3" fmla="*/ 4 h 428"/>
              <a:gd name="T4" fmla="*/ 97 w 352"/>
              <a:gd name="T5" fmla="*/ 12 h 428"/>
              <a:gd name="T6" fmla="*/ 58 w 352"/>
              <a:gd name="T7" fmla="*/ 23 h 428"/>
              <a:gd name="T8" fmla="*/ 33 w 352"/>
              <a:gd name="T9" fmla="*/ 33 h 428"/>
              <a:gd name="T10" fmla="*/ 52 w 352"/>
              <a:gd name="T11" fmla="*/ 102 h 428"/>
              <a:gd name="T12" fmla="*/ 92 w 352"/>
              <a:gd name="T13" fmla="*/ 91 h 428"/>
              <a:gd name="T14" fmla="*/ 133 w 352"/>
              <a:gd name="T15" fmla="*/ 82 h 428"/>
              <a:gd name="T16" fmla="*/ 179 w 352"/>
              <a:gd name="T17" fmla="*/ 79 h 428"/>
              <a:gd name="T18" fmla="*/ 197 w 352"/>
              <a:gd name="T19" fmla="*/ 80 h 428"/>
              <a:gd name="T20" fmla="*/ 221 w 352"/>
              <a:gd name="T21" fmla="*/ 84 h 428"/>
              <a:gd name="T22" fmla="*/ 234 w 352"/>
              <a:gd name="T23" fmla="*/ 90 h 428"/>
              <a:gd name="T24" fmla="*/ 244 w 352"/>
              <a:gd name="T25" fmla="*/ 98 h 428"/>
              <a:gd name="T26" fmla="*/ 251 w 352"/>
              <a:gd name="T27" fmla="*/ 108 h 428"/>
              <a:gd name="T28" fmla="*/ 256 w 352"/>
              <a:gd name="T29" fmla="*/ 120 h 428"/>
              <a:gd name="T30" fmla="*/ 260 w 352"/>
              <a:gd name="T31" fmla="*/ 137 h 428"/>
              <a:gd name="T32" fmla="*/ 260 w 352"/>
              <a:gd name="T33" fmla="*/ 176 h 428"/>
              <a:gd name="T34" fmla="*/ 179 w 352"/>
              <a:gd name="T35" fmla="*/ 176 h 428"/>
              <a:gd name="T36" fmla="*/ 132 w 352"/>
              <a:gd name="T37" fmla="*/ 179 h 428"/>
              <a:gd name="T38" fmla="*/ 93 w 352"/>
              <a:gd name="T39" fmla="*/ 187 h 428"/>
              <a:gd name="T40" fmla="*/ 61 w 352"/>
              <a:gd name="T41" fmla="*/ 200 h 428"/>
              <a:gd name="T42" fmla="*/ 38 w 352"/>
              <a:gd name="T43" fmla="*/ 216 h 428"/>
              <a:gd name="T44" fmla="*/ 20 w 352"/>
              <a:gd name="T45" fmla="*/ 236 h 428"/>
              <a:gd name="T46" fmla="*/ 9 w 352"/>
              <a:gd name="T47" fmla="*/ 257 h 428"/>
              <a:gd name="T48" fmla="*/ 2 w 352"/>
              <a:gd name="T49" fmla="*/ 282 h 428"/>
              <a:gd name="T50" fmla="*/ 0 w 352"/>
              <a:gd name="T51" fmla="*/ 307 h 428"/>
              <a:gd name="T52" fmla="*/ 1 w 352"/>
              <a:gd name="T53" fmla="*/ 323 h 428"/>
              <a:gd name="T54" fmla="*/ 7 w 352"/>
              <a:gd name="T55" fmla="*/ 352 h 428"/>
              <a:gd name="T56" fmla="*/ 19 w 352"/>
              <a:gd name="T57" fmla="*/ 376 h 428"/>
              <a:gd name="T58" fmla="*/ 35 w 352"/>
              <a:gd name="T59" fmla="*/ 394 h 428"/>
              <a:gd name="T60" fmla="*/ 54 w 352"/>
              <a:gd name="T61" fmla="*/ 408 h 428"/>
              <a:gd name="T62" fmla="*/ 77 w 352"/>
              <a:gd name="T63" fmla="*/ 418 h 428"/>
              <a:gd name="T64" fmla="*/ 101 w 352"/>
              <a:gd name="T65" fmla="*/ 424 h 428"/>
              <a:gd name="T66" fmla="*/ 126 w 352"/>
              <a:gd name="T67" fmla="*/ 427 h 428"/>
              <a:gd name="T68" fmla="*/ 138 w 352"/>
              <a:gd name="T69" fmla="*/ 428 h 428"/>
              <a:gd name="T70" fmla="*/ 164 w 352"/>
              <a:gd name="T71" fmla="*/ 426 h 428"/>
              <a:gd name="T72" fmla="*/ 209 w 352"/>
              <a:gd name="T73" fmla="*/ 418 h 428"/>
              <a:gd name="T74" fmla="*/ 241 w 352"/>
              <a:gd name="T75" fmla="*/ 406 h 428"/>
              <a:gd name="T76" fmla="*/ 260 w 352"/>
              <a:gd name="T77" fmla="*/ 397 h 428"/>
              <a:gd name="T78" fmla="*/ 264 w 352"/>
              <a:gd name="T79" fmla="*/ 396 h 428"/>
              <a:gd name="T80" fmla="*/ 270 w 352"/>
              <a:gd name="T81" fmla="*/ 398 h 428"/>
              <a:gd name="T82" fmla="*/ 284 w 352"/>
              <a:gd name="T83" fmla="*/ 404 h 428"/>
              <a:gd name="T84" fmla="*/ 311 w 352"/>
              <a:gd name="T85" fmla="*/ 411 h 428"/>
              <a:gd name="T86" fmla="*/ 352 w 352"/>
              <a:gd name="T87" fmla="*/ 413 h 428"/>
              <a:gd name="T88" fmla="*/ 352 w 352"/>
              <a:gd name="T89" fmla="*/ 122 h 428"/>
              <a:gd name="T90" fmla="*/ 350 w 352"/>
              <a:gd name="T91" fmla="*/ 92 h 428"/>
              <a:gd name="T92" fmla="*/ 343 w 352"/>
              <a:gd name="T93" fmla="*/ 66 h 428"/>
              <a:gd name="T94" fmla="*/ 331 w 352"/>
              <a:gd name="T95" fmla="*/ 45 h 428"/>
              <a:gd name="T96" fmla="*/ 314 w 352"/>
              <a:gd name="T97" fmla="*/ 29 h 428"/>
              <a:gd name="T98" fmla="*/ 293 w 352"/>
              <a:gd name="T99" fmla="*/ 15 h 428"/>
              <a:gd name="T100" fmla="*/ 268 w 352"/>
              <a:gd name="T101" fmla="*/ 7 h 428"/>
              <a:gd name="T102" fmla="*/ 238 w 352"/>
              <a:gd name="T103" fmla="*/ 2 h 428"/>
              <a:gd name="T104" fmla="*/ 205 w 352"/>
              <a:gd name="T105" fmla="*/ 0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52" h="428">
                <a:moveTo>
                  <a:pt x="205" y="0"/>
                </a:moveTo>
                <a:lnTo>
                  <a:pt x="205" y="0"/>
                </a:lnTo>
                <a:lnTo>
                  <a:pt x="176" y="1"/>
                </a:lnTo>
                <a:lnTo>
                  <a:pt x="147" y="4"/>
                </a:lnTo>
                <a:lnTo>
                  <a:pt x="121" y="7"/>
                </a:lnTo>
                <a:lnTo>
                  <a:pt x="97" y="12"/>
                </a:lnTo>
                <a:lnTo>
                  <a:pt x="77" y="17"/>
                </a:lnTo>
                <a:lnTo>
                  <a:pt x="58" y="23"/>
                </a:lnTo>
                <a:lnTo>
                  <a:pt x="44" y="28"/>
                </a:lnTo>
                <a:lnTo>
                  <a:pt x="33" y="33"/>
                </a:lnTo>
                <a:lnTo>
                  <a:pt x="52" y="102"/>
                </a:lnTo>
                <a:lnTo>
                  <a:pt x="52" y="102"/>
                </a:lnTo>
                <a:lnTo>
                  <a:pt x="63" y="98"/>
                </a:lnTo>
                <a:lnTo>
                  <a:pt x="92" y="91"/>
                </a:lnTo>
                <a:lnTo>
                  <a:pt x="111" y="86"/>
                </a:lnTo>
                <a:lnTo>
                  <a:pt x="133" y="82"/>
                </a:lnTo>
                <a:lnTo>
                  <a:pt x="155" y="80"/>
                </a:lnTo>
                <a:lnTo>
                  <a:pt x="179" y="79"/>
                </a:lnTo>
                <a:lnTo>
                  <a:pt x="179" y="79"/>
                </a:lnTo>
                <a:lnTo>
                  <a:pt x="197" y="80"/>
                </a:lnTo>
                <a:lnTo>
                  <a:pt x="214" y="82"/>
                </a:lnTo>
                <a:lnTo>
                  <a:pt x="221" y="84"/>
                </a:lnTo>
                <a:lnTo>
                  <a:pt x="228" y="86"/>
                </a:lnTo>
                <a:lnTo>
                  <a:pt x="234" y="90"/>
                </a:lnTo>
                <a:lnTo>
                  <a:pt x="239" y="94"/>
                </a:lnTo>
                <a:lnTo>
                  <a:pt x="244" y="98"/>
                </a:lnTo>
                <a:lnTo>
                  <a:pt x="248" y="102"/>
                </a:lnTo>
                <a:lnTo>
                  <a:pt x="251" y="108"/>
                </a:lnTo>
                <a:lnTo>
                  <a:pt x="254" y="114"/>
                </a:lnTo>
                <a:lnTo>
                  <a:pt x="256" y="120"/>
                </a:lnTo>
                <a:lnTo>
                  <a:pt x="258" y="129"/>
                </a:lnTo>
                <a:lnTo>
                  <a:pt x="260" y="137"/>
                </a:lnTo>
                <a:lnTo>
                  <a:pt x="260" y="146"/>
                </a:lnTo>
                <a:lnTo>
                  <a:pt x="260" y="176"/>
                </a:lnTo>
                <a:lnTo>
                  <a:pt x="179" y="176"/>
                </a:lnTo>
                <a:lnTo>
                  <a:pt x="179" y="176"/>
                </a:lnTo>
                <a:lnTo>
                  <a:pt x="154" y="177"/>
                </a:lnTo>
                <a:lnTo>
                  <a:pt x="132" y="179"/>
                </a:lnTo>
                <a:lnTo>
                  <a:pt x="111" y="182"/>
                </a:lnTo>
                <a:lnTo>
                  <a:pt x="93" y="187"/>
                </a:lnTo>
                <a:lnTo>
                  <a:pt x="77" y="192"/>
                </a:lnTo>
                <a:lnTo>
                  <a:pt x="61" y="200"/>
                </a:lnTo>
                <a:lnTo>
                  <a:pt x="49" y="207"/>
                </a:lnTo>
                <a:lnTo>
                  <a:pt x="38" y="216"/>
                </a:lnTo>
                <a:lnTo>
                  <a:pt x="29" y="225"/>
                </a:lnTo>
                <a:lnTo>
                  <a:pt x="20" y="236"/>
                </a:lnTo>
                <a:lnTo>
                  <a:pt x="14" y="246"/>
                </a:lnTo>
                <a:lnTo>
                  <a:pt x="9" y="257"/>
                </a:lnTo>
                <a:lnTo>
                  <a:pt x="5" y="270"/>
                </a:lnTo>
                <a:lnTo>
                  <a:pt x="2" y="282"/>
                </a:lnTo>
                <a:lnTo>
                  <a:pt x="1" y="294"/>
                </a:lnTo>
                <a:lnTo>
                  <a:pt x="0" y="307"/>
                </a:lnTo>
                <a:lnTo>
                  <a:pt x="0" y="307"/>
                </a:lnTo>
                <a:lnTo>
                  <a:pt x="1" y="323"/>
                </a:lnTo>
                <a:lnTo>
                  <a:pt x="3" y="338"/>
                </a:lnTo>
                <a:lnTo>
                  <a:pt x="7" y="352"/>
                </a:lnTo>
                <a:lnTo>
                  <a:pt x="12" y="364"/>
                </a:lnTo>
                <a:lnTo>
                  <a:pt x="19" y="376"/>
                </a:lnTo>
                <a:lnTo>
                  <a:pt x="27" y="386"/>
                </a:lnTo>
                <a:lnTo>
                  <a:pt x="35" y="394"/>
                </a:lnTo>
                <a:lnTo>
                  <a:pt x="45" y="401"/>
                </a:lnTo>
                <a:lnTo>
                  <a:pt x="54" y="408"/>
                </a:lnTo>
                <a:lnTo>
                  <a:pt x="65" y="414"/>
                </a:lnTo>
                <a:lnTo>
                  <a:pt x="77" y="418"/>
                </a:lnTo>
                <a:lnTo>
                  <a:pt x="89" y="422"/>
                </a:lnTo>
                <a:lnTo>
                  <a:pt x="101" y="424"/>
                </a:lnTo>
                <a:lnTo>
                  <a:pt x="113" y="426"/>
                </a:lnTo>
                <a:lnTo>
                  <a:pt x="126" y="427"/>
                </a:lnTo>
                <a:lnTo>
                  <a:pt x="138" y="428"/>
                </a:lnTo>
                <a:lnTo>
                  <a:pt x="138" y="428"/>
                </a:lnTo>
                <a:lnTo>
                  <a:pt x="151" y="427"/>
                </a:lnTo>
                <a:lnTo>
                  <a:pt x="164" y="426"/>
                </a:lnTo>
                <a:lnTo>
                  <a:pt x="189" y="423"/>
                </a:lnTo>
                <a:lnTo>
                  <a:pt x="209" y="418"/>
                </a:lnTo>
                <a:lnTo>
                  <a:pt x="227" y="412"/>
                </a:lnTo>
                <a:lnTo>
                  <a:pt x="241" y="406"/>
                </a:lnTo>
                <a:lnTo>
                  <a:pt x="252" y="401"/>
                </a:lnTo>
                <a:lnTo>
                  <a:pt x="260" y="397"/>
                </a:lnTo>
                <a:lnTo>
                  <a:pt x="264" y="396"/>
                </a:lnTo>
                <a:lnTo>
                  <a:pt x="264" y="396"/>
                </a:lnTo>
                <a:lnTo>
                  <a:pt x="266" y="397"/>
                </a:lnTo>
                <a:lnTo>
                  <a:pt x="270" y="398"/>
                </a:lnTo>
                <a:lnTo>
                  <a:pt x="276" y="401"/>
                </a:lnTo>
                <a:lnTo>
                  <a:pt x="284" y="404"/>
                </a:lnTo>
                <a:lnTo>
                  <a:pt x="295" y="407"/>
                </a:lnTo>
                <a:lnTo>
                  <a:pt x="311" y="411"/>
                </a:lnTo>
                <a:lnTo>
                  <a:pt x="329" y="412"/>
                </a:lnTo>
                <a:lnTo>
                  <a:pt x="352" y="413"/>
                </a:lnTo>
                <a:lnTo>
                  <a:pt x="352" y="122"/>
                </a:lnTo>
                <a:lnTo>
                  <a:pt x="352" y="122"/>
                </a:lnTo>
                <a:lnTo>
                  <a:pt x="352" y="106"/>
                </a:lnTo>
                <a:lnTo>
                  <a:pt x="350" y="92"/>
                </a:lnTo>
                <a:lnTo>
                  <a:pt x="347" y="78"/>
                </a:lnTo>
                <a:lnTo>
                  <a:pt x="343" y="66"/>
                </a:lnTo>
                <a:lnTo>
                  <a:pt x="337" y="56"/>
                </a:lnTo>
                <a:lnTo>
                  <a:pt x="331" y="45"/>
                </a:lnTo>
                <a:lnTo>
                  <a:pt x="323" y="36"/>
                </a:lnTo>
                <a:lnTo>
                  <a:pt x="314" y="29"/>
                </a:lnTo>
                <a:lnTo>
                  <a:pt x="304" y="22"/>
                </a:lnTo>
                <a:lnTo>
                  <a:pt x="293" y="15"/>
                </a:lnTo>
                <a:lnTo>
                  <a:pt x="281" y="11"/>
                </a:lnTo>
                <a:lnTo>
                  <a:pt x="268" y="7"/>
                </a:lnTo>
                <a:lnTo>
                  <a:pt x="253" y="4"/>
                </a:lnTo>
                <a:lnTo>
                  <a:pt x="238" y="2"/>
                </a:lnTo>
                <a:lnTo>
                  <a:pt x="223" y="1"/>
                </a:lnTo>
                <a:lnTo>
                  <a:pt x="205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4" name="Freeform 10"/>
          <p:cNvSpPr>
            <a:spLocks/>
          </p:cNvSpPr>
          <p:nvPr/>
        </p:nvSpPr>
        <p:spPr bwMode="auto">
          <a:xfrm>
            <a:off x="8132437" y="6583115"/>
            <a:ext cx="54174" cy="48722"/>
          </a:xfrm>
          <a:custGeom>
            <a:avLst/>
            <a:gdLst>
              <a:gd name="T0" fmla="*/ 171 w 171"/>
              <a:gd name="T1" fmla="*/ 93 h 116"/>
              <a:gd name="T2" fmla="*/ 171 w 171"/>
              <a:gd name="T3" fmla="*/ 93 h 116"/>
              <a:gd name="T4" fmla="*/ 152 w 171"/>
              <a:gd name="T5" fmla="*/ 99 h 116"/>
              <a:gd name="T6" fmla="*/ 125 w 171"/>
              <a:gd name="T7" fmla="*/ 108 h 116"/>
              <a:gd name="T8" fmla="*/ 111 w 171"/>
              <a:gd name="T9" fmla="*/ 111 h 116"/>
              <a:gd name="T10" fmla="*/ 95 w 171"/>
              <a:gd name="T11" fmla="*/ 114 h 116"/>
              <a:gd name="T12" fmla="*/ 81 w 171"/>
              <a:gd name="T13" fmla="*/ 116 h 116"/>
              <a:gd name="T14" fmla="*/ 68 w 171"/>
              <a:gd name="T15" fmla="*/ 116 h 116"/>
              <a:gd name="T16" fmla="*/ 68 w 171"/>
              <a:gd name="T17" fmla="*/ 116 h 116"/>
              <a:gd name="T18" fmla="*/ 54 w 171"/>
              <a:gd name="T19" fmla="*/ 116 h 116"/>
              <a:gd name="T20" fmla="*/ 41 w 171"/>
              <a:gd name="T21" fmla="*/ 114 h 116"/>
              <a:gd name="T22" fmla="*/ 29 w 171"/>
              <a:gd name="T23" fmla="*/ 110 h 116"/>
              <a:gd name="T24" fmla="*/ 24 w 171"/>
              <a:gd name="T25" fmla="*/ 108 h 116"/>
              <a:gd name="T26" fmla="*/ 20 w 171"/>
              <a:gd name="T27" fmla="*/ 105 h 116"/>
              <a:gd name="T28" fmla="*/ 16 w 171"/>
              <a:gd name="T29" fmla="*/ 101 h 116"/>
              <a:gd name="T30" fmla="*/ 12 w 171"/>
              <a:gd name="T31" fmla="*/ 97 h 116"/>
              <a:gd name="T32" fmla="*/ 9 w 171"/>
              <a:gd name="T33" fmla="*/ 92 h 116"/>
              <a:gd name="T34" fmla="*/ 6 w 171"/>
              <a:gd name="T35" fmla="*/ 87 h 116"/>
              <a:gd name="T36" fmla="*/ 3 w 171"/>
              <a:gd name="T37" fmla="*/ 82 h 116"/>
              <a:gd name="T38" fmla="*/ 1 w 171"/>
              <a:gd name="T39" fmla="*/ 76 h 116"/>
              <a:gd name="T40" fmla="*/ 0 w 171"/>
              <a:gd name="T41" fmla="*/ 69 h 116"/>
              <a:gd name="T42" fmla="*/ 0 w 171"/>
              <a:gd name="T43" fmla="*/ 61 h 116"/>
              <a:gd name="T44" fmla="*/ 0 w 171"/>
              <a:gd name="T45" fmla="*/ 61 h 116"/>
              <a:gd name="T46" fmla="*/ 1 w 171"/>
              <a:gd name="T47" fmla="*/ 49 h 116"/>
              <a:gd name="T48" fmla="*/ 4 w 171"/>
              <a:gd name="T49" fmla="*/ 38 h 116"/>
              <a:gd name="T50" fmla="*/ 7 w 171"/>
              <a:gd name="T51" fmla="*/ 33 h 116"/>
              <a:gd name="T52" fmla="*/ 10 w 171"/>
              <a:gd name="T53" fmla="*/ 27 h 116"/>
              <a:gd name="T54" fmla="*/ 13 w 171"/>
              <a:gd name="T55" fmla="*/ 23 h 116"/>
              <a:gd name="T56" fmla="*/ 17 w 171"/>
              <a:gd name="T57" fmla="*/ 19 h 116"/>
              <a:gd name="T58" fmla="*/ 22 w 171"/>
              <a:gd name="T59" fmla="*/ 16 h 116"/>
              <a:gd name="T60" fmla="*/ 27 w 171"/>
              <a:gd name="T61" fmla="*/ 13 h 116"/>
              <a:gd name="T62" fmla="*/ 33 w 171"/>
              <a:gd name="T63" fmla="*/ 10 h 116"/>
              <a:gd name="T64" fmla="*/ 39 w 171"/>
              <a:gd name="T65" fmla="*/ 8 h 116"/>
              <a:gd name="T66" fmla="*/ 55 w 171"/>
              <a:gd name="T67" fmla="*/ 5 h 116"/>
              <a:gd name="T68" fmla="*/ 73 w 171"/>
              <a:gd name="T69" fmla="*/ 3 h 116"/>
              <a:gd name="T70" fmla="*/ 171 w 171"/>
              <a:gd name="T71" fmla="*/ 0 h 116"/>
              <a:gd name="T72" fmla="*/ 171 w 171"/>
              <a:gd name="T73" fmla="*/ 93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71" h="116">
                <a:moveTo>
                  <a:pt x="171" y="93"/>
                </a:moveTo>
                <a:lnTo>
                  <a:pt x="171" y="93"/>
                </a:lnTo>
                <a:lnTo>
                  <a:pt x="152" y="99"/>
                </a:lnTo>
                <a:lnTo>
                  <a:pt x="125" y="108"/>
                </a:lnTo>
                <a:lnTo>
                  <a:pt x="111" y="111"/>
                </a:lnTo>
                <a:lnTo>
                  <a:pt x="95" y="114"/>
                </a:lnTo>
                <a:lnTo>
                  <a:pt x="81" y="116"/>
                </a:lnTo>
                <a:lnTo>
                  <a:pt x="68" y="116"/>
                </a:lnTo>
                <a:lnTo>
                  <a:pt x="68" y="116"/>
                </a:lnTo>
                <a:lnTo>
                  <a:pt x="54" y="116"/>
                </a:lnTo>
                <a:lnTo>
                  <a:pt x="41" y="114"/>
                </a:lnTo>
                <a:lnTo>
                  <a:pt x="29" y="110"/>
                </a:lnTo>
                <a:lnTo>
                  <a:pt x="24" y="108"/>
                </a:lnTo>
                <a:lnTo>
                  <a:pt x="20" y="105"/>
                </a:lnTo>
                <a:lnTo>
                  <a:pt x="16" y="101"/>
                </a:lnTo>
                <a:lnTo>
                  <a:pt x="12" y="97"/>
                </a:lnTo>
                <a:lnTo>
                  <a:pt x="9" y="92"/>
                </a:lnTo>
                <a:lnTo>
                  <a:pt x="6" y="87"/>
                </a:lnTo>
                <a:lnTo>
                  <a:pt x="3" y="82"/>
                </a:lnTo>
                <a:lnTo>
                  <a:pt x="1" y="76"/>
                </a:lnTo>
                <a:lnTo>
                  <a:pt x="0" y="69"/>
                </a:lnTo>
                <a:lnTo>
                  <a:pt x="0" y="61"/>
                </a:lnTo>
                <a:lnTo>
                  <a:pt x="0" y="61"/>
                </a:lnTo>
                <a:lnTo>
                  <a:pt x="1" y="49"/>
                </a:lnTo>
                <a:lnTo>
                  <a:pt x="4" y="38"/>
                </a:lnTo>
                <a:lnTo>
                  <a:pt x="7" y="33"/>
                </a:lnTo>
                <a:lnTo>
                  <a:pt x="10" y="27"/>
                </a:lnTo>
                <a:lnTo>
                  <a:pt x="13" y="23"/>
                </a:lnTo>
                <a:lnTo>
                  <a:pt x="17" y="19"/>
                </a:lnTo>
                <a:lnTo>
                  <a:pt x="22" y="16"/>
                </a:lnTo>
                <a:lnTo>
                  <a:pt x="27" y="13"/>
                </a:lnTo>
                <a:lnTo>
                  <a:pt x="33" y="10"/>
                </a:lnTo>
                <a:lnTo>
                  <a:pt x="39" y="8"/>
                </a:lnTo>
                <a:lnTo>
                  <a:pt x="55" y="5"/>
                </a:lnTo>
                <a:lnTo>
                  <a:pt x="73" y="3"/>
                </a:lnTo>
                <a:lnTo>
                  <a:pt x="171" y="0"/>
                </a:lnTo>
                <a:lnTo>
                  <a:pt x="171" y="9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5" name="Freeform 11"/>
          <p:cNvSpPr>
            <a:spLocks/>
          </p:cNvSpPr>
          <p:nvPr/>
        </p:nvSpPr>
        <p:spPr bwMode="auto">
          <a:xfrm>
            <a:off x="8104720" y="6482312"/>
            <a:ext cx="110867" cy="179767"/>
          </a:xfrm>
          <a:custGeom>
            <a:avLst/>
            <a:gdLst>
              <a:gd name="T0" fmla="*/ 206 w 353"/>
              <a:gd name="T1" fmla="*/ 0 h 428"/>
              <a:gd name="T2" fmla="*/ 148 w 353"/>
              <a:gd name="T3" fmla="*/ 4 h 428"/>
              <a:gd name="T4" fmla="*/ 98 w 353"/>
              <a:gd name="T5" fmla="*/ 12 h 428"/>
              <a:gd name="T6" fmla="*/ 59 w 353"/>
              <a:gd name="T7" fmla="*/ 23 h 428"/>
              <a:gd name="T8" fmla="*/ 33 w 353"/>
              <a:gd name="T9" fmla="*/ 33 h 428"/>
              <a:gd name="T10" fmla="*/ 53 w 353"/>
              <a:gd name="T11" fmla="*/ 102 h 428"/>
              <a:gd name="T12" fmla="*/ 92 w 353"/>
              <a:gd name="T13" fmla="*/ 91 h 428"/>
              <a:gd name="T14" fmla="*/ 132 w 353"/>
              <a:gd name="T15" fmla="*/ 82 h 428"/>
              <a:gd name="T16" fmla="*/ 178 w 353"/>
              <a:gd name="T17" fmla="*/ 79 h 428"/>
              <a:gd name="T18" fmla="*/ 198 w 353"/>
              <a:gd name="T19" fmla="*/ 80 h 428"/>
              <a:gd name="T20" fmla="*/ 221 w 353"/>
              <a:gd name="T21" fmla="*/ 84 h 428"/>
              <a:gd name="T22" fmla="*/ 233 w 353"/>
              <a:gd name="T23" fmla="*/ 90 h 428"/>
              <a:gd name="T24" fmla="*/ 244 w 353"/>
              <a:gd name="T25" fmla="*/ 98 h 428"/>
              <a:gd name="T26" fmla="*/ 252 w 353"/>
              <a:gd name="T27" fmla="*/ 108 h 428"/>
              <a:gd name="T28" fmla="*/ 257 w 353"/>
              <a:gd name="T29" fmla="*/ 120 h 428"/>
              <a:gd name="T30" fmla="*/ 259 w 353"/>
              <a:gd name="T31" fmla="*/ 137 h 428"/>
              <a:gd name="T32" fmla="*/ 260 w 353"/>
              <a:gd name="T33" fmla="*/ 176 h 428"/>
              <a:gd name="T34" fmla="*/ 178 w 353"/>
              <a:gd name="T35" fmla="*/ 176 h 428"/>
              <a:gd name="T36" fmla="*/ 131 w 353"/>
              <a:gd name="T37" fmla="*/ 179 h 428"/>
              <a:gd name="T38" fmla="*/ 92 w 353"/>
              <a:gd name="T39" fmla="*/ 187 h 428"/>
              <a:gd name="T40" fmla="*/ 62 w 353"/>
              <a:gd name="T41" fmla="*/ 200 h 428"/>
              <a:gd name="T42" fmla="*/ 38 w 353"/>
              <a:gd name="T43" fmla="*/ 216 h 428"/>
              <a:gd name="T44" fmla="*/ 21 w 353"/>
              <a:gd name="T45" fmla="*/ 236 h 428"/>
              <a:gd name="T46" fmla="*/ 9 w 353"/>
              <a:gd name="T47" fmla="*/ 257 h 428"/>
              <a:gd name="T48" fmla="*/ 3 w 353"/>
              <a:gd name="T49" fmla="*/ 282 h 428"/>
              <a:gd name="T50" fmla="*/ 0 w 353"/>
              <a:gd name="T51" fmla="*/ 307 h 428"/>
              <a:gd name="T52" fmla="*/ 2 w 353"/>
              <a:gd name="T53" fmla="*/ 323 h 428"/>
              <a:gd name="T54" fmla="*/ 8 w 353"/>
              <a:gd name="T55" fmla="*/ 352 h 428"/>
              <a:gd name="T56" fmla="*/ 19 w 353"/>
              <a:gd name="T57" fmla="*/ 376 h 428"/>
              <a:gd name="T58" fmla="*/ 35 w 353"/>
              <a:gd name="T59" fmla="*/ 394 h 428"/>
              <a:gd name="T60" fmla="*/ 55 w 353"/>
              <a:gd name="T61" fmla="*/ 408 h 428"/>
              <a:gd name="T62" fmla="*/ 77 w 353"/>
              <a:gd name="T63" fmla="*/ 418 h 428"/>
              <a:gd name="T64" fmla="*/ 101 w 353"/>
              <a:gd name="T65" fmla="*/ 424 h 428"/>
              <a:gd name="T66" fmla="*/ 125 w 353"/>
              <a:gd name="T67" fmla="*/ 427 h 428"/>
              <a:gd name="T68" fmla="*/ 137 w 353"/>
              <a:gd name="T69" fmla="*/ 428 h 428"/>
              <a:gd name="T70" fmla="*/ 165 w 353"/>
              <a:gd name="T71" fmla="*/ 426 h 428"/>
              <a:gd name="T72" fmla="*/ 210 w 353"/>
              <a:gd name="T73" fmla="*/ 418 h 428"/>
              <a:gd name="T74" fmla="*/ 242 w 353"/>
              <a:gd name="T75" fmla="*/ 406 h 428"/>
              <a:gd name="T76" fmla="*/ 260 w 353"/>
              <a:gd name="T77" fmla="*/ 397 h 428"/>
              <a:gd name="T78" fmla="*/ 264 w 353"/>
              <a:gd name="T79" fmla="*/ 396 h 428"/>
              <a:gd name="T80" fmla="*/ 269 w 353"/>
              <a:gd name="T81" fmla="*/ 398 h 428"/>
              <a:gd name="T82" fmla="*/ 283 w 353"/>
              <a:gd name="T83" fmla="*/ 404 h 428"/>
              <a:gd name="T84" fmla="*/ 310 w 353"/>
              <a:gd name="T85" fmla="*/ 411 h 428"/>
              <a:gd name="T86" fmla="*/ 353 w 353"/>
              <a:gd name="T87" fmla="*/ 413 h 428"/>
              <a:gd name="T88" fmla="*/ 353 w 353"/>
              <a:gd name="T89" fmla="*/ 122 h 428"/>
              <a:gd name="T90" fmla="*/ 351 w 353"/>
              <a:gd name="T91" fmla="*/ 92 h 428"/>
              <a:gd name="T92" fmla="*/ 343 w 353"/>
              <a:gd name="T93" fmla="*/ 66 h 428"/>
              <a:gd name="T94" fmla="*/ 330 w 353"/>
              <a:gd name="T95" fmla="*/ 45 h 428"/>
              <a:gd name="T96" fmla="*/ 314 w 353"/>
              <a:gd name="T97" fmla="*/ 29 h 428"/>
              <a:gd name="T98" fmla="*/ 293 w 353"/>
              <a:gd name="T99" fmla="*/ 15 h 428"/>
              <a:gd name="T100" fmla="*/ 268 w 353"/>
              <a:gd name="T101" fmla="*/ 7 h 428"/>
              <a:gd name="T102" fmla="*/ 239 w 353"/>
              <a:gd name="T103" fmla="*/ 2 h 428"/>
              <a:gd name="T104" fmla="*/ 206 w 353"/>
              <a:gd name="T105" fmla="*/ 0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53" h="428">
                <a:moveTo>
                  <a:pt x="206" y="0"/>
                </a:moveTo>
                <a:lnTo>
                  <a:pt x="206" y="0"/>
                </a:lnTo>
                <a:lnTo>
                  <a:pt x="175" y="1"/>
                </a:lnTo>
                <a:lnTo>
                  <a:pt x="148" y="4"/>
                </a:lnTo>
                <a:lnTo>
                  <a:pt x="121" y="7"/>
                </a:lnTo>
                <a:lnTo>
                  <a:pt x="98" y="12"/>
                </a:lnTo>
                <a:lnTo>
                  <a:pt x="77" y="17"/>
                </a:lnTo>
                <a:lnTo>
                  <a:pt x="59" y="23"/>
                </a:lnTo>
                <a:lnTo>
                  <a:pt x="44" y="28"/>
                </a:lnTo>
                <a:lnTo>
                  <a:pt x="33" y="33"/>
                </a:lnTo>
                <a:lnTo>
                  <a:pt x="53" y="102"/>
                </a:lnTo>
                <a:lnTo>
                  <a:pt x="53" y="102"/>
                </a:lnTo>
                <a:lnTo>
                  <a:pt x="64" y="98"/>
                </a:lnTo>
                <a:lnTo>
                  <a:pt x="92" y="91"/>
                </a:lnTo>
                <a:lnTo>
                  <a:pt x="111" y="86"/>
                </a:lnTo>
                <a:lnTo>
                  <a:pt x="132" y="82"/>
                </a:lnTo>
                <a:lnTo>
                  <a:pt x="155" y="80"/>
                </a:lnTo>
                <a:lnTo>
                  <a:pt x="178" y="79"/>
                </a:lnTo>
                <a:lnTo>
                  <a:pt x="178" y="79"/>
                </a:lnTo>
                <a:lnTo>
                  <a:pt x="198" y="80"/>
                </a:lnTo>
                <a:lnTo>
                  <a:pt x="214" y="82"/>
                </a:lnTo>
                <a:lnTo>
                  <a:pt x="221" y="84"/>
                </a:lnTo>
                <a:lnTo>
                  <a:pt x="227" y="86"/>
                </a:lnTo>
                <a:lnTo>
                  <a:pt x="233" y="90"/>
                </a:lnTo>
                <a:lnTo>
                  <a:pt x="240" y="94"/>
                </a:lnTo>
                <a:lnTo>
                  <a:pt x="244" y="98"/>
                </a:lnTo>
                <a:lnTo>
                  <a:pt x="248" y="102"/>
                </a:lnTo>
                <a:lnTo>
                  <a:pt x="252" y="108"/>
                </a:lnTo>
                <a:lnTo>
                  <a:pt x="255" y="114"/>
                </a:lnTo>
                <a:lnTo>
                  <a:pt x="257" y="120"/>
                </a:lnTo>
                <a:lnTo>
                  <a:pt x="258" y="129"/>
                </a:lnTo>
                <a:lnTo>
                  <a:pt x="259" y="137"/>
                </a:lnTo>
                <a:lnTo>
                  <a:pt x="260" y="146"/>
                </a:lnTo>
                <a:lnTo>
                  <a:pt x="260" y="176"/>
                </a:lnTo>
                <a:lnTo>
                  <a:pt x="178" y="176"/>
                </a:lnTo>
                <a:lnTo>
                  <a:pt x="178" y="176"/>
                </a:lnTo>
                <a:lnTo>
                  <a:pt x="154" y="177"/>
                </a:lnTo>
                <a:lnTo>
                  <a:pt x="131" y="179"/>
                </a:lnTo>
                <a:lnTo>
                  <a:pt x="111" y="182"/>
                </a:lnTo>
                <a:lnTo>
                  <a:pt x="92" y="187"/>
                </a:lnTo>
                <a:lnTo>
                  <a:pt x="76" y="192"/>
                </a:lnTo>
                <a:lnTo>
                  <a:pt x="62" y="200"/>
                </a:lnTo>
                <a:lnTo>
                  <a:pt x="50" y="207"/>
                </a:lnTo>
                <a:lnTo>
                  <a:pt x="38" y="216"/>
                </a:lnTo>
                <a:lnTo>
                  <a:pt x="28" y="225"/>
                </a:lnTo>
                <a:lnTo>
                  <a:pt x="21" y="236"/>
                </a:lnTo>
                <a:lnTo>
                  <a:pt x="14" y="246"/>
                </a:lnTo>
                <a:lnTo>
                  <a:pt x="9" y="257"/>
                </a:lnTo>
                <a:lnTo>
                  <a:pt x="6" y="270"/>
                </a:lnTo>
                <a:lnTo>
                  <a:pt x="3" y="282"/>
                </a:lnTo>
                <a:lnTo>
                  <a:pt x="0" y="294"/>
                </a:lnTo>
                <a:lnTo>
                  <a:pt x="0" y="307"/>
                </a:lnTo>
                <a:lnTo>
                  <a:pt x="0" y="307"/>
                </a:lnTo>
                <a:lnTo>
                  <a:pt x="2" y="323"/>
                </a:lnTo>
                <a:lnTo>
                  <a:pt x="4" y="338"/>
                </a:lnTo>
                <a:lnTo>
                  <a:pt x="8" y="352"/>
                </a:lnTo>
                <a:lnTo>
                  <a:pt x="13" y="364"/>
                </a:lnTo>
                <a:lnTo>
                  <a:pt x="19" y="376"/>
                </a:lnTo>
                <a:lnTo>
                  <a:pt x="27" y="386"/>
                </a:lnTo>
                <a:lnTo>
                  <a:pt x="35" y="394"/>
                </a:lnTo>
                <a:lnTo>
                  <a:pt x="44" y="401"/>
                </a:lnTo>
                <a:lnTo>
                  <a:pt x="55" y="408"/>
                </a:lnTo>
                <a:lnTo>
                  <a:pt x="66" y="414"/>
                </a:lnTo>
                <a:lnTo>
                  <a:pt x="77" y="418"/>
                </a:lnTo>
                <a:lnTo>
                  <a:pt x="88" y="422"/>
                </a:lnTo>
                <a:lnTo>
                  <a:pt x="101" y="424"/>
                </a:lnTo>
                <a:lnTo>
                  <a:pt x="113" y="426"/>
                </a:lnTo>
                <a:lnTo>
                  <a:pt x="125" y="427"/>
                </a:lnTo>
                <a:lnTo>
                  <a:pt x="137" y="428"/>
                </a:lnTo>
                <a:lnTo>
                  <a:pt x="137" y="428"/>
                </a:lnTo>
                <a:lnTo>
                  <a:pt x="152" y="427"/>
                </a:lnTo>
                <a:lnTo>
                  <a:pt x="165" y="426"/>
                </a:lnTo>
                <a:lnTo>
                  <a:pt x="188" y="423"/>
                </a:lnTo>
                <a:lnTo>
                  <a:pt x="210" y="418"/>
                </a:lnTo>
                <a:lnTo>
                  <a:pt x="227" y="412"/>
                </a:lnTo>
                <a:lnTo>
                  <a:pt x="242" y="406"/>
                </a:lnTo>
                <a:lnTo>
                  <a:pt x="253" y="401"/>
                </a:lnTo>
                <a:lnTo>
                  <a:pt x="260" y="397"/>
                </a:lnTo>
                <a:lnTo>
                  <a:pt x="264" y="396"/>
                </a:lnTo>
                <a:lnTo>
                  <a:pt x="264" y="396"/>
                </a:lnTo>
                <a:lnTo>
                  <a:pt x="266" y="397"/>
                </a:lnTo>
                <a:lnTo>
                  <a:pt x="269" y="398"/>
                </a:lnTo>
                <a:lnTo>
                  <a:pt x="275" y="401"/>
                </a:lnTo>
                <a:lnTo>
                  <a:pt x="283" y="404"/>
                </a:lnTo>
                <a:lnTo>
                  <a:pt x="296" y="407"/>
                </a:lnTo>
                <a:lnTo>
                  <a:pt x="310" y="411"/>
                </a:lnTo>
                <a:lnTo>
                  <a:pt x="329" y="412"/>
                </a:lnTo>
                <a:lnTo>
                  <a:pt x="353" y="413"/>
                </a:lnTo>
                <a:lnTo>
                  <a:pt x="353" y="122"/>
                </a:lnTo>
                <a:lnTo>
                  <a:pt x="353" y="122"/>
                </a:lnTo>
                <a:lnTo>
                  <a:pt x="353" y="106"/>
                </a:lnTo>
                <a:lnTo>
                  <a:pt x="351" y="92"/>
                </a:lnTo>
                <a:lnTo>
                  <a:pt x="348" y="78"/>
                </a:lnTo>
                <a:lnTo>
                  <a:pt x="343" y="66"/>
                </a:lnTo>
                <a:lnTo>
                  <a:pt x="338" y="56"/>
                </a:lnTo>
                <a:lnTo>
                  <a:pt x="330" y="45"/>
                </a:lnTo>
                <a:lnTo>
                  <a:pt x="323" y="36"/>
                </a:lnTo>
                <a:lnTo>
                  <a:pt x="314" y="29"/>
                </a:lnTo>
                <a:lnTo>
                  <a:pt x="304" y="22"/>
                </a:lnTo>
                <a:lnTo>
                  <a:pt x="293" y="15"/>
                </a:lnTo>
                <a:lnTo>
                  <a:pt x="281" y="11"/>
                </a:lnTo>
                <a:lnTo>
                  <a:pt x="268" y="7"/>
                </a:lnTo>
                <a:lnTo>
                  <a:pt x="254" y="4"/>
                </a:lnTo>
                <a:lnTo>
                  <a:pt x="239" y="2"/>
                </a:lnTo>
                <a:lnTo>
                  <a:pt x="222" y="1"/>
                </a:lnTo>
                <a:lnTo>
                  <a:pt x="20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6" name="Freeform 12"/>
          <p:cNvSpPr>
            <a:spLocks/>
          </p:cNvSpPr>
          <p:nvPr/>
        </p:nvSpPr>
        <p:spPr bwMode="auto">
          <a:xfrm>
            <a:off x="8544407" y="6483993"/>
            <a:ext cx="117167" cy="178086"/>
          </a:xfrm>
          <a:custGeom>
            <a:avLst/>
            <a:gdLst>
              <a:gd name="T0" fmla="*/ 281 w 374"/>
              <a:gd name="T1" fmla="*/ 313 h 424"/>
              <a:gd name="T2" fmla="*/ 246 w 374"/>
              <a:gd name="T3" fmla="*/ 327 h 424"/>
              <a:gd name="T4" fmla="*/ 217 w 374"/>
              <a:gd name="T5" fmla="*/ 336 h 424"/>
              <a:gd name="T6" fmla="*/ 184 w 374"/>
              <a:gd name="T7" fmla="*/ 341 h 424"/>
              <a:gd name="T8" fmla="*/ 167 w 374"/>
              <a:gd name="T9" fmla="*/ 342 h 424"/>
              <a:gd name="T10" fmla="*/ 145 w 374"/>
              <a:gd name="T11" fmla="*/ 341 h 424"/>
              <a:gd name="T12" fmla="*/ 129 w 374"/>
              <a:gd name="T13" fmla="*/ 337 h 424"/>
              <a:gd name="T14" fmla="*/ 116 w 374"/>
              <a:gd name="T15" fmla="*/ 329 h 424"/>
              <a:gd name="T16" fmla="*/ 106 w 374"/>
              <a:gd name="T17" fmla="*/ 319 h 424"/>
              <a:gd name="T18" fmla="*/ 99 w 374"/>
              <a:gd name="T19" fmla="*/ 307 h 424"/>
              <a:gd name="T20" fmla="*/ 95 w 374"/>
              <a:gd name="T21" fmla="*/ 290 h 424"/>
              <a:gd name="T22" fmla="*/ 93 w 374"/>
              <a:gd name="T23" fmla="*/ 248 h 424"/>
              <a:gd name="T24" fmla="*/ 79 w 374"/>
              <a:gd name="T25" fmla="*/ 0 h 424"/>
              <a:gd name="T26" fmla="*/ 59 w 374"/>
              <a:gd name="T27" fmla="*/ 0 h 424"/>
              <a:gd name="T28" fmla="*/ 13 w 374"/>
              <a:gd name="T29" fmla="*/ 4 h 424"/>
              <a:gd name="T30" fmla="*/ 0 w 374"/>
              <a:gd name="T31" fmla="*/ 259 h 424"/>
              <a:gd name="T32" fmla="*/ 0 w 374"/>
              <a:gd name="T33" fmla="*/ 280 h 424"/>
              <a:gd name="T34" fmla="*/ 3 w 374"/>
              <a:gd name="T35" fmla="*/ 316 h 424"/>
              <a:gd name="T36" fmla="*/ 9 w 374"/>
              <a:gd name="T37" fmla="*/ 347 h 424"/>
              <a:gd name="T38" fmla="*/ 21 w 374"/>
              <a:gd name="T39" fmla="*/ 373 h 424"/>
              <a:gd name="T40" fmla="*/ 36 w 374"/>
              <a:gd name="T41" fmla="*/ 393 h 424"/>
              <a:gd name="T42" fmla="*/ 58 w 374"/>
              <a:gd name="T43" fmla="*/ 408 h 424"/>
              <a:gd name="T44" fmla="*/ 86 w 374"/>
              <a:gd name="T45" fmla="*/ 418 h 424"/>
              <a:gd name="T46" fmla="*/ 121 w 374"/>
              <a:gd name="T47" fmla="*/ 423 h 424"/>
              <a:gd name="T48" fmla="*/ 141 w 374"/>
              <a:gd name="T49" fmla="*/ 424 h 424"/>
              <a:gd name="T50" fmla="*/ 172 w 374"/>
              <a:gd name="T51" fmla="*/ 422 h 424"/>
              <a:gd name="T52" fmla="*/ 199 w 374"/>
              <a:gd name="T53" fmla="*/ 418 h 424"/>
              <a:gd name="T54" fmla="*/ 243 w 374"/>
              <a:gd name="T55" fmla="*/ 407 h 424"/>
              <a:gd name="T56" fmla="*/ 271 w 374"/>
              <a:gd name="T57" fmla="*/ 395 h 424"/>
              <a:gd name="T58" fmla="*/ 283 w 374"/>
              <a:gd name="T59" fmla="*/ 390 h 424"/>
              <a:gd name="T60" fmla="*/ 296 w 374"/>
              <a:gd name="T61" fmla="*/ 396 h 424"/>
              <a:gd name="T62" fmla="*/ 319 w 374"/>
              <a:gd name="T63" fmla="*/ 402 h 424"/>
              <a:gd name="T64" fmla="*/ 353 w 374"/>
              <a:gd name="T65" fmla="*/ 408 h 424"/>
              <a:gd name="T66" fmla="*/ 374 w 374"/>
              <a:gd name="T67" fmla="*/ 6 h 424"/>
              <a:gd name="T68" fmla="*/ 342 w 374"/>
              <a:gd name="T69" fmla="*/ 2 h 424"/>
              <a:gd name="T70" fmla="*/ 299 w 374"/>
              <a:gd name="T71" fmla="*/ 0 h 424"/>
              <a:gd name="T72" fmla="*/ 281 w 374"/>
              <a:gd name="T73" fmla="*/ 313 h 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74" h="424">
                <a:moveTo>
                  <a:pt x="281" y="313"/>
                </a:moveTo>
                <a:lnTo>
                  <a:pt x="281" y="313"/>
                </a:lnTo>
                <a:lnTo>
                  <a:pt x="260" y="322"/>
                </a:lnTo>
                <a:lnTo>
                  <a:pt x="246" y="327"/>
                </a:lnTo>
                <a:lnTo>
                  <a:pt x="232" y="331"/>
                </a:lnTo>
                <a:lnTo>
                  <a:pt x="217" y="336"/>
                </a:lnTo>
                <a:lnTo>
                  <a:pt x="200" y="339"/>
                </a:lnTo>
                <a:lnTo>
                  <a:pt x="184" y="341"/>
                </a:lnTo>
                <a:lnTo>
                  <a:pt x="167" y="342"/>
                </a:lnTo>
                <a:lnTo>
                  <a:pt x="167" y="342"/>
                </a:lnTo>
                <a:lnTo>
                  <a:pt x="155" y="342"/>
                </a:lnTo>
                <a:lnTo>
                  <a:pt x="145" y="341"/>
                </a:lnTo>
                <a:lnTo>
                  <a:pt x="136" y="339"/>
                </a:lnTo>
                <a:lnTo>
                  <a:pt x="129" y="337"/>
                </a:lnTo>
                <a:lnTo>
                  <a:pt x="122" y="333"/>
                </a:lnTo>
                <a:lnTo>
                  <a:pt x="116" y="329"/>
                </a:lnTo>
                <a:lnTo>
                  <a:pt x="110" y="324"/>
                </a:lnTo>
                <a:lnTo>
                  <a:pt x="106" y="319"/>
                </a:lnTo>
                <a:lnTo>
                  <a:pt x="102" y="313"/>
                </a:lnTo>
                <a:lnTo>
                  <a:pt x="99" y="307"/>
                </a:lnTo>
                <a:lnTo>
                  <a:pt x="97" y="298"/>
                </a:lnTo>
                <a:lnTo>
                  <a:pt x="95" y="290"/>
                </a:lnTo>
                <a:lnTo>
                  <a:pt x="93" y="271"/>
                </a:lnTo>
                <a:lnTo>
                  <a:pt x="93" y="248"/>
                </a:lnTo>
                <a:lnTo>
                  <a:pt x="93" y="0"/>
                </a:lnTo>
                <a:lnTo>
                  <a:pt x="79" y="0"/>
                </a:lnTo>
                <a:lnTo>
                  <a:pt x="79" y="0"/>
                </a:lnTo>
                <a:lnTo>
                  <a:pt x="59" y="0"/>
                </a:lnTo>
                <a:lnTo>
                  <a:pt x="36" y="2"/>
                </a:lnTo>
                <a:lnTo>
                  <a:pt x="13" y="4"/>
                </a:lnTo>
                <a:lnTo>
                  <a:pt x="0" y="6"/>
                </a:lnTo>
                <a:lnTo>
                  <a:pt x="0" y="259"/>
                </a:lnTo>
                <a:lnTo>
                  <a:pt x="0" y="259"/>
                </a:lnTo>
                <a:lnTo>
                  <a:pt x="0" y="280"/>
                </a:lnTo>
                <a:lnTo>
                  <a:pt x="1" y="298"/>
                </a:lnTo>
                <a:lnTo>
                  <a:pt x="3" y="316"/>
                </a:lnTo>
                <a:lnTo>
                  <a:pt x="5" y="332"/>
                </a:lnTo>
                <a:lnTo>
                  <a:pt x="9" y="347"/>
                </a:lnTo>
                <a:lnTo>
                  <a:pt x="14" y="360"/>
                </a:lnTo>
                <a:lnTo>
                  <a:pt x="21" y="373"/>
                </a:lnTo>
                <a:lnTo>
                  <a:pt x="28" y="383"/>
                </a:lnTo>
                <a:lnTo>
                  <a:pt x="36" y="393"/>
                </a:lnTo>
                <a:lnTo>
                  <a:pt x="46" y="401"/>
                </a:lnTo>
                <a:lnTo>
                  <a:pt x="58" y="408"/>
                </a:lnTo>
                <a:lnTo>
                  <a:pt x="71" y="414"/>
                </a:lnTo>
                <a:lnTo>
                  <a:pt x="86" y="418"/>
                </a:lnTo>
                <a:lnTo>
                  <a:pt x="102" y="421"/>
                </a:lnTo>
                <a:lnTo>
                  <a:pt x="121" y="423"/>
                </a:lnTo>
                <a:lnTo>
                  <a:pt x="141" y="424"/>
                </a:lnTo>
                <a:lnTo>
                  <a:pt x="141" y="424"/>
                </a:lnTo>
                <a:lnTo>
                  <a:pt x="157" y="423"/>
                </a:lnTo>
                <a:lnTo>
                  <a:pt x="172" y="422"/>
                </a:lnTo>
                <a:lnTo>
                  <a:pt x="186" y="421"/>
                </a:lnTo>
                <a:lnTo>
                  <a:pt x="199" y="418"/>
                </a:lnTo>
                <a:lnTo>
                  <a:pt x="223" y="413"/>
                </a:lnTo>
                <a:lnTo>
                  <a:pt x="243" y="407"/>
                </a:lnTo>
                <a:lnTo>
                  <a:pt x="260" y="400"/>
                </a:lnTo>
                <a:lnTo>
                  <a:pt x="271" y="395"/>
                </a:lnTo>
                <a:lnTo>
                  <a:pt x="283" y="390"/>
                </a:lnTo>
                <a:lnTo>
                  <a:pt x="283" y="390"/>
                </a:lnTo>
                <a:lnTo>
                  <a:pt x="289" y="393"/>
                </a:lnTo>
                <a:lnTo>
                  <a:pt x="296" y="396"/>
                </a:lnTo>
                <a:lnTo>
                  <a:pt x="307" y="399"/>
                </a:lnTo>
                <a:lnTo>
                  <a:pt x="319" y="402"/>
                </a:lnTo>
                <a:lnTo>
                  <a:pt x="334" y="405"/>
                </a:lnTo>
                <a:lnTo>
                  <a:pt x="353" y="408"/>
                </a:lnTo>
                <a:lnTo>
                  <a:pt x="374" y="409"/>
                </a:lnTo>
                <a:lnTo>
                  <a:pt x="374" y="6"/>
                </a:lnTo>
                <a:lnTo>
                  <a:pt x="374" y="6"/>
                </a:lnTo>
                <a:lnTo>
                  <a:pt x="342" y="2"/>
                </a:lnTo>
                <a:lnTo>
                  <a:pt x="320" y="1"/>
                </a:lnTo>
                <a:lnTo>
                  <a:pt x="299" y="0"/>
                </a:lnTo>
                <a:lnTo>
                  <a:pt x="281" y="0"/>
                </a:lnTo>
                <a:lnTo>
                  <a:pt x="281" y="3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7" name="Freeform 13"/>
          <p:cNvSpPr>
            <a:spLocks/>
          </p:cNvSpPr>
          <p:nvPr/>
        </p:nvSpPr>
        <p:spPr bwMode="auto">
          <a:xfrm>
            <a:off x="8695590" y="6482312"/>
            <a:ext cx="98268" cy="179767"/>
          </a:xfrm>
          <a:custGeom>
            <a:avLst/>
            <a:gdLst>
              <a:gd name="T0" fmla="*/ 11 w 311"/>
              <a:gd name="T1" fmla="*/ 415 h 428"/>
              <a:gd name="T2" fmla="*/ 83 w 311"/>
              <a:gd name="T3" fmla="*/ 425 h 428"/>
              <a:gd name="T4" fmla="*/ 138 w 311"/>
              <a:gd name="T5" fmla="*/ 428 h 428"/>
              <a:gd name="T6" fmla="*/ 183 w 311"/>
              <a:gd name="T7" fmla="*/ 425 h 428"/>
              <a:gd name="T8" fmla="*/ 227 w 311"/>
              <a:gd name="T9" fmla="*/ 414 h 428"/>
              <a:gd name="T10" fmla="*/ 265 w 311"/>
              <a:gd name="T11" fmla="*/ 394 h 428"/>
              <a:gd name="T12" fmla="*/ 295 w 311"/>
              <a:gd name="T13" fmla="*/ 363 h 428"/>
              <a:gd name="T14" fmla="*/ 310 w 311"/>
              <a:gd name="T15" fmla="*/ 318 h 428"/>
              <a:gd name="T16" fmla="*/ 310 w 311"/>
              <a:gd name="T17" fmla="*/ 288 h 428"/>
              <a:gd name="T18" fmla="*/ 302 w 311"/>
              <a:gd name="T19" fmla="*/ 256 h 428"/>
              <a:gd name="T20" fmla="*/ 283 w 311"/>
              <a:gd name="T21" fmla="*/ 231 h 428"/>
              <a:gd name="T22" fmla="*/ 257 w 311"/>
              <a:gd name="T23" fmla="*/ 211 h 428"/>
              <a:gd name="T24" fmla="*/ 209 w 311"/>
              <a:gd name="T25" fmla="*/ 187 h 428"/>
              <a:gd name="T26" fmla="*/ 149 w 311"/>
              <a:gd name="T27" fmla="*/ 164 h 428"/>
              <a:gd name="T28" fmla="*/ 113 w 311"/>
              <a:gd name="T29" fmla="*/ 144 h 428"/>
              <a:gd name="T30" fmla="*/ 103 w 311"/>
              <a:gd name="T31" fmla="*/ 132 h 428"/>
              <a:gd name="T32" fmla="*/ 100 w 311"/>
              <a:gd name="T33" fmla="*/ 116 h 428"/>
              <a:gd name="T34" fmla="*/ 102 w 311"/>
              <a:gd name="T35" fmla="*/ 104 h 428"/>
              <a:gd name="T36" fmla="*/ 116 w 311"/>
              <a:gd name="T37" fmla="*/ 86 h 428"/>
              <a:gd name="T38" fmla="*/ 132 w 311"/>
              <a:gd name="T39" fmla="*/ 78 h 428"/>
              <a:gd name="T40" fmla="*/ 156 w 311"/>
              <a:gd name="T41" fmla="*/ 74 h 428"/>
              <a:gd name="T42" fmla="*/ 185 w 311"/>
              <a:gd name="T43" fmla="*/ 75 h 428"/>
              <a:gd name="T44" fmla="*/ 238 w 311"/>
              <a:gd name="T45" fmla="*/ 85 h 428"/>
              <a:gd name="T46" fmla="*/ 295 w 311"/>
              <a:gd name="T47" fmla="*/ 30 h 428"/>
              <a:gd name="T48" fmla="*/ 263 w 311"/>
              <a:gd name="T49" fmla="*/ 16 h 428"/>
              <a:gd name="T50" fmla="*/ 207 w 311"/>
              <a:gd name="T51" fmla="*/ 4 h 428"/>
              <a:gd name="T52" fmla="*/ 158 w 311"/>
              <a:gd name="T53" fmla="*/ 0 h 428"/>
              <a:gd name="T54" fmla="*/ 115 w 311"/>
              <a:gd name="T55" fmla="*/ 4 h 428"/>
              <a:gd name="T56" fmla="*/ 76 w 311"/>
              <a:gd name="T57" fmla="*/ 17 h 428"/>
              <a:gd name="T58" fmla="*/ 42 w 311"/>
              <a:gd name="T59" fmla="*/ 39 h 428"/>
              <a:gd name="T60" fmla="*/ 19 w 311"/>
              <a:gd name="T61" fmla="*/ 69 h 428"/>
              <a:gd name="T62" fmla="*/ 7 w 311"/>
              <a:gd name="T63" fmla="*/ 107 h 428"/>
              <a:gd name="T64" fmla="*/ 7 w 311"/>
              <a:gd name="T65" fmla="*/ 137 h 428"/>
              <a:gd name="T66" fmla="*/ 19 w 311"/>
              <a:gd name="T67" fmla="*/ 175 h 428"/>
              <a:gd name="T68" fmla="*/ 42 w 311"/>
              <a:gd name="T69" fmla="*/ 203 h 428"/>
              <a:gd name="T70" fmla="*/ 73 w 311"/>
              <a:gd name="T71" fmla="*/ 223 h 428"/>
              <a:gd name="T72" fmla="*/ 119 w 311"/>
              <a:gd name="T73" fmla="*/ 243 h 428"/>
              <a:gd name="T74" fmla="*/ 171 w 311"/>
              <a:gd name="T75" fmla="*/ 261 h 428"/>
              <a:gd name="T76" fmla="*/ 205 w 311"/>
              <a:gd name="T77" fmla="*/ 280 h 428"/>
              <a:gd name="T78" fmla="*/ 216 w 311"/>
              <a:gd name="T79" fmla="*/ 296 h 428"/>
              <a:gd name="T80" fmla="*/ 217 w 311"/>
              <a:gd name="T81" fmla="*/ 306 h 428"/>
              <a:gd name="T82" fmla="*/ 212 w 311"/>
              <a:gd name="T83" fmla="*/ 328 h 428"/>
              <a:gd name="T84" fmla="*/ 202 w 311"/>
              <a:gd name="T85" fmla="*/ 340 h 428"/>
              <a:gd name="T86" fmla="*/ 184 w 311"/>
              <a:gd name="T87" fmla="*/ 348 h 428"/>
              <a:gd name="T88" fmla="*/ 158 w 311"/>
              <a:gd name="T89" fmla="*/ 353 h 428"/>
              <a:gd name="T90" fmla="*/ 113 w 311"/>
              <a:gd name="T91" fmla="*/ 354 h 428"/>
              <a:gd name="T92" fmla="*/ 28 w 311"/>
              <a:gd name="T93" fmla="*/ 344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11" h="428">
                <a:moveTo>
                  <a:pt x="0" y="413"/>
                </a:moveTo>
                <a:lnTo>
                  <a:pt x="0" y="413"/>
                </a:lnTo>
                <a:lnTo>
                  <a:pt x="11" y="415"/>
                </a:lnTo>
                <a:lnTo>
                  <a:pt x="39" y="420"/>
                </a:lnTo>
                <a:lnTo>
                  <a:pt x="60" y="423"/>
                </a:lnTo>
                <a:lnTo>
                  <a:pt x="83" y="425"/>
                </a:lnTo>
                <a:lnTo>
                  <a:pt x="110" y="427"/>
                </a:lnTo>
                <a:lnTo>
                  <a:pt x="138" y="428"/>
                </a:lnTo>
                <a:lnTo>
                  <a:pt x="138" y="428"/>
                </a:lnTo>
                <a:lnTo>
                  <a:pt x="154" y="427"/>
                </a:lnTo>
                <a:lnTo>
                  <a:pt x="168" y="426"/>
                </a:lnTo>
                <a:lnTo>
                  <a:pt x="183" y="425"/>
                </a:lnTo>
                <a:lnTo>
                  <a:pt x="198" y="422"/>
                </a:lnTo>
                <a:lnTo>
                  <a:pt x="213" y="419"/>
                </a:lnTo>
                <a:lnTo>
                  <a:pt x="227" y="414"/>
                </a:lnTo>
                <a:lnTo>
                  <a:pt x="241" y="408"/>
                </a:lnTo>
                <a:lnTo>
                  <a:pt x="254" y="402"/>
                </a:lnTo>
                <a:lnTo>
                  <a:pt x="265" y="394"/>
                </a:lnTo>
                <a:lnTo>
                  <a:pt x="276" y="385"/>
                </a:lnTo>
                <a:lnTo>
                  <a:pt x="286" y="375"/>
                </a:lnTo>
                <a:lnTo>
                  <a:pt x="295" y="363"/>
                </a:lnTo>
                <a:lnTo>
                  <a:pt x="302" y="350"/>
                </a:lnTo>
                <a:lnTo>
                  <a:pt x="307" y="334"/>
                </a:lnTo>
                <a:lnTo>
                  <a:pt x="310" y="318"/>
                </a:lnTo>
                <a:lnTo>
                  <a:pt x="311" y="300"/>
                </a:lnTo>
                <a:lnTo>
                  <a:pt x="311" y="300"/>
                </a:lnTo>
                <a:lnTo>
                  <a:pt x="310" y="288"/>
                </a:lnTo>
                <a:lnTo>
                  <a:pt x="309" y="277"/>
                </a:lnTo>
                <a:lnTo>
                  <a:pt x="306" y="266"/>
                </a:lnTo>
                <a:lnTo>
                  <a:pt x="302" y="256"/>
                </a:lnTo>
                <a:lnTo>
                  <a:pt x="297" y="248"/>
                </a:lnTo>
                <a:lnTo>
                  <a:pt x="291" y="239"/>
                </a:lnTo>
                <a:lnTo>
                  <a:pt x="283" y="231"/>
                </a:lnTo>
                <a:lnTo>
                  <a:pt x="276" y="224"/>
                </a:lnTo>
                <a:lnTo>
                  <a:pt x="267" y="217"/>
                </a:lnTo>
                <a:lnTo>
                  <a:pt x="257" y="211"/>
                </a:lnTo>
                <a:lnTo>
                  <a:pt x="247" y="204"/>
                </a:lnTo>
                <a:lnTo>
                  <a:pt x="234" y="199"/>
                </a:lnTo>
                <a:lnTo>
                  <a:pt x="209" y="187"/>
                </a:lnTo>
                <a:lnTo>
                  <a:pt x="180" y="176"/>
                </a:lnTo>
                <a:lnTo>
                  <a:pt x="180" y="176"/>
                </a:lnTo>
                <a:lnTo>
                  <a:pt x="149" y="164"/>
                </a:lnTo>
                <a:lnTo>
                  <a:pt x="135" y="157"/>
                </a:lnTo>
                <a:lnTo>
                  <a:pt x="123" y="151"/>
                </a:lnTo>
                <a:lnTo>
                  <a:pt x="113" y="144"/>
                </a:lnTo>
                <a:lnTo>
                  <a:pt x="109" y="140"/>
                </a:lnTo>
                <a:lnTo>
                  <a:pt x="106" y="136"/>
                </a:lnTo>
                <a:lnTo>
                  <a:pt x="103" y="132"/>
                </a:lnTo>
                <a:lnTo>
                  <a:pt x="101" y="127"/>
                </a:lnTo>
                <a:lnTo>
                  <a:pt x="100" y="121"/>
                </a:lnTo>
                <a:lnTo>
                  <a:pt x="100" y="116"/>
                </a:lnTo>
                <a:lnTo>
                  <a:pt x="100" y="116"/>
                </a:lnTo>
                <a:lnTo>
                  <a:pt x="100" y="110"/>
                </a:lnTo>
                <a:lnTo>
                  <a:pt x="102" y="104"/>
                </a:lnTo>
                <a:lnTo>
                  <a:pt x="106" y="97"/>
                </a:lnTo>
                <a:lnTo>
                  <a:pt x="112" y="90"/>
                </a:lnTo>
                <a:lnTo>
                  <a:pt x="116" y="86"/>
                </a:lnTo>
                <a:lnTo>
                  <a:pt x="120" y="83"/>
                </a:lnTo>
                <a:lnTo>
                  <a:pt x="126" y="81"/>
                </a:lnTo>
                <a:lnTo>
                  <a:pt x="132" y="78"/>
                </a:lnTo>
                <a:lnTo>
                  <a:pt x="139" y="76"/>
                </a:lnTo>
                <a:lnTo>
                  <a:pt x="147" y="75"/>
                </a:lnTo>
                <a:lnTo>
                  <a:pt x="156" y="74"/>
                </a:lnTo>
                <a:lnTo>
                  <a:pt x="166" y="74"/>
                </a:lnTo>
                <a:lnTo>
                  <a:pt x="166" y="74"/>
                </a:lnTo>
                <a:lnTo>
                  <a:pt x="185" y="75"/>
                </a:lnTo>
                <a:lnTo>
                  <a:pt x="205" y="77"/>
                </a:lnTo>
                <a:lnTo>
                  <a:pt x="222" y="81"/>
                </a:lnTo>
                <a:lnTo>
                  <a:pt x="238" y="85"/>
                </a:lnTo>
                <a:lnTo>
                  <a:pt x="262" y="94"/>
                </a:lnTo>
                <a:lnTo>
                  <a:pt x="271" y="98"/>
                </a:lnTo>
                <a:lnTo>
                  <a:pt x="295" y="30"/>
                </a:lnTo>
                <a:lnTo>
                  <a:pt x="295" y="30"/>
                </a:lnTo>
                <a:lnTo>
                  <a:pt x="276" y="22"/>
                </a:lnTo>
                <a:lnTo>
                  <a:pt x="263" y="16"/>
                </a:lnTo>
                <a:lnTo>
                  <a:pt x="247" y="12"/>
                </a:lnTo>
                <a:lnTo>
                  <a:pt x="228" y="7"/>
                </a:lnTo>
                <a:lnTo>
                  <a:pt x="207" y="4"/>
                </a:lnTo>
                <a:lnTo>
                  <a:pt x="183" y="1"/>
                </a:lnTo>
                <a:lnTo>
                  <a:pt x="158" y="0"/>
                </a:lnTo>
                <a:lnTo>
                  <a:pt x="158" y="0"/>
                </a:lnTo>
                <a:lnTo>
                  <a:pt x="143" y="1"/>
                </a:lnTo>
                <a:lnTo>
                  <a:pt x="129" y="2"/>
                </a:lnTo>
                <a:lnTo>
                  <a:pt x="115" y="4"/>
                </a:lnTo>
                <a:lnTo>
                  <a:pt x="102" y="8"/>
                </a:lnTo>
                <a:lnTo>
                  <a:pt x="88" y="12"/>
                </a:lnTo>
                <a:lnTo>
                  <a:pt x="76" y="17"/>
                </a:lnTo>
                <a:lnTo>
                  <a:pt x="64" y="24"/>
                </a:lnTo>
                <a:lnTo>
                  <a:pt x="53" y="31"/>
                </a:lnTo>
                <a:lnTo>
                  <a:pt x="42" y="39"/>
                </a:lnTo>
                <a:lnTo>
                  <a:pt x="33" y="47"/>
                </a:lnTo>
                <a:lnTo>
                  <a:pt x="25" y="58"/>
                </a:lnTo>
                <a:lnTo>
                  <a:pt x="19" y="69"/>
                </a:lnTo>
                <a:lnTo>
                  <a:pt x="13" y="80"/>
                </a:lnTo>
                <a:lnTo>
                  <a:pt x="9" y="94"/>
                </a:lnTo>
                <a:lnTo>
                  <a:pt x="7" y="107"/>
                </a:lnTo>
                <a:lnTo>
                  <a:pt x="6" y="122"/>
                </a:lnTo>
                <a:lnTo>
                  <a:pt x="6" y="122"/>
                </a:lnTo>
                <a:lnTo>
                  <a:pt x="7" y="137"/>
                </a:lnTo>
                <a:lnTo>
                  <a:pt x="9" y="150"/>
                </a:lnTo>
                <a:lnTo>
                  <a:pt x="13" y="164"/>
                </a:lnTo>
                <a:lnTo>
                  <a:pt x="19" y="175"/>
                </a:lnTo>
                <a:lnTo>
                  <a:pt x="25" y="185"/>
                </a:lnTo>
                <a:lnTo>
                  <a:pt x="33" y="194"/>
                </a:lnTo>
                <a:lnTo>
                  <a:pt x="42" y="203"/>
                </a:lnTo>
                <a:lnTo>
                  <a:pt x="51" y="210"/>
                </a:lnTo>
                <a:lnTo>
                  <a:pt x="62" y="217"/>
                </a:lnTo>
                <a:lnTo>
                  <a:pt x="73" y="223"/>
                </a:lnTo>
                <a:lnTo>
                  <a:pt x="84" y="229"/>
                </a:lnTo>
                <a:lnTo>
                  <a:pt x="95" y="235"/>
                </a:lnTo>
                <a:lnTo>
                  <a:pt x="119" y="243"/>
                </a:lnTo>
                <a:lnTo>
                  <a:pt x="142" y="251"/>
                </a:lnTo>
                <a:lnTo>
                  <a:pt x="142" y="251"/>
                </a:lnTo>
                <a:lnTo>
                  <a:pt x="171" y="261"/>
                </a:lnTo>
                <a:lnTo>
                  <a:pt x="184" y="266"/>
                </a:lnTo>
                <a:lnTo>
                  <a:pt x="196" y="273"/>
                </a:lnTo>
                <a:lnTo>
                  <a:pt x="205" y="280"/>
                </a:lnTo>
                <a:lnTo>
                  <a:pt x="211" y="287"/>
                </a:lnTo>
                <a:lnTo>
                  <a:pt x="214" y="291"/>
                </a:lnTo>
                <a:lnTo>
                  <a:pt x="216" y="296"/>
                </a:lnTo>
                <a:lnTo>
                  <a:pt x="217" y="300"/>
                </a:lnTo>
                <a:lnTo>
                  <a:pt x="217" y="306"/>
                </a:lnTo>
                <a:lnTo>
                  <a:pt x="217" y="306"/>
                </a:lnTo>
                <a:lnTo>
                  <a:pt x="217" y="315"/>
                </a:lnTo>
                <a:lnTo>
                  <a:pt x="214" y="324"/>
                </a:lnTo>
                <a:lnTo>
                  <a:pt x="212" y="328"/>
                </a:lnTo>
                <a:lnTo>
                  <a:pt x="209" y="332"/>
                </a:lnTo>
                <a:lnTo>
                  <a:pt x="206" y="335"/>
                </a:lnTo>
                <a:lnTo>
                  <a:pt x="202" y="340"/>
                </a:lnTo>
                <a:lnTo>
                  <a:pt x="197" y="343"/>
                </a:lnTo>
                <a:lnTo>
                  <a:pt x="190" y="346"/>
                </a:lnTo>
                <a:lnTo>
                  <a:pt x="184" y="348"/>
                </a:lnTo>
                <a:lnTo>
                  <a:pt x="176" y="350"/>
                </a:lnTo>
                <a:lnTo>
                  <a:pt x="167" y="352"/>
                </a:lnTo>
                <a:lnTo>
                  <a:pt x="158" y="353"/>
                </a:lnTo>
                <a:lnTo>
                  <a:pt x="134" y="354"/>
                </a:lnTo>
                <a:lnTo>
                  <a:pt x="134" y="354"/>
                </a:lnTo>
                <a:lnTo>
                  <a:pt x="113" y="354"/>
                </a:lnTo>
                <a:lnTo>
                  <a:pt x="92" y="352"/>
                </a:lnTo>
                <a:lnTo>
                  <a:pt x="55" y="348"/>
                </a:lnTo>
                <a:lnTo>
                  <a:pt x="28" y="344"/>
                </a:lnTo>
                <a:lnTo>
                  <a:pt x="18" y="342"/>
                </a:lnTo>
                <a:lnTo>
                  <a:pt x="0" y="41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8" name="Freeform 14"/>
          <p:cNvSpPr>
            <a:spLocks/>
          </p:cNvSpPr>
          <p:nvPr/>
        </p:nvSpPr>
        <p:spPr bwMode="auto">
          <a:xfrm>
            <a:off x="8287398" y="6512553"/>
            <a:ext cx="60473" cy="119285"/>
          </a:xfrm>
          <a:custGeom>
            <a:avLst/>
            <a:gdLst>
              <a:gd name="T0" fmla="*/ 0 w 194"/>
              <a:gd name="T1" fmla="*/ 7 h 282"/>
              <a:gd name="T2" fmla="*/ 0 w 194"/>
              <a:gd name="T3" fmla="*/ 7 h 282"/>
              <a:gd name="T4" fmla="*/ 14 w 194"/>
              <a:gd name="T5" fmla="*/ 4 h 282"/>
              <a:gd name="T6" fmla="*/ 31 w 194"/>
              <a:gd name="T7" fmla="*/ 2 h 282"/>
              <a:gd name="T8" fmla="*/ 52 w 194"/>
              <a:gd name="T9" fmla="*/ 0 h 282"/>
              <a:gd name="T10" fmla="*/ 73 w 194"/>
              <a:gd name="T11" fmla="*/ 0 h 282"/>
              <a:gd name="T12" fmla="*/ 73 w 194"/>
              <a:gd name="T13" fmla="*/ 0 h 282"/>
              <a:gd name="T14" fmla="*/ 87 w 194"/>
              <a:gd name="T15" fmla="*/ 0 h 282"/>
              <a:gd name="T16" fmla="*/ 98 w 194"/>
              <a:gd name="T17" fmla="*/ 1 h 282"/>
              <a:gd name="T18" fmla="*/ 110 w 194"/>
              <a:gd name="T19" fmla="*/ 4 h 282"/>
              <a:gd name="T20" fmla="*/ 121 w 194"/>
              <a:gd name="T21" fmla="*/ 7 h 282"/>
              <a:gd name="T22" fmla="*/ 132 w 194"/>
              <a:gd name="T23" fmla="*/ 11 h 282"/>
              <a:gd name="T24" fmla="*/ 141 w 194"/>
              <a:gd name="T25" fmla="*/ 17 h 282"/>
              <a:gd name="T26" fmla="*/ 151 w 194"/>
              <a:gd name="T27" fmla="*/ 24 h 282"/>
              <a:gd name="T28" fmla="*/ 159 w 194"/>
              <a:gd name="T29" fmla="*/ 31 h 282"/>
              <a:gd name="T30" fmla="*/ 166 w 194"/>
              <a:gd name="T31" fmla="*/ 40 h 282"/>
              <a:gd name="T32" fmla="*/ 174 w 194"/>
              <a:gd name="T33" fmla="*/ 49 h 282"/>
              <a:gd name="T34" fmla="*/ 180 w 194"/>
              <a:gd name="T35" fmla="*/ 61 h 282"/>
              <a:gd name="T36" fmla="*/ 185 w 194"/>
              <a:gd name="T37" fmla="*/ 74 h 282"/>
              <a:gd name="T38" fmla="*/ 189 w 194"/>
              <a:gd name="T39" fmla="*/ 88 h 282"/>
              <a:gd name="T40" fmla="*/ 192 w 194"/>
              <a:gd name="T41" fmla="*/ 103 h 282"/>
              <a:gd name="T42" fmla="*/ 193 w 194"/>
              <a:gd name="T43" fmla="*/ 119 h 282"/>
              <a:gd name="T44" fmla="*/ 194 w 194"/>
              <a:gd name="T45" fmla="*/ 138 h 282"/>
              <a:gd name="T46" fmla="*/ 194 w 194"/>
              <a:gd name="T47" fmla="*/ 138 h 282"/>
              <a:gd name="T48" fmla="*/ 194 w 194"/>
              <a:gd name="T49" fmla="*/ 155 h 282"/>
              <a:gd name="T50" fmla="*/ 193 w 194"/>
              <a:gd name="T51" fmla="*/ 172 h 282"/>
              <a:gd name="T52" fmla="*/ 191 w 194"/>
              <a:gd name="T53" fmla="*/ 187 h 282"/>
              <a:gd name="T54" fmla="*/ 188 w 194"/>
              <a:gd name="T55" fmla="*/ 202 h 282"/>
              <a:gd name="T56" fmla="*/ 185 w 194"/>
              <a:gd name="T57" fmla="*/ 215 h 282"/>
              <a:gd name="T58" fmla="*/ 181 w 194"/>
              <a:gd name="T59" fmla="*/ 226 h 282"/>
              <a:gd name="T60" fmla="*/ 175 w 194"/>
              <a:gd name="T61" fmla="*/ 238 h 282"/>
              <a:gd name="T62" fmla="*/ 168 w 194"/>
              <a:gd name="T63" fmla="*/ 247 h 282"/>
              <a:gd name="T64" fmla="*/ 160 w 194"/>
              <a:gd name="T65" fmla="*/ 255 h 282"/>
              <a:gd name="T66" fmla="*/ 151 w 194"/>
              <a:gd name="T67" fmla="*/ 262 h 282"/>
              <a:gd name="T68" fmla="*/ 141 w 194"/>
              <a:gd name="T69" fmla="*/ 269 h 282"/>
              <a:gd name="T70" fmla="*/ 129 w 194"/>
              <a:gd name="T71" fmla="*/ 274 h 282"/>
              <a:gd name="T72" fmla="*/ 115 w 194"/>
              <a:gd name="T73" fmla="*/ 277 h 282"/>
              <a:gd name="T74" fmla="*/ 100 w 194"/>
              <a:gd name="T75" fmla="*/ 280 h 282"/>
              <a:gd name="T76" fmla="*/ 84 w 194"/>
              <a:gd name="T77" fmla="*/ 282 h 282"/>
              <a:gd name="T78" fmla="*/ 65 w 194"/>
              <a:gd name="T79" fmla="*/ 282 h 282"/>
              <a:gd name="T80" fmla="*/ 65 w 194"/>
              <a:gd name="T81" fmla="*/ 282 h 282"/>
              <a:gd name="T82" fmla="*/ 42 w 194"/>
              <a:gd name="T83" fmla="*/ 281 h 282"/>
              <a:gd name="T84" fmla="*/ 20 w 194"/>
              <a:gd name="T85" fmla="*/ 280 h 282"/>
              <a:gd name="T86" fmla="*/ 0 w 194"/>
              <a:gd name="T87" fmla="*/ 278 h 282"/>
              <a:gd name="T88" fmla="*/ 0 w 194"/>
              <a:gd name="T89" fmla="*/ 7 h 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94" h="282">
                <a:moveTo>
                  <a:pt x="0" y="7"/>
                </a:moveTo>
                <a:lnTo>
                  <a:pt x="0" y="7"/>
                </a:lnTo>
                <a:lnTo>
                  <a:pt x="14" y="4"/>
                </a:lnTo>
                <a:lnTo>
                  <a:pt x="31" y="2"/>
                </a:lnTo>
                <a:lnTo>
                  <a:pt x="52" y="0"/>
                </a:lnTo>
                <a:lnTo>
                  <a:pt x="73" y="0"/>
                </a:lnTo>
                <a:lnTo>
                  <a:pt x="73" y="0"/>
                </a:lnTo>
                <a:lnTo>
                  <a:pt x="87" y="0"/>
                </a:lnTo>
                <a:lnTo>
                  <a:pt x="98" y="1"/>
                </a:lnTo>
                <a:lnTo>
                  <a:pt x="110" y="4"/>
                </a:lnTo>
                <a:lnTo>
                  <a:pt x="121" y="7"/>
                </a:lnTo>
                <a:lnTo>
                  <a:pt x="132" y="11"/>
                </a:lnTo>
                <a:lnTo>
                  <a:pt x="141" y="17"/>
                </a:lnTo>
                <a:lnTo>
                  <a:pt x="151" y="24"/>
                </a:lnTo>
                <a:lnTo>
                  <a:pt x="159" y="31"/>
                </a:lnTo>
                <a:lnTo>
                  <a:pt x="166" y="40"/>
                </a:lnTo>
                <a:lnTo>
                  <a:pt x="174" y="49"/>
                </a:lnTo>
                <a:lnTo>
                  <a:pt x="180" y="61"/>
                </a:lnTo>
                <a:lnTo>
                  <a:pt x="185" y="74"/>
                </a:lnTo>
                <a:lnTo>
                  <a:pt x="189" y="88"/>
                </a:lnTo>
                <a:lnTo>
                  <a:pt x="192" y="103"/>
                </a:lnTo>
                <a:lnTo>
                  <a:pt x="193" y="119"/>
                </a:lnTo>
                <a:lnTo>
                  <a:pt x="194" y="138"/>
                </a:lnTo>
                <a:lnTo>
                  <a:pt x="194" y="138"/>
                </a:lnTo>
                <a:lnTo>
                  <a:pt x="194" y="155"/>
                </a:lnTo>
                <a:lnTo>
                  <a:pt x="193" y="172"/>
                </a:lnTo>
                <a:lnTo>
                  <a:pt x="191" y="187"/>
                </a:lnTo>
                <a:lnTo>
                  <a:pt x="188" y="202"/>
                </a:lnTo>
                <a:lnTo>
                  <a:pt x="185" y="215"/>
                </a:lnTo>
                <a:lnTo>
                  <a:pt x="181" y="226"/>
                </a:lnTo>
                <a:lnTo>
                  <a:pt x="175" y="238"/>
                </a:lnTo>
                <a:lnTo>
                  <a:pt x="168" y="247"/>
                </a:lnTo>
                <a:lnTo>
                  <a:pt x="160" y="255"/>
                </a:lnTo>
                <a:lnTo>
                  <a:pt x="151" y="262"/>
                </a:lnTo>
                <a:lnTo>
                  <a:pt x="141" y="269"/>
                </a:lnTo>
                <a:lnTo>
                  <a:pt x="129" y="274"/>
                </a:lnTo>
                <a:lnTo>
                  <a:pt x="115" y="277"/>
                </a:lnTo>
                <a:lnTo>
                  <a:pt x="100" y="280"/>
                </a:lnTo>
                <a:lnTo>
                  <a:pt x="84" y="282"/>
                </a:lnTo>
                <a:lnTo>
                  <a:pt x="65" y="282"/>
                </a:lnTo>
                <a:lnTo>
                  <a:pt x="65" y="282"/>
                </a:lnTo>
                <a:lnTo>
                  <a:pt x="42" y="281"/>
                </a:lnTo>
                <a:lnTo>
                  <a:pt x="20" y="280"/>
                </a:lnTo>
                <a:lnTo>
                  <a:pt x="0" y="278"/>
                </a:lnTo>
                <a:lnTo>
                  <a:pt x="0" y="7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sp>
        <p:nvSpPr>
          <p:cNvPr id="59" name="Freeform 15"/>
          <p:cNvSpPr>
            <a:spLocks/>
          </p:cNvSpPr>
          <p:nvPr/>
        </p:nvSpPr>
        <p:spPr bwMode="auto">
          <a:xfrm>
            <a:off x="8257162" y="6482312"/>
            <a:ext cx="122206" cy="179767"/>
          </a:xfrm>
          <a:custGeom>
            <a:avLst/>
            <a:gdLst>
              <a:gd name="T0" fmla="*/ 171 w 385"/>
              <a:gd name="T1" fmla="*/ 0 h 428"/>
              <a:gd name="T2" fmla="*/ 171 w 385"/>
              <a:gd name="T3" fmla="*/ 0 h 428"/>
              <a:gd name="T4" fmla="*/ 150 w 385"/>
              <a:gd name="T5" fmla="*/ 1 h 428"/>
              <a:gd name="T6" fmla="*/ 129 w 385"/>
              <a:gd name="T7" fmla="*/ 2 h 428"/>
              <a:gd name="T8" fmla="*/ 106 w 385"/>
              <a:gd name="T9" fmla="*/ 4 h 428"/>
              <a:gd name="T10" fmla="*/ 83 w 385"/>
              <a:gd name="T11" fmla="*/ 7 h 428"/>
              <a:gd name="T12" fmla="*/ 60 w 385"/>
              <a:gd name="T13" fmla="*/ 10 h 428"/>
              <a:gd name="T14" fmla="*/ 39 w 385"/>
              <a:gd name="T15" fmla="*/ 14 h 428"/>
              <a:gd name="T16" fmla="*/ 18 w 385"/>
              <a:gd name="T17" fmla="*/ 20 h 428"/>
              <a:gd name="T18" fmla="*/ 0 w 385"/>
              <a:gd name="T19" fmla="*/ 26 h 428"/>
              <a:gd name="T20" fmla="*/ 0 w 385"/>
              <a:gd name="T21" fmla="*/ 415 h 428"/>
              <a:gd name="T22" fmla="*/ 0 w 385"/>
              <a:gd name="T23" fmla="*/ 415 h 428"/>
              <a:gd name="T24" fmla="*/ 15 w 385"/>
              <a:gd name="T25" fmla="*/ 418 h 428"/>
              <a:gd name="T26" fmla="*/ 34 w 385"/>
              <a:gd name="T27" fmla="*/ 420 h 428"/>
              <a:gd name="T28" fmla="*/ 73 w 385"/>
              <a:gd name="T29" fmla="*/ 424 h 428"/>
              <a:gd name="T30" fmla="*/ 116 w 385"/>
              <a:gd name="T31" fmla="*/ 427 h 428"/>
              <a:gd name="T32" fmla="*/ 155 w 385"/>
              <a:gd name="T33" fmla="*/ 428 h 428"/>
              <a:gd name="T34" fmla="*/ 155 w 385"/>
              <a:gd name="T35" fmla="*/ 428 h 428"/>
              <a:gd name="T36" fmla="*/ 186 w 385"/>
              <a:gd name="T37" fmla="*/ 427 h 428"/>
              <a:gd name="T38" fmla="*/ 212 w 385"/>
              <a:gd name="T39" fmla="*/ 425 h 428"/>
              <a:gd name="T40" fmla="*/ 238 w 385"/>
              <a:gd name="T41" fmla="*/ 421 h 428"/>
              <a:gd name="T42" fmla="*/ 261 w 385"/>
              <a:gd name="T43" fmla="*/ 415 h 428"/>
              <a:gd name="T44" fmla="*/ 282 w 385"/>
              <a:gd name="T45" fmla="*/ 408 h 428"/>
              <a:gd name="T46" fmla="*/ 301 w 385"/>
              <a:gd name="T47" fmla="*/ 399 h 428"/>
              <a:gd name="T48" fmla="*/ 309 w 385"/>
              <a:gd name="T49" fmla="*/ 394 h 428"/>
              <a:gd name="T50" fmla="*/ 318 w 385"/>
              <a:gd name="T51" fmla="*/ 389 h 428"/>
              <a:gd name="T52" fmla="*/ 326 w 385"/>
              <a:gd name="T53" fmla="*/ 383 h 428"/>
              <a:gd name="T54" fmla="*/ 333 w 385"/>
              <a:gd name="T55" fmla="*/ 377 h 428"/>
              <a:gd name="T56" fmla="*/ 339 w 385"/>
              <a:gd name="T57" fmla="*/ 369 h 428"/>
              <a:gd name="T58" fmla="*/ 345 w 385"/>
              <a:gd name="T59" fmla="*/ 362 h 428"/>
              <a:gd name="T60" fmla="*/ 351 w 385"/>
              <a:gd name="T61" fmla="*/ 355 h 428"/>
              <a:gd name="T62" fmla="*/ 356 w 385"/>
              <a:gd name="T63" fmla="*/ 347 h 428"/>
              <a:gd name="T64" fmla="*/ 361 w 385"/>
              <a:gd name="T65" fmla="*/ 337 h 428"/>
              <a:gd name="T66" fmla="*/ 366 w 385"/>
              <a:gd name="T67" fmla="*/ 329 h 428"/>
              <a:gd name="T68" fmla="*/ 373 w 385"/>
              <a:gd name="T69" fmla="*/ 309 h 428"/>
              <a:gd name="T70" fmla="*/ 378 w 385"/>
              <a:gd name="T71" fmla="*/ 287 h 428"/>
              <a:gd name="T72" fmla="*/ 382 w 385"/>
              <a:gd name="T73" fmla="*/ 264 h 428"/>
              <a:gd name="T74" fmla="*/ 384 w 385"/>
              <a:gd name="T75" fmla="*/ 239 h 428"/>
              <a:gd name="T76" fmla="*/ 385 w 385"/>
              <a:gd name="T77" fmla="*/ 211 h 428"/>
              <a:gd name="T78" fmla="*/ 385 w 385"/>
              <a:gd name="T79" fmla="*/ 211 h 428"/>
              <a:gd name="T80" fmla="*/ 384 w 385"/>
              <a:gd name="T81" fmla="*/ 187 h 428"/>
              <a:gd name="T82" fmla="*/ 381 w 385"/>
              <a:gd name="T83" fmla="*/ 164 h 428"/>
              <a:gd name="T84" fmla="*/ 377 w 385"/>
              <a:gd name="T85" fmla="*/ 143 h 428"/>
              <a:gd name="T86" fmla="*/ 371 w 385"/>
              <a:gd name="T87" fmla="*/ 122 h 428"/>
              <a:gd name="T88" fmla="*/ 363 w 385"/>
              <a:gd name="T89" fmla="*/ 104 h 428"/>
              <a:gd name="T90" fmla="*/ 352 w 385"/>
              <a:gd name="T91" fmla="*/ 86 h 428"/>
              <a:gd name="T92" fmla="*/ 341 w 385"/>
              <a:gd name="T93" fmla="*/ 71 h 428"/>
              <a:gd name="T94" fmla="*/ 328 w 385"/>
              <a:gd name="T95" fmla="*/ 57 h 428"/>
              <a:gd name="T96" fmla="*/ 314 w 385"/>
              <a:gd name="T97" fmla="*/ 43 h 428"/>
              <a:gd name="T98" fmla="*/ 297 w 385"/>
              <a:gd name="T99" fmla="*/ 32 h 428"/>
              <a:gd name="T100" fmla="*/ 280 w 385"/>
              <a:gd name="T101" fmla="*/ 23 h 428"/>
              <a:gd name="T102" fmla="*/ 260 w 385"/>
              <a:gd name="T103" fmla="*/ 14 h 428"/>
              <a:gd name="T104" fmla="*/ 240 w 385"/>
              <a:gd name="T105" fmla="*/ 8 h 428"/>
              <a:gd name="T106" fmla="*/ 218 w 385"/>
              <a:gd name="T107" fmla="*/ 4 h 428"/>
              <a:gd name="T108" fmla="*/ 195 w 385"/>
              <a:gd name="T109" fmla="*/ 1 h 428"/>
              <a:gd name="T110" fmla="*/ 171 w 385"/>
              <a:gd name="T111" fmla="*/ 0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85" h="428">
                <a:moveTo>
                  <a:pt x="171" y="0"/>
                </a:moveTo>
                <a:lnTo>
                  <a:pt x="171" y="0"/>
                </a:lnTo>
                <a:lnTo>
                  <a:pt x="150" y="1"/>
                </a:lnTo>
                <a:lnTo>
                  <a:pt x="129" y="2"/>
                </a:lnTo>
                <a:lnTo>
                  <a:pt x="106" y="4"/>
                </a:lnTo>
                <a:lnTo>
                  <a:pt x="83" y="7"/>
                </a:lnTo>
                <a:lnTo>
                  <a:pt x="60" y="10"/>
                </a:lnTo>
                <a:lnTo>
                  <a:pt x="39" y="14"/>
                </a:lnTo>
                <a:lnTo>
                  <a:pt x="18" y="20"/>
                </a:lnTo>
                <a:lnTo>
                  <a:pt x="0" y="26"/>
                </a:lnTo>
                <a:lnTo>
                  <a:pt x="0" y="415"/>
                </a:lnTo>
                <a:lnTo>
                  <a:pt x="0" y="415"/>
                </a:lnTo>
                <a:lnTo>
                  <a:pt x="15" y="418"/>
                </a:lnTo>
                <a:lnTo>
                  <a:pt x="34" y="420"/>
                </a:lnTo>
                <a:lnTo>
                  <a:pt x="73" y="424"/>
                </a:lnTo>
                <a:lnTo>
                  <a:pt x="116" y="427"/>
                </a:lnTo>
                <a:lnTo>
                  <a:pt x="155" y="428"/>
                </a:lnTo>
                <a:lnTo>
                  <a:pt x="155" y="428"/>
                </a:lnTo>
                <a:lnTo>
                  <a:pt x="186" y="427"/>
                </a:lnTo>
                <a:lnTo>
                  <a:pt x="212" y="425"/>
                </a:lnTo>
                <a:lnTo>
                  <a:pt x="238" y="421"/>
                </a:lnTo>
                <a:lnTo>
                  <a:pt x="261" y="415"/>
                </a:lnTo>
                <a:lnTo>
                  <a:pt x="282" y="408"/>
                </a:lnTo>
                <a:lnTo>
                  <a:pt x="301" y="399"/>
                </a:lnTo>
                <a:lnTo>
                  <a:pt x="309" y="394"/>
                </a:lnTo>
                <a:lnTo>
                  <a:pt x="318" y="389"/>
                </a:lnTo>
                <a:lnTo>
                  <a:pt x="326" y="383"/>
                </a:lnTo>
                <a:lnTo>
                  <a:pt x="333" y="377"/>
                </a:lnTo>
                <a:lnTo>
                  <a:pt x="339" y="369"/>
                </a:lnTo>
                <a:lnTo>
                  <a:pt x="345" y="362"/>
                </a:lnTo>
                <a:lnTo>
                  <a:pt x="351" y="355"/>
                </a:lnTo>
                <a:lnTo>
                  <a:pt x="356" y="347"/>
                </a:lnTo>
                <a:lnTo>
                  <a:pt x="361" y="337"/>
                </a:lnTo>
                <a:lnTo>
                  <a:pt x="366" y="329"/>
                </a:lnTo>
                <a:lnTo>
                  <a:pt x="373" y="309"/>
                </a:lnTo>
                <a:lnTo>
                  <a:pt x="378" y="287"/>
                </a:lnTo>
                <a:lnTo>
                  <a:pt x="382" y="264"/>
                </a:lnTo>
                <a:lnTo>
                  <a:pt x="384" y="239"/>
                </a:lnTo>
                <a:lnTo>
                  <a:pt x="385" y="211"/>
                </a:lnTo>
                <a:lnTo>
                  <a:pt x="385" y="211"/>
                </a:lnTo>
                <a:lnTo>
                  <a:pt x="384" y="187"/>
                </a:lnTo>
                <a:lnTo>
                  <a:pt x="381" y="164"/>
                </a:lnTo>
                <a:lnTo>
                  <a:pt x="377" y="143"/>
                </a:lnTo>
                <a:lnTo>
                  <a:pt x="371" y="122"/>
                </a:lnTo>
                <a:lnTo>
                  <a:pt x="363" y="104"/>
                </a:lnTo>
                <a:lnTo>
                  <a:pt x="352" y="86"/>
                </a:lnTo>
                <a:lnTo>
                  <a:pt x="341" y="71"/>
                </a:lnTo>
                <a:lnTo>
                  <a:pt x="328" y="57"/>
                </a:lnTo>
                <a:lnTo>
                  <a:pt x="314" y="43"/>
                </a:lnTo>
                <a:lnTo>
                  <a:pt x="297" y="32"/>
                </a:lnTo>
                <a:lnTo>
                  <a:pt x="280" y="23"/>
                </a:lnTo>
                <a:lnTo>
                  <a:pt x="260" y="14"/>
                </a:lnTo>
                <a:lnTo>
                  <a:pt x="240" y="8"/>
                </a:lnTo>
                <a:lnTo>
                  <a:pt x="218" y="4"/>
                </a:lnTo>
                <a:lnTo>
                  <a:pt x="195" y="1"/>
                </a:lnTo>
                <a:lnTo>
                  <a:pt x="17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5EB8"/>
              </a:solidFill>
            </a:endParaRPr>
          </a:p>
        </p:txBody>
      </p:sp>
      <p:grpSp>
        <p:nvGrpSpPr>
          <p:cNvPr id="60" name="Group 4"/>
          <p:cNvGrpSpPr>
            <a:grpSpLocks noChangeAspect="1"/>
          </p:cNvGrpSpPr>
          <p:nvPr/>
        </p:nvGrpSpPr>
        <p:grpSpPr bwMode="auto">
          <a:xfrm>
            <a:off x="7790558" y="6524917"/>
            <a:ext cx="1003300" cy="132209"/>
            <a:chOff x="4649" y="3974"/>
            <a:chExt cx="812" cy="107"/>
          </a:xfrm>
        </p:grpSpPr>
        <p:sp>
          <p:nvSpPr>
            <p:cNvPr id="61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4649" y="3974"/>
              <a:ext cx="812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4649" y="3974"/>
              <a:ext cx="812" cy="107"/>
            </a:xfrm>
            <a:custGeom>
              <a:avLst/>
              <a:gdLst>
                <a:gd name="T0" fmla="*/ 2293 w 3248"/>
                <a:gd name="T1" fmla="*/ 424 h 428"/>
                <a:gd name="T2" fmla="*/ 2209 w 3248"/>
                <a:gd name="T3" fmla="*/ 355 h 428"/>
                <a:gd name="T4" fmla="*/ 2159 w 3248"/>
                <a:gd name="T5" fmla="*/ 76 h 428"/>
                <a:gd name="T6" fmla="*/ 2306 w 3248"/>
                <a:gd name="T7" fmla="*/ 5 h 428"/>
                <a:gd name="T8" fmla="*/ 2042 w 3248"/>
                <a:gd name="T9" fmla="*/ 407 h 428"/>
                <a:gd name="T10" fmla="*/ 611 w 3248"/>
                <a:gd name="T11" fmla="*/ 11 h 428"/>
                <a:gd name="T12" fmla="*/ 672 w 3248"/>
                <a:gd name="T13" fmla="*/ 353 h 428"/>
                <a:gd name="T14" fmla="*/ 737 w 3248"/>
                <a:gd name="T15" fmla="*/ 376 h 428"/>
                <a:gd name="T16" fmla="*/ 909 w 3248"/>
                <a:gd name="T17" fmla="*/ 1 h 428"/>
                <a:gd name="T18" fmla="*/ 261 w 3248"/>
                <a:gd name="T19" fmla="*/ 332 h 428"/>
                <a:gd name="T20" fmla="*/ 114 w 3248"/>
                <a:gd name="T21" fmla="*/ 347 h 428"/>
                <a:gd name="T22" fmla="*/ 94 w 3248"/>
                <a:gd name="T23" fmla="*/ 277 h 428"/>
                <a:gd name="T24" fmla="*/ 261 w 3248"/>
                <a:gd name="T25" fmla="*/ 332 h 428"/>
                <a:gd name="T26" fmla="*/ 52 w 3248"/>
                <a:gd name="T27" fmla="*/ 102 h 428"/>
                <a:gd name="T28" fmla="*/ 234 w 3248"/>
                <a:gd name="T29" fmla="*/ 90 h 428"/>
                <a:gd name="T30" fmla="*/ 179 w 3248"/>
                <a:gd name="T31" fmla="*/ 176 h 428"/>
                <a:gd name="T32" fmla="*/ 9 w 3248"/>
                <a:gd name="T33" fmla="*/ 257 h 428"/>
                <a:gd name="T34" fmla="*/ 35 w 3248"/>
                <a:gd name="T35" fmla="*/ 394 h 428"/>
                <a:gd name="T36" fmla="*/ 164 w 3248"/>
                <a:gd name="T37" fmla="*/ 426 h 428"/>
                <a:gd name="T38" fmla="*/ 284 w 3248"/>
                <a:gd name="T39" fmla="*/ 404 h 428"/>
                <a:gd name="T40" fmla="*/ 331 w 3248"/>
                <a:gd name="T41" fmla="*/ 45 h 428"/>
                <a:gd name="T42" fmla="*/ 1319 w 3248"/>
                <a:gd name="T43" fmla="*/ 332 h 428"/>
                <a:gd name="T44" fmla="*/ 1168 w 3248"/>
                <a:gd name="T45" fmla="*/ 344 h 428"/>
                <a:gd name="T46" fmla="*/ 1155 w 3248"/>
                <a:gd name="T47" fmla="*/ 272 h 428"/>
                <a:gd name="T48" fmla="*/ 1264 w 3248"/>
                <a:gd name="T49" fmla="*/ 0 h 428"/>
                <a:gd name="T50" fmla="*/ 1122 w 3248"/>
                <a:gd name="T51" fmla="*/ 98 h 428"/>
                <a:gd name="T52" fmla="*/ 1298 w 3248"/>
                <a:gd name="T53" fmla="*/ 94 h 428"/>
                <a:gd name="T54" fmla="*/ 1212 w 3248"/>
                <a:gd name="T55" fmla="*/ 177 h 428"/>
                <a:gd name="T56" fmla="*/ 1064 w 3248"/>
                <a:gd name="T57" fmla="*/ 270 h 428"/>
                <a:gd name="T58" fmla="*/ 1102 w 3248"/>
                <a:gd name="T59" fmla="*/ 401 h 428"/>
                <a:gd name="T60" fmla="*/ 1246 w 3248"/>
                <a:gd name="T61" fmla="*/ 423 h 428"/>
                <a:gd name="T62" fmla="*/ 1354 w 3248"/>
                <a:gd name="T63" fmla="*/ 407 h 428"/>
                <a:gd name="T64" fmla="*/ 1381 w 3248"/>
                <a:gd name="T65" fmla="*/ 36 h 428"/>
                <a:gd name="T66" fmla="*/ 2714 w 3248"/>
                <a:gd name="T67" fmla="*/ 326 h 428"/>
                <a:gd name="T68" fmla="*/ 2576 w 3248"/>
                <a:gd name="T69" fmla="*/ 337 h 428"/>
                <a:gd name="T70" fmla="*/ 2533 w 3248"/>
                <a:gd name="T71" fmla="*/ 4 h 428"/>
                <a:gd name="T72" fmla="*/ 2468 w 3248"/>
                <a:gd name="T73" fmla="*/ 364 h 428"/>
                <a:gd name="T74" fmla="*/ 2611 w 3248"/>
                <a:gd name="T75" fmla="*/ 427 h 428"/>
                <a:gd name="T76" fmla="*/ 2761 w 3248"/>
                <a:gd name="T77" fmla="*/ 403 h 428"/>
                <a:gd name="T78" fmla="*/ 2937 w 3248"/>
                <a:gd name="T79" fmla="*/ 413 h 428"/>
                <a:gd name="T80" fmla="*/ 3135 w 3248"/>
                <a:gd name="T81" fmla="*/ 422 h 428"/>
                <a:gd name="T82" fmla="*/ 3248 w 3248"/>
                <a:gd name="T83" fmla="*/ 300 h 428"/>
                <a:gd name="T84" fmla="*/ 3184 w 3248"/>
                <a:gd name="T85" fmla="*/ 204 h 428"/>
                <a:gd name="T86" fmla="*/ 3038 w 3248"/>
                <a:gd name="T87" fmla="*/ 127 h 428"/>
                <a:gd name="T88" fmla="*/ 3076 w 3248"/>
                <a:gd name="T89" fmla="*/ 76 h 428"/>
                <a:gd name="T90" fmla="*/ 3232 w 3248"/>
                <a:gd name="T91" fmla="*/ 30 h 428"/>
                <a:gd name="T92" fmla="*/ 3039 w 3248"/>
                <a:gd name="T93" fmla="*/ 8 h 428"/>
                <a:gd name="T94" fmla="*/ 2943 w 3248"/>
                <a:gd name="T95" fmla="*/ 122 h 428"/>
                <a:gd name="T96" fmla="*/ 3021 w 3248"/>
                <a:gd name="T97" fmla="*/ 229 h 428"/>
                <a:gd name="T98" fmla="*/ 3154 w 3248"/>
                <a:gd name="T99" fmla="*/ 300 h 428"/>
                <a:gd name="T100" fmla="*/ 3113 w 3248"/>
                <a:gd name="T101" fmla="*/ 350 h 428"/>
                <a:gd name="T102" fmla="*/ 1639 w 3248"/>
                <a:gd name="T103" fmla="*/ 80 h 428"/>
                <a:gd name="T104" fmla="*/ 1790 w 3248"/>
                <a:gd name="T105" fmla="*/ 97 h 428"/>
                <a:gd name="T106" fmla="*/ 1832 w 3248"/>
                <a:gd name="T107" fmla="*/ 245 h 428"/>
                <a:gd name="T108" fmla="*/ 1739 w 3248"/>
                <a:gd name="T109" fmla="*/ 353 h 428"/>
                <a:gd name="T110" fmla="*/ 1652 w 3248"/>
                <a:gd name="T111" fmla="*/ 4 h 428"/>
                <a:gd name="T112" fmla="*/ 1701 w 3248"/>
                <a:gd name="T113" fmla="*/ 428 h 428"/>
                <a:gd name="T114" fmla="*/ 1885 w 3248"/>
                <a:gd name="T115" fmla="*/ 369 h 428"/>
                <a:gd name="T116" fmla="*/ 1930 w 3248"/>
                <a:gd name="T117" fmla="*/ 187 h 428"/>
                <a:gd name="T118" fmla="*/ 1786 w 3248"/>
                <a:gd name="T119" fmla="*/ 8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48" h="428">
                  <a:moveTo>
                    <a:pt x="2042" y="407"/>
                  </a:moveTo>
                  <a:lnTo>
                    <a:pt x="2042" y="407"/>
                  </a:lnTo>
                  <a:lnTo>
                    <a:pt x="2055" y="411"/>
                  </a:lnTo>
                  <a:lnTo>
                    <a:pt x="2089" y="418"/>
                  </a:lnTo>
                  <a:lnTo>
                    <a:pt x="2113" y="421"/>
                  </a:lnTo>
                  <a:lnTo>
                    <a:pt x="2140" y="425"/>
                  </a:lnTo>
                  <a:lnTo>
                    <a:pt x="2171" y="427"/>
                  </a:lnTo>
                  <a:lnTo>
                    <a:pt x="2205" y="428"/>
                  </a:lnTo>
                  <a:lnTo>
                    <a:pt x="2205" y="428"/>
                  </a:lnTo>
                  <a:lnTo>
                    <a:pt x="2239" y="427"/>
                  </a:lnTo>
                  <a:lnTo>
                    <a:pt x="2268" y="426"/>
                  </a:lnTo>
                  <a:lnTo>
                    <a:pt x="2293" y="424"/>
                  </a:lnTo>
                  <a:lnTo>
                    <a:pt x="2312" y="422"/>
                  </a:lnTo>
                  <a:lnTo>
                    <a:pt x="2339" y="419"/>
                  </a:lnTo>
                  <a:lnTo>
                    <a:pt x="2347" y="417"/>
                  </a:lnTo>
                  <a:lnTo>
                    <a:pt x="2347" y="346"/>
                  </a:lnTo>
                  <a:lnTo>
                    <a:pt x="2347" y="346"/>
                  </a:lnTo>
                  <a:lnTo>
                    <a:pt x="2339" y="347"/>
                  </a:lnTo>
                  <a:lnTo>
                    <a:pt x="2314" y="351"/>
                  </a:lnTo>
                  <a:lnTo>
                    <a:pt x="2277" y="354"/>
                  </a:lnTo>
                  <a:lnTo>
                    <a:pt x="2255" y="355"/>
                  </a:lnTo>
                  <a:lnTo>
                    <a:pt x="2230" y="355"/>
                  </a:lnTo>
                  <a:lnTo>
                    <a:pt x="2230" y="355"/>
                  </a:lnTo>
                  <a:lnTo>
                    <a:pt x="2209" y="355"/>
                  </a:lnTo>
                  <a:lnTo>
                    <a:pt x="2191" y="354"/>
                  </a:lnTo>
                  <a:lnTo>
                    <a:pt x="2160" y="351"/>
                  </a:lnTo>
                  <a:lnTo>
                    <a:pt x="2141" y="349"/>
                  </a:lnTo>
                  <a:lnTo>
                    <a:pt x="2134" y="348"/>
                  </a:lnTo>
                  <a:lnTo>
                    <a:pt x="2134" y="247"/>
                  </a:lnTo>
                  <a:lnTo>
                    <a:pt x="2318" y="247"/>
                  </a:lnTo>
                  <a:lnTo>
                    <a:pt x="2318" y="175"/>
                  </a:lnTo>
                  <a:lnTo>
                    <a:pt x="2134" y="175"/>
                  </a:lnTo>
                  <a:lnTo>
                    <a:pt x="2134" y="79"/>
                  </a:lnTo>
                  <a:lnTo>
                    <a:pt x="2134" y="79"/>
                  </a:lnTo>
                  <a:lnTo>
                    <a:pt x="2141" y="78"/>
                  </a:lnTo>
                  <a:lnTo>
                    <a:pt x="2159" y="76"/>
                  </a:lnTo>
                  <a:lnTo>
                    <a:pt x="2187" y="74"/>
                  </a:lnTo>
                  <a:lnTo>
                    <a:pt x="2224" y="73"/>
                  </a:lnTo>
                  <a:lnTo>
                    <a:pt x="2224" y="73"/>
                  </a:lnTo>
                  <a:lnTo>
                    <a:pt x="2247" y="73"/>
                  </a:lnTo>
                  <a:lnTo>
                    <a:pt x="2268" y="74"/>
                  </a:lnTo>
                  <a:lnTo>
                    <a:pt x="2305" y="77"/>
                  </a:lnTo>
                  <a:lnTo>
                    <a:pt x="2331" y="80"/>
                  </a:lnTo>
                  <a:lnTo>
                    <a:pt x="2340" y="82"/>
                  </a:lnTo>
                  <a:lnTo>
                    <a:pt x="2340" y="10"/>
                  </a:lnTo>
                  <a:lnTo>
                    <a:pt x="2340" y="10"/>
                  </a:lnTo>
                  <a:lnTo>
                    <a:pt x="2331" y="9"/>
                  </a:lnTo>
                  <a:lnTo>
                    <a:pt x="2306" y="5"/>
                  </a:lnTo>
                  <a:lnTo>
                    <a:pt x="2266" y="2"/>
                  </a:lnTo>
                  <a:lnTo>
                    <a:pt x="2242" y="1"/>
                  </a:lnTo>
                  <a:lnTo>
                    <a:pt x="2214" y="0"/>
                  </a:lnTo>
                  <a:lnTo>
                    <a:pt x="2214" y="0"/>
                  </a:lnTo>
                  <a:lnTo>
                    <a:pt x="2176" y="1"/>
                  </a:lnTo>
                  <a:lnTo>
                    <a:pt x="2144" y="3"/>
                  </a:lnTo>
                  <a:lnTo>
                    <a:pt x="2114" y="6"/>
                  </a:lnTo>
                  <a:lnTo>
                    <a:pt x="2089" y="9"/>
                  </a:lnTo>
                  <a:lnTo>
                    <a:pt x="2069" y="13"/>
                  </a:lnTo>
                  <a:lnTo>
                    <a:pt x="2055" y="15"/>
                  </a:lnTo>
                  <a:lnTo>
                    <a:pt x="2042" y="19"/>
                  </a:lnTo>
                  <a:lnTo>
                    <a:pt x="2042" y="407"/>
                  </a:lnTo>
                  <a:close/>
                  <a:moveTo>
                    <a:pt x="726" y="246"/>
                  </a:moveTo>
                  <a:lnTo>
                    <a:pt x="726" y="246"/>
                  </a:lnTo>
                  <a:lnTo>
                    <a:pt x="722" y="257"/>
                  </a:lnTo>
                  <a:lnTo>
                    <a:pt x="719" y="270"/>
                  </a:lnTo>
                  <a:lnTo>
                    <a:pt x="719" y="270"/>
                  </a:lnTo>
                  <a:lnTo>
                    <a:pt x="715" y="257"/>
                  </a:lnTo>
                  <a:lnTo>
                    <a:pt x="712" y="246"/>
                  </a:lnTo>
                  <a:lnTo>
                    <a:pt x="630" y="39"/>
                  </a:lnTo>
                  <a:lnTo>
                    <a:pt x="630" y="39"/>
                  </a:lnTo>
                  <a:lnTo>
                    <a:pt x="624" y="28"/>
                  </a:lnTo>
                  <a:lnTo>
                    <a:pt x="618" y="19"/>
                  </a:lnTo>
                  <a:lnTo>
                    <a:pt x="611" y="11"/>
                  </a:lnTo>
                  <a:lnTo>
                    <a:pt x="603" y="7"/>
                  </a:lnTo>
                  <a:lnTo>
                    <a:pt x="593" y="3"/>
                  </a:lnTo>
                  <a:lnTo>
                    <a:pt x="581" y="1"/>
                  </a:lnTo>
                  <a:lnTo>
                    <a:pt x="569" y="1"/>
                  </a:lnTo>
                  <a:lnTo>
                    <a:pt x="555" y="0"/>
                  </a:lnTo>
                  <a:lnTo>
                    <a:pt x="555" y="0"/>
                  </a:lnTo>
                  <a:lnTo>
                    <a:pt x="529" y="1"/>
                  </a:lnTo>
                  <a:lnTo>
                    <a:pt x="513" y="2"/>
                  </a:lnTo>
                  <a:lnTo>
                    <a:pt x="471" y="422"/>
                  </a:lnTo>
                  <a:lnTo>
                    <a:pt x="564" y="422"/>
                  </a:lnTo>
                  <a:lnTo>
                    <a:pt x="584" y="140"/>
                  </a:lnTo>
                  <a:lnTo>
                    <a:pt x="672" y="353"/>
                  </a:lnTo>
                  <a:lnTo>
                    <a:pt x="672" y="353"/>
                  </a:lnTo>
                  <a:lnTo>
                    <a:pt x="675" y="359"/>
                  </a:lnTo>
                  <a:lnTo>
                    <a:pt x="679" y="364"/>
                  </a:lnTo>
                  <a:lnTo>
                    <a:pt x="684" y="368"/>
                  </a:lnTo>
                  <a:lnTo>
                    <a:pt x="689" y="371"/>
                  </a:lnTo>
                  <a:lnTo>
                    <a:pt x="695" y="373"/>
                  </a:lnTo>
                  <a:lnTo>
                    <a:pt x="702" y="376"/>
                  </a:lnTo>
                  <a:lnTo>
                    <a:pt x="710" y="377"/>
                  </a:lnTo>
                  <a:lnTo>
                    <a:pt x="719" y="377"/>
                  </a:lnTo>
                  <a:lnTo>
                    <a:pt x="719" y="377"/>
                  </a:lnTo>
                  <a:lnTo>
                    <a:pt x="728" y="377"/>
                  </a:lnTo>
                  <a:lnTo>
                    <a:pt x="737" y="376"/>
                  </a:lnTo>
                  <a:lnTo>
                    <a:pt x="744" y="373"/>
                  </a:lnTo>
                  <a:lnTo>
                    <a:pt x="750" y="371"/>
                  </a:lnTo>
                  <a:lnTo>
                    <a:pt x="755" y="368"/>
                  </a:lnTo>
                  <a:lnTo>
                    <a:pt x="759" y="364"/>
                  </a:lnTo>
                  <a:lnTo>
                    <a:pt x="762" y="359"/>
                  </a:lnTo>
                  <a:lnTo>
                    <a:pt x="765" y="353"/>
                  </a:lnTo>
                  <a:lnTo>
                    <a:pt x="853" y="140"/>
                  </a:lnTo>
                  <a:lnTo>
                    <a:pt x="874" y="422"/>
                  </a:lnTo>
                  <a:lnTo>
                    <a:pt x="967" y="422"/>
                  </a:lnTo>
                  <a:lnTo>
                    <a:pt x="925" y="2"/>
                  </a:lnTo>
                  <a:lnTo>
                    <a:pt x="925" y="2"/>
                  </a:lnTo>
                  <a:lnTo>
                    <a:pt x="909" y="1"/>
                  </a:lnTo>
                  <a:lnTo>
                    <a:pt x="883" y="0"/>
                  </a:lnTo>
                  <a:lnTo>
                    <a:pt x="883" y="0"/>
                  </a:lnTo>
                  <a:lnTo>
                    <a:pt x="868" y="1"/>
                  </a:lnTo>
                  <a:lnTo>
                    <a:pt x="856" y="1"/>
                  </a:lnTo>
                  <a:lnTo>
                    <a:pt x="845" y="3"/>
                  </a:lnTo>
                  <a:lnTo>
                    <a:pt x="836" y="7"/>
                  </a:lnTo>
                  <a:lnTo>
                    <a:pt x="827" y="11"/>
                  </a:lnTo>
                  <a:lnTo>
                    <a:pt x="819" y="19"/>
                  </a:lnTo>
                  <a:lnTo>
                    <a:pt x="813" y="28"/>
                  </a:lnTo>
                  <a:lnTo>
                    <a:pt x="808" y="39"/>
                  </a:lnTo>
                  <a:lnTo>
                    <a:pt x="726" y="246"/>
                  </a:lnTo>
                  <a:close/>
                  <a:moveTo>
                    <a:pt x="261" y="332"/>
                  </a:moveTo>
                  <a:lnTo>
                    <a:pt x="261" y="332"/>
                  </a:lnTo>
                  <a:lnTo>
                    <a:pt x="241" y="338"/>
                  </a:lnTo>
                  <a:lnTo>
                    <a:pt x="215" y="347"/>
                  </a:lnTo>
                  <a:lnTo>
                    <a:pt x="200" y="350"/>
                  </a:lnTo>
                  <a:lnTo>
                    <a:pt x="186" y="353"/>
                  </a:lnTo>
                  <a:lnTo>
                    <a:pt x="172" y="355"/>
                  </a:lnTo>
                  <a:lnTo>
                    <a:pt x="157" y="355"/>
                  </a:lnTo>
                  <a:lnTo>
                    <a:pt x="157" y="355"/>
                  </a:lnTo>
                  <a:lnTo>
                    <a:pt x="144" y="355"/>
                  </a:lnTo>
                  <a:lnTo>
                    <a:pt x="131" y="353"/>
                  </a:lnTo>
                  <a:lnTo>
                    <a:pt x="120" y="349"/>
                  </a:lnTo>
                  <a:lnTo>
                    <a:pt x="114" y="347"/>
                  </a:lnTo>
                  <a:lnTo>
                    <a:pt x="109" y="344"/>
                  </a:lnTo>
                  <a:lnTo>
                    <a:pt x="105" y="340"/>
                  </a:lnTo>
                  <a:lnTo>
                    <a:pt x="101" y="336"/>
                  </a:lnTo>
                  <a:lnTo>
                    <a:pt x="98" y="331"/>
                  </a:lnTo>
                  <a:lnTo>
                    <a:pt x="95" y="326"/>
                  </a:lnTo>
                  <a:lnTo>
                    <a:pt x="93" y="321"/>
                  </a:lnTo>
                  <a:lnTo>
                    <a:pt x="92" y="315"/>
                  </a:lnTo>
                  <a:lnTo>
                    <a:pt x="91" y="308"/>
                  </a:lnTo>
                  <a:lnTo>
                    <a:pt x="90" y="300"/>
                  </a:lnTo>
                  <a:lnTo>
                    <a:pt x="90" y="300"/>
                  </a:lnTo>
                  <a:lnTo>
                    <a:pt x="91" y="288"/>
                  </a:lnTo>
                  <a:lnTo>
                    <a:pt x="94" y="277"/>
                  </a:lnTo>
                  <a:lnTo>
                    <a:pt x="96" y="272"/>
                  </a:lnTo>
                  <a:lnTo>
                    <a:pt x="99" y="266"/>
                  </a:lnTo>
                  <a:lnTo>
                    <a:pt x="103" y="262"/>
                  </a:lnTo>
                  <a:lnTo>
                    <a:pt x="106" y="258"/>
                  </a:lnTo>
                  <a:lnTo>
                    <a:pt x="111" y="255"/>
                  </a:lnTo>
                  <a:lnTo>
                    <a:pt x="116" y="252"/>
                  </a:lnTo>
                  <a:lnTo>
                    <a:pt x="123" y="249"/>
                  </a:lnTo>
                  <a:lnTo>
                    <a:pt x="129" y="247"/>
                  </a:lnTo>
                  <a:lnTo>
                    <a:pt x="145" y="244"/>
                  </a:lnTo>
                  <a:lnTo>
                    <a:pt x="162" y="242"/>
                  </a:lnTo>
                  <a:lnTo>
                    <a:pt x="261" y="239"/>
                  </a:lnTo>
                  <a:lnTo>
                    <a:pt x="261" y="332"/>
                  </a:lnTo>
                  <a:close/>
                  <a:moveTo>
                    <a:pt x="205" y="0"/>
                  </a:moveTo>
                  <a:lnTo>
                    <a:pt x="205" y="0"/>
                  </a:lnTo>
                  <a:lnTo>
                    <a:pt x="176" y="1"/>
                  </a:lnTo>
                  <a:lnTo>
                    <a:pt x="147" y="4"/>
                  </a:lnTo>
                  <a:lnTo>
                    <a:pt x="121" y="7"/>
                  </a:lnTo>
                  <a:lnTo>
                    <a:pt x="97" y="12"/>
                  </a:lnTo>
                  <a:lnTo>
                    <a:pt x="77" y="17"/>
                  </a:lnTo>
                  <a:lnTo>
                    <a:pt x="58" y="23"/>
                  </a:lnTo>
                  <a:lnTo>
                    <a:pt x="44" y="28"/>
                  </a:lnTo>
                  <a:lnTo>
                    <a:pt x="33" y="33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63" y="98"/>
                  </a:lnTo>
                  <a:lnTo>
                    <a:pt x="92" y="91"/>
                  </a:lnTo>
                  <a:lnTo>
                    <a:pt x="111" y="86"/>
                  </a:lnTo>
                  <a:lnTo>
                    <a:pt x="133" y="82"/>
                  </a:lnTo>
                  <a:lnTo>
                    <a:pt x="155" y="80"/>
                  </a:lnTo>
                  <a:lnTo>
                    <a:pt x="179" y="79"/>
                  </a:lnTo>
                  <a:lnTo>
                    <a:pt x="179" y="79"/>
                  </a:lnTo>
                  <a:lnTo>
                    <a:pt x="197" y="80"/>
                  </a:lnTo>
                  <a:lnTo>
                    <a:pt x="214" y="82"/>
                  </a:lnTo>
                  <a:lnTo>
                    <a:pt x="221" y="84"/>
                  </a:lnTo>
                  <a:lnTo>
                    <a:pt x="228" y="86"/>
                  </a:lnTo>
                  <a:lnTo>
                    <a:pt x="234" y="90"/>
                  </a:lnTo>
                  <a:lnTo>
                    <a:pt x="239" y="94"/>
                  </a:lnTo>
                  <a:lnTo>
                    <a:pt x="244" y="98"/>
                  </a:lnTo>
                  <a:lnTo>
                    <a:pt x="248" y="102"/>
                  </a:lnTo>
                  <a:lnTo>
                    <a:pt x="251" y="108"/>
                  </a:lnTo>
                  <a:lnTo>
                    <a:pt x="254" y="114"/>
                  </a:lnTo>
                  <a:lnTo>
                    <a:pt x="256" y="120"/>
                  </a:lnTo>
                  <a:lnTo>
                    <a:pt x="258" y="129"/>
                  </a:lnTo>
                  <a:lnTo>
                    <a:pt x="260" y="137"/>
                  </a:lnTo>
                  <a:lnTo>
                    <a:pt x="260" y="146"/>
                  </a:lnTo>
                  <a:lnTo>
                    <a:pt x="260" y="176"/>
                  </a:lnTo>
                  <a:lnTo>
                    <a:pt x="179" y="176"/>
                  </a:lnTo>
                  <a:lnTo>
                    <a:pt x="179" y="176"/>
                  </a:lnTo>
                  <a:lnTo>
                    <a:pt x="154" y="177"/>
                  </a:lnTo>
                  <a:lnTo>
                    <a:pt x="132" y="179"/>
                  </a:lnTo>
                  <a:lnTo>
                    <a:pt x="111" y="182"/>
                  </a:lnTo>
                  <a:lnTo>
                    <a:pt x="93" y="187"/>
                  </a:lnTo>
                  <a:lnTo>
                    <a:pt x="77" y="192"/>
                  </a:lnTo>
                  <a:lnTo>
                    <a:pt x="61" y="200"/>
                  </a:lnTo>
                  <a:lnTo>
                    <a:pt x="49" y="207"/>
                  </a:lnTo>
                  <a:lnTo>
                    <a:pt x="38" y="216"/>
                  </a:lnTo>
                  <a:lnTo>
                    <a:pt x="29" y="225"/>
                  </a:lnTo>
                  <a:lnTo>
                    <a:pt x="20" y="236"/>
                  </a:lnTo>
                  <a:lnTo>
                    <a:pt x="14" y="246"/>
                  </a:lnTo>
                  <a:lnTo>
                    <a:pt x="9" y="257"/>
                  </a:lnTo>
                  <a:lnTo>
                    <a:pt x="5" y="270"/>
                  </a:lnTo>
                  <a:lnTo>
                    <a:pt x="2" y="282"/>
                  </a:lnTo>
                  <a:lnTo>
                    <a:pt x="1" y="294"/>
                  </a:lnTo>
                  <a:lnTo>
                    <a:pt x="0" y="307"/>
                  </a:lnTo>
                  <a:lnTo>
                    <a:pt x="0" y="307"/>
                  </a:lnTo>
                  <a:lnTo>
                    <a:pt x="1" y="323"/>
                  </a:lnTo>
                  <a:lnTo>
                    <a:pt x="3" y="338"/>
                  </a:lnTo>
                  <a:lnTo>
                    <a:pt x="7" y="352"/>
                  </a:lnTo>
                  <a:lnTo>
                    <a:pt x="12" y="364"/>
                  </a:lnTo>
                  <a:lnTo>
                    <a:pt x="19" y="376"/>
                  </a:lnTo>
                  <a:lnTo>
                    <a:pt x="27" y="386"/>
                  </a:lnTo>
                  <a:lnTo>
                    <a:pt x="35" y="394"/>
                  </a:lnTo>
                  <a:lnTo>
                    <a:pt x="45" y="401"/>
                  </a:lnTo>
                  <a:lnTo>
                    <a:pt x="54" y="408"/>
                  </a:lnTo>
                  <a:lnTo>
                    <a:pt x="65" y="414"/>
                  </a:lnTo>
                  <a:lnTo>
                    <a:pt x="77" y="418"/>
                  </a:lnTo>
                  <a:lnTo>
                    <a:pt x="89" y="422"/>
                  </a:lnTo>
                  <a:lnTo>
                    <a:pt x="101" y="424"/>
                  </a:lnTo>
                  <a:lnTo>
                    <a:pt x="113" y="426"/>
                  </a:lnTo>
                  <a:lnTo>
                    <a:pt x="126" y="427"/>
                  </a:lnTo>
                  <a:lnTo>
                    <a:pt x="138" y="428"/>
                  </a:lnTo>
                  <a:lnTo>
                    <a:pt x="138" y="428"/>
                  </a:lnTo>
                  <a:lnTo>
                    <a:pt x="151" y="427"/>
                  </a:lnTo>
                  <a:lnTo>
                    <a:pt x="164" y="426"/>
                  </a:lnTo>
                  <a:lnTo>
                    <a:pt x="189" y="423"/>
                  </a:lnTo>
                  <a:lnTo>
                    <a:pt x="209" y="418"/>
                  </a:lnTo>
                  <a:lnTo>
                    <a:pt x="227" y="412"/>
                  </a:lnTo>
                  <a:lnTo>
                    <a:pt x="241" y="406"/>
                  </a:lnTo>
                  <a:lnTo>
                    <a:pt x="252" y="401"/>
                  </a:lnTo>
                  <a:lnTo>
                    <a:pt x="260" y="397"/>
                  </a:lnTo>
                  <a:lnTo>
                    <a:pt x="264" y="396"/>
                  </a:lnTo>
                  <a:lnTo>
                    <a:pt x="264" y="396"/>
                  </a:lnTo>
                  <a:lnTo>
                    <a:pt x="266" y="397"/>
                  </a:lnTo>
                  <a:lnTo>
                    <a:pt x="270" y="398"/>
                  </a:lnTo>
                  <a:lnTo>
                    <a:pt x="276" y="401"/>
                  </a:lnTo>
                  <a:lnTo>
                    <a:pt x="284" y="404"/>
                  </a:lnTo>
                  <a:lnTo>
                    <a:pt x="295" y="407"/>
                  </a:lnTo>
                  <a:lnTo>
                    <a:pt x="311" y="411"/>
                  </a:lnTo>
                  <a:lnTo>
                    <a:pt x="329" y="412"/>
                  </a:lnTo>
                  <a:lnTo>
                    <a:pt x="352" y="413"/>
                  </a:lnTo>
                  <a:lnTo>
                    <a:pt x="352" y="122"/>
                  </a:lnTo>
                  <a:lnTo>
                    <a:pt x="352" y="122"/>
                  </a:lnTo>
                  <a:lnTo>
                    <a:pt x="352" y="106"/>
                  </a:lnTo>
                  <a:lnTo>
                    <a:pt x="350" y="92"/>
                  </a:lnTo>
                  <a:lnTo>
                    <a:pt x="347" y="78"/>
                  </a:lnTo>
                  <a:lnTo>
                    <a:pt x="343" y="66"/>
                  </a:lnTo>
                  <a:lnTo>
                    <a:pt x="337" y="56"/>
                  </a:lnTo>
                  <a:lnTo>
                    <a:pt x="331" y="45"/>
                  </a:lnTo>
                  <a:lnTo>
                    <a:pt x="323" y="36"/>
                  </a:lnTo>
                  <a:lnTo>
                    <a:pt x="314" y="29"/>
                  </a:lnTo>
                  <a:lnTo>
                    <a:pt x="304" y="22"/>
                  </a:lnTo>
                  <a:lnTo>
                    <a:pt x="293" y="15"/>
                  </a:lnTo>
                  <a:lnTo>
                    <a:pt x="281" y="11"/>
                  </a:lnTo>
                  <a:lnTo>
                    <a:pt x="268" y="7"/>
                  </a:lnTo>
                  <a:lnTo>
                    <a:pt x="253" y="4"/>
                  </a:lnTo>
                  <a:lnTo>
                    <a:pt x="238" y="2"/>
                  </a:lnTo>
                  <a:lnTo>
                    <a:pt x="223" y="1"/>
                  </a:lnTo>
                  <a:lnTo>
                    <a:pt x="205" y="0"/>
                  </a:lnTo>
                  <a:close/>
                  <a:moveTo>
                    <a:pt x="1319" y="332"/>
                  </a:moveTo>
                  <a:lnTo>
                    <a:pt x="1319" y="332"/>
                  </a:lnTo>
                  <a:lnTo>
                    <a:pt x="1300" y="338"/>
                  </a:lnTo>
                  <a:lnTo>
                    <a:pt x="1273" y="347"/>
                  </a:lnTo>
                  <a:lnTo>
                    <a:pt x="1259" y="350"/>
                  </a:lnTo>
                  <a:lnTo>
                    <a:pt x="1243" y="353"/>
                  </a:lnTo>
                  <a:lnTo>
                    <a:pt x="1229" y="355"/>
                  </a:lnTo>
                  <a:lnTo>
                    <a:pt x="1216" y="355"/>
                  </a:lnTo>
                  <a:lnTo>
                    <a:pt x="1216" y="355"/>
                  </a:lnTo>
                  <a:lnTo>
                    <a:pt x="1202" y="355"/>
                  </a:lnTo>
                  <a:lnTo>
                    <a:pt x="1189" y="353"/>
                  </a:lnTo>
                  <a:lnTo>
                    <a:pt x="1177" y="349"/>
                  </a:lnTo>
                  <a:lnTo>
                    <a:pt x="1172" y="347"/>
                  </a:lnTo>
                  <a:lnTo>
                    <a:pt x="1168" y="344"/>
                  </a:lnTo>
                  <a:lnTo>
                    <a:pt x="1164" y="340"/>
                  </a:lnTo>
                  <a:lnTo>
                    <a:pt x="1160" y="336"/>
                  </a:lnTo>
                  <a:lnTo>
                    <a:pt x="1157" y="331"/>
                  </a:lnTo>
                  <a:lnTo>
                    <a:pt x="1154" y="326"/>
                  </a:lnTo>
                  <a:lnTo>
                    <a:pt x="1151" y="321"/>
                  </a:lnTo>
                  <a:lnTo>
                    <a:pt x="1149" y="315"/>
                  </a:lnTo>
                  <a:lnTo>
                    <a:pt x="1148" y="308"/>
                  </a:lnTo>
                  <a:lnTo>
                    <a:pt x="1148" y="300"/>
                  </a:lnTo>
                  <a:lnTo>
                    <a:pt x="1148" y="300"/>
                  </a:lnTo>
                  <a:lnTo>
                    <a:pt x="1149" y="288"/>
                  </a:lnTo>
                  <a:lnTo>
                    <a:pt x="1152" y="277"/>
                  </a:lnTo>
                  <a:lnTo>
                    <a:pt x="1155" y="272"/>
                  </a:lnTo>
                  <a:lnTo>
                    <a:pt x="1158" y="266"/>
                  </a:lnTo>
                  <a:lnTo>
                    <a:pt x="1161" y="262"/>
                  </a:lnTo>
                  <a:lnTo>
                    <a:pt x="1165" y="258"/>
                  </a:lnTo>
                  <a:lnTo>
                    <a:pt x="1170" y="255"/>
                  </a:lnTo>
                  <a:lnTo>
                    <a:pt x="1175" y="252"/>
                  </a:lnTo>
                  <a:lnTo>
                    <a:pt x="1181" y="249"/>
                  </a:lnTo>
                  <a:lnTo>
                    <a:pt x="1187" y="247"/>
                  </a:lnTo>
                  <a:lnTo>
                    <a:pt x="1203" y="244"/>
                  </a:lnTo>
                  <a:lnTo>
                    <a:pt x="1221" y="242"/>
                  </a:lnTo>
                  <a:lnTo>
                    <a:pt x="1319" y="239"/>
                  </a:lnTo>
                  <a:lnTo>
                    <a:pt x="1319" y="332"/>
                  </a:lnTo>
                  <a:close/>
                  <a:moveTo>
                    <a:pt x="1264" y="0"/>
                  </a:moveTo>
                  <a:lnTo>
                    <a:pt x="1264" y="0"/>
                  </a:lnTo>
                  <a:lnTo>
                    <a:pt x="1233" y="1"/>
                  </a:lnTo>
                  <a:lnTo>
                    <a:pt x="1206" y="4"/>
                  </a:lnTo>
                  <a:lnTo>
                    <a:pt x="1179" y="7"/>
                  </a:lnTo>
                  <a:lnTo>
                    <a:pt x="1156" y="12"/>
                  </a:lnTo>
                  <a:lnTo>
                    <a:pt x="1135" y="17"/>
                  </a:lnTo>
                  <a:lnTo>
                    <a:pt x="1117" y="23"/>
                  </a:lnTo>
                  <a:lnTo>
                    <a:pt x="1102" y="28"/>
                  </a:lnTo>
                  <a:lnTo>
                    <a:pt x="1091" y="33"/>
                  </a:lnTo>
                  <a:lnTo>
                    <a:pt x="1111" y="102"/>
                  </a:lnTo>
                  <a:lnTo>
                    <a:pt x="1111" y="102"/>
                  </a:lnTo>
                  <a:lnTo>
                    <a:pt x="1122" y="98"/>
                  </a:lnTo>
                  <a:lnTo>
                    <a:pt x="1150" y="91"/>
                  </a:lnTo>
                  <a:lnTo>
                    <a:pt x="1169" y="86"/>
                  </a:lnTo>
                  <a:lnTo>
                    <a:pt x="1190" y="82"/>
                  </a:lnTo>
                  <a:lnTo>
                    <a:pt x="1213" y="80"/>
                  </a:lnTo>
                  <a:lnTo>
                    <a:pt x="1236" y="79"/>
                  </a:lnTo>
                  <a:lnTo>
                    <a:pt x="1236" y="79"/>
                  </a:lnTo>
                  <a:lnTo>
                    <a:pt x="1256" y="80"/>
                  </a:lnTo>
                  <a:lnTo>
                    <a:pt x="1272" y="82"/>
                  </a:lnTo>
                  <a:lnTo>
                    <a:pt x="1279" y="84"/>
                  </a:lnTo>
                  <a:lnTo>
                    <a:pt x="1285" y="86"/>
                  </a:lnTo>
                  <a:lnTo>
                    <a:pt x="1291" y="90"/>
                  </a:lnTo>
                  <a:lnTo>
                    <a:pt x="1298" y="94"/>
                  </a:lnTo>
                  <a:lnTo>
                    <a:pt x="1302" y="98"/>
                  </a:lnTo>
                  <a:lnTo>
                    <a:pt x="1306" y="102"/>
                  </a:lnTo>
                  <a:lnTo>
                    <a:pt x="1310" y="108"/>
                  </a:lnTo>
                  <a:lnTo>
                    <a:pt x="1313" y="114"/>
                  </a:lnTo>
                  <a:lnTo>
                    <a:pt x="1315" y="120"/>
                  </a:lnTo>
                  <a:lnTo>
                    <a:pt x="1316" y="129"/>
                  </a:lnTo>
                  <a:lnTo>
                    <a:pt x="1317" y="137"/>
                  </a:lnTo>
                  <a:lnTo>
                    <a:pt x="1318" y="146"/>
                  </a:lnTo>
                  <a:lnTo>
                    <a:pt x="1318" y="176"/>
                  </a:lnTo>
                  <a:lnTo>
                    <a:pt x="1236" y="176"/>
                  </a:lnTo>
                  <a:lnTo>
                    <a:pt x="1236" y="176"/>
                  </a:lnTo>
                  <a:lnTo>
                    <a:pt x="1212" y="177"/>
                  </a:lnTo>
                  <a:lnTo>
                    <a:pt x="1189" y="179"/>
                  </a:lnTo>
                  <a:lnTo>
                    <a:pt x="1169" y="182"/>
                  </a:lnTo>
                  <a:lnTo>
                    <a:pt x="1150" y="187"/>
                  </a:lnTo>
                  <a:lnTo>
                    <a:pt x="1134" y="192"/>
                  </a:lnTo>
                  <a:lnTo>
                    <a:pt x="1120" y="200"/>
                  </a:lnTo>
                  <a:lnTo>
                    <a:pt x="1108" y="207"/>
                  </a:lnTo>
                  <a:lnTo>
                    <a:pt x="1096" y="216"/>
                  </a:lnTo>
                  <a:lnTo>
                    <a:pt x="1086" y="225"/>
                  </a:lnTo>
                  <a:lnTo>
                    <a:pt x="1079" y="236"/>
                  </a:lnTo>
                  <a:lnTo>
                    <a:pt x="1072" y="246"/>
                  </a:lnTo>
                  <a:lnTo>
                    <a:pt x="1067" y="257"/>
                  </a:lnTo>
                  <a:lnTo>
                    <a:pt x="1064" y="270"/>
                  </a:lnTo>
                  <a:lnTo>
                    <a:pt x="1061" y="282"/>
                  </a:lnTo>
                  <a:lnTo>
                    <a:pt x="1058" y="294"/>
                  </a:lnTo>
                  <a:lnTo>
                    <a:pt x="1058" y="307"/>
                  </a:lnTo>
                  <a:lnTo>
                    <a:pt x="1058" y="307"/>
                  </a:lnTo>
                  <a:lnTo>
                    <a:pt x="1060" y="323"/>
                  </a:lnTo>
                  <a:lnTo>
                    <a:pt x="1062" y="338"/>
                  </a:lnTo>
                  <a:lnTo>
                    <a:pt x="1066" y="352"/>
                  </a:lnTo>
                  <a:lnTo>
                    <a:pt x="1071" y="364"/>
                  </a:lnTo>
                  <a:lnTo>
                    <a:pt x="1077" y="376"/>
                  </a:lnTo>
                  <a:lnTo>
                    <a:pt x="1085" y="386"/>
                  </a:lnTo>
                  <a:lnTo>
                    <a:pt x="1093" y="394"/>
                  </a:lnTo>
                  <a:lnTo>
                    <a:pt x="1102" y="401"/>
                  </a:lnTo>
                  <a:lnTo>
                    <a:pt x="1113" y="408"/>
                  </a:lnTo>
                  <a:lnTo>
                    <a:pt x="1124" y="414"/>
                  </a:lnTo>
                  <a:lnTo>
                    <a:pt x="1135" y="418"/>
                  </a:lnTo>
                  <a:lnTo>
                    <a:pt x="1146" y="422"/>
                  </a:lnTo>
                  <a:lnTo>
                    <a:pt x="1159" y="424"/>
                  </a:lnTo>
                  <a:lnTo>
                    <a:pt x="1171" y="426"/>
                  </a:lnTo>
                  <a:lnTo>
                    <a:pt x="1183" y="427"/>
                  </a:lnTo>
                  <a:lnTo>
                    <a:pt x="1195" y="428"/>
                  </a:lnTo>
                  <a:lnTo>
                    <a:pt x="1195" y="428"/>
                  </a:lnTo>
                  <a:lnTo>
                    <a:pt x="1210" y="427"/>
                  </a:lnTo>
                  <a:lnTo>
                    <a:pt x="1223" y="426"/>
                  </a:lnTo>
                  <a:lnTo>
                    <a:pt x="1246" y="423"/>
                  </a:lnTo>
                  <a:lnTo>
                    <a:pt x="1268" y="418"/>
                  </a:lnTo>
                  <a:lnTo>
                    <a:pt x="1285" y="412"/>
                  </a:lnTo>
                  <a:lnTo>
                    <a:pt x="1300" y="406"/>
                  </a:lnTo>
                  <a:lnTo>
                    <a:pt x="1311" y="401"/>
                  </a:lnTo>
                  <a:lnTo>
                    <a:pt x="1318" y="397"/>
                  </a:lnTo>
                  <a:lnTo>
                    <a:pt x="1322" y="396"/>
                  </a:lnTo>
                  <a:lnTo>
                    <a:pt x="1322" y="396"/>
                  </a:lnTo>
                  <a:lnTo>
                    <a:pt x="1324" y="397"/>
                  </a:lnTo>
                  <a:lnTo>
                    <a:pt x="1327" y="398"/>
                  </a:lnTo>
                  <a:lnTo>
                    <a:pt x="1333" y="401"/>
                  </a:lnTo>
                  <a:lnTo>
                    <a:pt x="1341" y="404"/>
                  </a:lnTo>
                  <a:lnTo>
                    <a:pt x="1354" y="407"/>
                  </a:lnTo>
                  <a:lnTo>
                    <a:pt x="1368" y="411"/>
                  </a:lnTo>
                  <a:lnTo>
                    <a:pt x="1387" y="412"/>
                  </a:lnTo>
                  <a:lnTo>
                    <a:pt x="1411" y="413"/>
                  </a:lnTo>
                  <a:lnTo>
                    <a:pt x="1411" y="122"/>
                  </a:lnTo>
                  <a:lnTo>
                    <a:pt x="1411" y="122"/>
                  </a:lnTo>
                  <a:lnTo>
                    <a:pt x="1411" y="106"/>
                  </a:lnTo>
                  <a:lnTo>
                    <a:pt x="1409" y="92"/>
                  </a:lnTo>
                  <a:lnTo>
                    <a:pt x="1406" y="78"/>
                  </a:lnTo>
                  <a:lnTo>
                    <a:pt x="1401" y="66"/>
                  </a:lnTo>
                  <a:lnTo>
                    <a:pt x="1396" y="56"/>
                  </a:lnTo>
                  <a:lnTo>
                    <a:pt x="1388" y="45"/>
                  </a:lnTo>
                  <a:lnTo>
                    <a:pt x="1381" y="36"/>
                  </a:lnTo>
                  <a:lnTo>
                    <a:pt x="1372" y="29"/>
                  </a:lnTo>
                  <a:lnTo>
                    <a:pt x="1362" y="22"/>
                  </a:lnTo>
                  <a:lnTo>
                    <a:pt x="1351" y="15"/>
                  </a:lnTo>
                  <a:lnTo>
                    <a:pt x="1339" y="11"/>
                  </a:lnTo>
                  <a:lnTo>
                    <a:pt x="1326" y="7"/>
                  </a:lnTo>
                  <a:lnTo>
                    <a:pt x="1312" y="4"/>
                  </a:lnTo>
                  <a:lnTo>
                    <a:pt x="1297" y="2"/>
                  </a:lnTo>
                  <a:lnTo>
                    <a:pt x="1280" y="1"/>
                  </a:lnTo>
                  <a:lnTo>
                    <a:pt x="1264" y="0"/>
                  </a:lnTo>
                  <a:close/>
                  <a:moveTo>
                    <a:pt x="2735" y="317"/>
                  </a:moveTo>
                  <a:lnTo>
                    <a:pt x="2735" y="317"/>
                  </a:lnTo>
                  <a:lnTo>
                    <a:pt x="2714" y="326"/>
                  </a:lnTo>
                  <a:lnTo>
                    <a:pt x="2700" y="331"/>
                  </a:lnTo>
                  <a:lnTo>
                    <a:pt x="2686" y="335"/>
                  </a:lnTo>
                  <a:lnTo>
                    <a:pt x="2671" y="340"/>
                  </a:lnTo>
                  <a:lnTo>
                    <a:pt x="2654" y="343"/>
                  </a:lnTo>
                  <a:lnTo>
                    <a:pt x="2638" y="345"/>
                  </a:lnTo>
                  <a:lnTo>
                    <a:pt x="2621" y="346"/>
                  </a:lnTo>
                  <a:lnTo>
                    <a:pt x="2621" y="346"/>
                  </a:lnTo>
                  <a:lnTo>
                    <a:pt x="2609" y="346"/>
                  </a:lnTo>
                  <a:lnTo>
                    <a:pt x="2599" y="345"/>
                  </a:lnTo>
                  <a:lnTo>
                    <a:pt x="2590" y="343"/>
                  </a:lnTo>
                  <a:lnTo>
                    <a:pt x="2583" y="341"/>
                  </a:lnTo>
                  <a:lnTo>
                    <a:pt x="2576" y="337"/>
                  </a:lnTo>
                  <a:lnTo>
                    <a:pt x="2570" y="333"/>
                  </a:lnTo>
                  <a:lnTo>
                    <a:pt x="2564" y="328"/>
                  </a:lnTo>
                  <a:lnTo>
                    <a:pt x="2560" y="323"/>
                  </a:lnTo>
                  <a:lnTo>
                    <a:pt x="2556" y="317"/>
                  </a:lnTo>
                  <a:lnTo>
                    <a:pt x="2553" y="311"/>
                  </a:lnTo>
                  <a:lnTo>
                    <a:pt x="2551" y="302"/>
                  </a:lnTo>
                  <a:lnTo>
                    <a:pt x="2549" y="294"/>
                  </a:lnTo>
                  <a:lnTo>
                    <a:pt x="2547" y="275"/>
                  </a:lnTo>
                  <a:lnTo>
                    <a:pt x="2547" y="252"/>
                  </a:lnTo>
                  <a:lnTo>
                    <a:pt x="2547" y="4"/>
                  </a:lnTo>
                  <a:lnTo>
                    <a:pt x="2533" y="4"/>
                  </a:lnTo>
                  <a:lnTo>
                    <a:pt x="2533" y="4"/>
                  </a:lnTo>
                  <a:lnTo>
                    <a:pt x="2513" y="4"/>
                  </a:lnTo>
                  <a:lnTo>
                    <a:pt x="2490" y="6"/>
                  </a:lnTo>
                  <a:lnTo>
                    <a:pt x="2467" y="8"/>
                  </a:lnTo>
                  <a:lnTo>
                    <a:pt x="2454" y="10"/>
                  </a:lnTo>
                  <a:lnTo>
                    <a:pt x="2454" y="263"/>
                  </a:lnTo>
                  <a:lnTo>
                    <a:pt x="2454" y="263"/>
                  </a:lnTo>
                  <a:lnTo>
                    <a:pt x="2454" y="284"/>
                  </a:lnTo>
                  <a:lnTo>
                    <a:pt x="2455" y="302"/>
                  </a:lnTo>
                  <a:lnTo>
                    <a:pt x="2457" y="320"/>
                  </a:lnTo>
                  <a:lnTo>
                    <a:pt x="2459" y="336"/>
                  </a:lnTo>
                  <a:lnTo>
                    <a:pt x="2463" y="351"/>
                  </a:lnTo>
                  <a:lnTo>
                    <a:pt x="2468" y="364"/>
                  </a:lnTo>
                  <a:lnTo>
                    <a:pt x="2475" y="377"/>
                  </a:lnTo>
                  <a:lnTo>
                    <a:pt x="2482" y="387"/>
                  </a:lnTo>
                  <a:lnTo>
                    <a:pt x="2490" y="397"/>
                  </a:lnTo>
                  <a:lnTo>
                    <a:pt x="2500" y="405"/>
                  </a:lnTo>
                  <a:lnTo>
                    <a:pt x="2512" y="412"/>
                  </a:lnTo>
                  <a:lnTo>
                    <a:pt x="2525" y="418"/>
                  </a:lnTo>
                  <a:lnTo>
                    <a:pt x="2540" y="422"/>
                  </a:lnTo>
                  <a:lnTo>
                    <a:pt x="2556" y="425"/>
                  </a:lnTo>
                  <a:lnTo>
                    <a:pt x="2575" y="427"/>
                  </a:lnTo>
                  <a:lnTo>
                    <a:pt x="2595" y="428"/>
                  </a:lnTo>
                  <a:lnTo>
                    <a:pt x="2595" y="428"/>
                  </a:lnTo>
                  <a:lnTo>
                    <a:pt x="2611" y="427"/>
                  </a:lnTo>
                  <a:lnTo>
                    <a:pt x="2626" y="426"/>
                  </a:lnTo>
                  <a:lnTo>
                    <a:pt x="2640" y="425"/>
                  </a:lnTo>
                  <a:lnTo>
                    <a:pt x="2653" y="422"/>
                  </a:lnTo>
                  <a:lnTo>
                    <a:pt x="2677" y="417"/>
                  </a:lnTo>
                  <a:lnTo>
                    <a:pt x="2697" y="411"/>
                  </a:lnTo>
                  <a:lnTo>
                    <a:pt x="2714" y="404"/>
                  </a:lnTo>
                  <a:lnTo>
                    <a:pt x="2725" y="399"/>
                  </a:lnTo>
                  <a:lnTo>
                    <a:pt x="2737" y="394"/>
                  </a:lnTo>
                  <a:lnTo>
                    <a:pt x="2737" y="394"/>
                  </a:lnTo>
                  <a:lnTo>
                    <a:pt x="2743" y="397"/>
                  </a:lnTo>
                  <a:lnTo>
                    <a:pt x="2750" y="400"/>
                  </a:lnTo>
                  <a:lnTo>
                    <a:pt x="2761" y="403"/>
                  </a:lnTo>
                  <a:lnTo>
                    <a:pt x="2773" y="406"/>
                  </a:lnTo>
                  <a:lnTo>
                    <a:pt x="2788" y="409"/>
                  </a:lnTo>
                  <a:lnTo>
                    <a:pt x="2807" y="412"/>
                  </a:lnTo>
                  <a:lnTo>
                    <a:pt x="2828" y="413"/>
                  </a:lnTo>
                  <a:lnTo>
                    <a:pt x="2828" y="10"/>
                  </a:lnTo>
                  <a:lnTo>
                    <a:pt x="2828" y="10"/>
                  </a:lnTo>
                  <a:lnTo>
                    <a:pt x="2796" y="6"/>
                  </a:lnTo>
                  <a:lnTo>
                    <a:pt x="2774" y="5"/>
                  </a:lnTo>
                  <a:lnTo>
                    <a:pt x="2753" y="4"/>
                  </a:lnTo>
                  <a:lnTo>
                    <a:pt x="2735" y="4"/>
                  </a:lnTo>
                  <a:lnTo>
                    <a:pt x="2735" y="317"/>
                  </a:lnTo>
                  <a:close/>
                  <a:moveTo>
                    <a:pt x="2937" y="413"/>
                  </a:moveTo>
                  <a:lnTo>
                    <a:pt x="2937" y="413"/>
                  </a:lnTo>
                  <a:lnTo>
                    <a:pt x="2948" y="415"/>
                  </a:lnTo>
                  <a:lnTo>
                    <a:pt x="2976" y="420"/>
                  </a:lnTo>
                  <a:lnTo>
                    <a:pt x="2997" y="423"/>
                  </a:lnTo>
                  <a:lnTo>
                    <a:pt x="3020" y="425"/>
                  </a:lnTo>
                  <a:lnTo>
                    <a:pt x="3047" y="427"/>
                  </a:lnTo>
                  <a:lnTo>
                    <a:pt x="3075" y="428"/>
                  </a:lnTo>
                  <a:lnTo>
                    <a:pt x="3075" y="428"/>
                  </a:lnTo>
                  <a:lnTo>
                    <a:pt x="3091" y="427"/>
                  </a:lnTo>
                  <a:lnTo>
                    <a:pt x="3105" y="426"/>
                  </a:lnTo>
                  <a:lnTo>
                    <a:pt x="3120" y="425"/>
                  </a:lnTo>
                  <a:lnTo>
                    <a:pt x="3135" y="422"/>
                  </a:lnTo>
                  <a:lnTo>
                    <a:pt x="3150" y="419"/>
                  </a:lnTo>
                  <a:lnTo>
                    <a:pt x="3164" y="414"/>
                  </a:lnTo>
                  <a:lnTo>
                    <a:pt x="3178" y="408"/>
                  </a:lnTo>
                  <a:lnTo>
                    <a:pt x="3191" y="402"/>
                  </a:lnTo>
                  <a:lnTo>
                    <a:pt x="3202" y="394"/>
                  </a:lnTo>
                  <a:lnTo>
                    <a:pt x="3213" y="385"/>
                  </a:lnTo>
                  <a:lnTo>
                    <a:pt x="3223" y="375"/>
                  </a:lnTo>
                  <a:lnTo>
                    <a:pt x="3232" y="363"/>
                  </a:lnTo>
                  <a:lnTo>
                    <a:pt x="3239" y="350"/>
                  </a:lnTo>
                  <a:lnTo>
                    <a:pt x="3244" y="334"/>
                  </a:lnTo>
                  <a:lnTo>
                    <a:pt x="3247" y="318"/>
                  </a:lnTo>
                  <a:lnTo>
                    <a:pt x="3248" y="300"/>
                  </a:lnTo>
                  <a:lnTo>
                    <a:pt x="3248" y="300"/>
                  </a:lnTo>
                  <a:lnTo>
                    <a:pt x="3247" y="288"/>
                  </a:lnTo>
                  <a:lnTo>
                    <a:pt x="3246" y="277"/>
                  </a:lnTo>
                  <a:lnTo>
                    <a:pt x="3243" y="266"/>
                  </a:lnTo>
                  <a:lnTo>
                    <a:pt x="3239" y="256"/>
                  </a:lnTo>
                  <a:lnTo>
                    <a:pt x="3234" y="248"/>
                  </a:lnTo>
                  <a:lnTo>
                    <a:pt x="3228" y="239"/>
                  </a:lnTo>
                  <a:lnTo>
                    <a:pt x="3220" y="231"/>
                  </a:lnTo>
                  <a:lnTo>
                    <a:pt x="3213" y="224"/>
                  </a:lnTo>
                  <a:lnTo>
                    <a:pt x="3204" y="217"/>
                  </a:lnTo>
                  <a:lnTo>
                    <a:pt x="3194" y="211"/>
                  </a:lnTo>
                  <a:lnTo>
                    <a:pt x="3184" y="204"/>
                  </a:lnTo>
                  <a:lnTo>
                    <a:pt x="3171" y="199"/>
                  </a:lnTo>
                  <a:lnTo>
                    <a:pt x="3146" y="187"/>
                  </a:lnTo>
                  <a:lnTo>
                    <a:pt x="3117" y="176"/>
                  </a:lnTo>
                  <a:lnTo>
                    <a:pt x="3117" y="176"/>
                  </a:lnTo>
                  <a:lnTo>
                    <a:pt x="3086" y="164"/>
                  </a:lnTo>
                  <a:lnTo>
                    <a:pt x="3072" y="157"/>
                  </a:lnTo>
                  <a:lnTo>
                    <a:pt x="3060" y="151"/>
                  </a:lnTo>
                  <a:lnTo>
                    <a:pt x="3050" y="144"/>
                  </a:lnTo>
                  <a:lnTo>
                    <a:pt x="3046" y="140"/>
                  </a:lnTo>
                  <a:lnTo>
                    <a:pt x="3043" y="136"/>
                  </a:lnTo>
                  <a:lnTo>
                    <a:pt x="3040" y="132"/>
                  </a:lnTo>
                  <a:lnTo>
                    <a:pt x="3038" y="127"/>
                  </a:lnTo>
                  <a:lnTo>
                    <a:pt x="3037" y="121"/>
                  </a:lnTo>
                  <a:lnTo>
                    <a:pt x="3037" y="116"/>
                  </a:lnTo>
                  <a:lnTo>
                    <a:pt x="3037" y="116"/>
                  </a:lnTo>
                  <a:lnTo>
                    <a:pt x="3037" y="110"/>
                  </a:lnTo>
                  <a:lnTo>
                    <a:pt x="3039" y="104"/>
                  </a:lnTo>
                  <a:lnTo>
                    <a:pt x="3043" y="97"/>
                  </a:lnTo>
                  <a:lnTo>
                    <a:pt x="3049" y="90"/>
                  </a:lnTo>
                  <a:lnTo>
                    <a:pt x="3053" y="86"/>
                  </a:lnTo>
                  <a:lnTo>
                    <a:pt x="3057" y="83"/>
                  </a:lnTo>
                  <a:lnTo>
                    <a:pt x="3063" y="81"/>
                  </a:lnTo>
                  <a:lnTo>
                    <a:pt x="3069" y="78"/>
                  </a:lnTo>
                  <a:lnTo>
                    <a:pt x="3076" y="76"/>
                  </a:lnTo>
                  <a:lnTo>
                    <a:pt x="3084" y="75"/>
                  </a:lnTo>
                  <a:lnTo>
                    <a:pt x="3093" y="74"/>
                  </a:lnTo>
                  <a:lnTo>
                    <a:pt x="3103" y="74"/>
                  </a:lnTo>
                  <a:lnTo>
                    <a:pt x="3103" y="74"/>
                  </a:lnTo>
                  <a:lnTo>
                    <a:pt x="3122" y="75"/>
                  </a:lnTo>
                  <a:lnTo>
                    <a:pt x="3142" y="77"/>
                  </a:lnTo>
                  <a:lnTo>
                    <a:pt x="3159" y="81"/>
                  </a:lnTo>
                  <a:lnTo>
                    <a:pt x="3175" y="85"/>
                  </a:lnTo>
                  <a:lnTo>
                    <a:pt x="3199" y="94"/>
                  </a:lnTo>
                  <a:lnTo>
                    <a:pt x="3208" y="98"/>
                  </a:lnTo>
                  <a:lnTo>
                    <a:pt x="3232" y="30"/>
                  </a:lnTo>
                  <a:lnTo>
                    <a:pt x="3232" y="30"/>
                  </a:lnTo>
                  <a:lnTo>
                    <a:pt x="3213" y="22"/>
                  </a:lnTo>
                  <a:lnTo>
                    <a:pt x="3200" y="16"/>
                  </a:lnTo>
                  <a:lnTo>
                    <a:pt x="3184" y="12"/>
                  </a:lnTo>
                  <a:lnTo>
                    <a:pt x="3165" y="7"/>
                  </a:lnTo>
                  <a:lnTo>
                    <a:pt x="3144" y="4"/>
                  </a:lnTo>
                  <a:lnTo>
                    <a:pt x="3120" y="1"/>
                  </a:lnTo>
                  <a:lnTo>
                    <a:pt x="3095" y="0"/>
                  </a:lnTo>
                  <a:lnTo>
                    <a:pt x="3095" y="0"/>
                  </a:lnTo>
                  <a:lnTo>
                    <a:pt x="3080" y="1"/>
                  </a:lnTo>
                  <a:lnTo>
                    <a:pt x="3066" y="2"/>
                  </a:lnTo>
                  <a:lnTo>
                    <a:pt x="3052" y="4"/>
                  </a:lnTo>
                  <a:lnTo>
                    <a:pt x="3039" y="8"/>
                  </a:lnTo>
                  <a:lnTo>
                    <a:pt x="3025" y="12"/>
                  </a:lnTo>
                  <a:lnTo>
                    <a:pt x="3013" y="17"/>
                  </a:lnTo>
                  <a:lnTo>
                    <a:pt x="3001" y="24"/>
                  </a:lnTo>
                  <a:lnTo>
                    <a:pt x="2990" y="31"/>
                  </a:lnTo>
                  <a:lnTo>
                    <a:pt x="2979" y="39"/>
                  </a:lnTo>
                  <a:lnTo>
                    <a:pt x="2970" y="47"/>
                  </a:lnTo>
                  <a:lnTo>
                    <a:pt x="2962" y="58"/>
                  </a:lnTo>
                  <a:lnTo>
                    <a:pt x="2956" y="69"/>
                  </a:lnTo>
                  <a:lnTo>
                    <a:pt x="2950" y="80"/>
                  </a:lnTo>
                  <a:lnTo>
                    <a:pt x="2946" y="94"/>
                  </a:lnTo>
                  <a:lnTo>
                    <a:pt x="2944" y="107"/>
                  </a:lnTo>
                  <a:lnTo>
                    <a:pt x="2943" y="122"/>
                  </a:lnTo>
                  <a:lnTo>
                    <a:pt x="2943" y="122"/>
                  </a:lnTo>
                  <a:lnTo>
                    <a:pt x="2944" y="137"/>
                  </a:lnTo>
                  <a:lnTo>
                    <a:pt x="2946" y="150"/>
                  </a:lnTo>
                  <a:lnTo>
                    <a:pt x="2950" y="164"/>
                  </a:lnTo>
                  <a:lnTo>
                    <a:pt x="2956" y="175"/>
                  </a:lnTo>
                  <a:lnTo>
                    <a:pt x="2962" y="185"/>
                  </a:lnTo>
                  <a:lnTo>
                    <a:pt x="2970" y="194"/>
                  </a:lnTo>
                  <a:lnTo>
                    <a:pt x="2979" y="203"/>
                  </a:lnTo>
                  <a:lnTo>
                    <a:pt x="2988" y="210"/>
                  </a:lnTo>
                  <a:lnTo>
                    <a:pt x="2999" y="217"/>
                  </a:lnTo>
                  <a:lnTo>
                    <a:pt x="3010" y="223"/>
                  </a:lnTo>
                  <a:lnTo>
                    <a:pt x="3021" y="229"/>
                  </a:lnTo>
                  <a:lnTo>
                    <a:pt x="3032" y="235"/>
                  </a:lnTo>
                  <a:lnTo>
                    <a:pt x="3056" y="243"/>
                  </a:lnTo>
                  <a:lnTo>
                    <a:pt x="3079" y="251"/>
                  </a:lnTo>
                  <a:lnTo>
                    <a:pt x="3079" y="251"/>
                  </a:lnTo>
                  <a:lnTo>
                    <a:pt x="3108" y="261"/>
                  </a:lnTo>
                  <a:lnTo>
                    <a:pt x="3121" y="266"/>
                  </a:lnTo>
                  <a:lnTo>
                    <a:pt x="3133" y="273"/>
                  </a:lnTo>
                  <a:lnTo>
                    <a:pt x="3142" y="280"/>
                  </a:lnTo>
                  <a:lnTo>
                    <a:pt x="3148" y="287"/>
                  </a:lnTo>
                  <a:lnTo>
                    <a:pt x="3151" y="291"/>
                  </a:lnTo>
                  <a:lnTo>
                    <a:pt x="3153" y="296"/>
                  </a:lnTo>
                  <a:lnTo>
                    <a:pt x="3154" y="300"/>
                  </a:lnTo>
                  <a:lnTo>
                    <a:pt x="3154" y="306"/>
                  </a:lnTo>
                  <a:lnTo>
                    <a:pt x="3154" y="306"/>
                  </a:lnTo>
                  <a:lnTo>
                    <a:pt x="3154" y="315"/>
                  </a:lnTo>
                  <a:lnTo>
                    <a:pt x="3151" y="324"/>
                  </a:lnTo>
                  <a:lnTo>
                    <a:pt x="3149" y="328"/>
                  </a:lnTo>
                  <a:lnTo>
                    <a:pt x="3146" y="332"/>
                  </a:lnTo>
                  <a:lnTo>
                    <a:pt x="3143" y="335"/>
                  </a:lnTo>
                  <a:lnTo>
                    <a:pt x="3139" y="340"/>
                  </a:lnTo>
                  <a:lnTo>
                    <a:pt x="3134" y="343"/>
                  </a:lnTo>
                  <a:lnTo>
                    <a:pt x="3127" y="346"/>
                  </a:lnTo>
                  <a:lnTo>
                    <a:pt x="3121" y="348"/>
                  </a:lnTo>
                  <a:lnTo>
                    <a:pt x="3113" y="350"/>
                  </a:lnTo>
                  <a:lnTo>
                    <a:pt x="3104" y="352"/>
                  </a:lnTo>
                  <a:lnTo>
                    <a:pt x="3095" y="353"/>
                  </a:lnTo>
                  <a:lnTo>
                    <a:pt x="3071" y="354"/>
                  </a:lnTo>
                  <a:lnTo>
                    <a:pt x="3071" y="354"/>
                  </a:lnTo>
                  <a:lnTo>
                    <a:pt x="3050" y="354"/>
                  </a:lnTo>
                  <a:lnTo>
                    <a:pt x="3029" y="352"/>
                  </a:lnTo>
                  <a:lnTo>
                    <a:pt x="2992" y="348"/>
                  </a:lnTo>
                  <a:lnTo>
                    <a:pt x="2965" y="344"/>
                  </a:lnTo>
                  <a:lnTo>
                    <a:pt x="2955" y="342"/>
                  </a:lnTo>
                  <a:lnTo>
                    <a:pt x="2937" y="413"/>
                  </a:lnTo>
                  <a:close/>
                  <a:moveTo>
                    <a:pt x="1639" y="80"/>
                  </a:moveTo>
                  <a:lnTo>
                    <a:pt x="1639" y="80"/>
                  </a:lnTo>
                  <a:lnTo>
                    <a:pt x="1653" y="77"/>
                  </a:lnTo>
                  <a:lnTo>
                    <a:pt x="1670" y="75"/>
                  </a:lnTo>
                  <a:lnTo>
                    <a:pt x="1691" y="73"/>
                  </a:lnTo>
                  <a:lnTo>
                    <a:pt x="1712" y="73"/>
                  </a:lnTo>
                  <a:lnTo>
                    <a:pt x="1712" y="73"/>
                  </a:lnTo>
                  <a:lnTo>
                    <a:pt x="1726" y="73"/>
                  </a:lnTo>
                  <a:lnTo>
                    <a:pt x="1737" y="74"/>
                  </a:lnTo>
                  <a:lnTo>
                    <a:pt x="1749" y="77"/>
                  </a:lnTo>
                  <a:lnTo>
                    <a:pt x="1760" y="80"/>
                  </a:lnTo>
                  <a:lnTo>
                    <a:pt x="1771" y="84"/>
                  </a:lnTo>
                  <a:lnTo>
                    <a:pt x="1780" y="90"/>
                  </a:lnTo>
                  <a:lnTo>
                    <a:pt x="1790" y="97"/>
                  </a:lnTo>
                  <a:lnTo>
                    <a:pt x="1798" y="104"/>
                  </a:lnTo>
                  <a:lnTo>
                    <a:pt x="1805" y="113"/>
                  </a:lnTo>
                  <a:lnTo>
                    <a:pt x="1813" y="122"/>
                  </a:lnTo>
                  <a:lnTo>
                    <a:pt x="1819" y="134"/>
                  </a:lnTo>
                  <a:lnTo>
                    <a:pt x="1824" y="147"/>
                  </a:lnTo>
                  <a:lnTo>
                    <a:pt x="1828" y="161"/>
                  </a:lnTo>
                  <a:lnTo>
                    <a:pt x="1831" y="176"/>
                  </a:lnTo>
                  <a:lnTo>
                    <a:pt x="1832" y="192"/>
                  </a:lnTo>
                  <a:lnTo>
                    <a:pt x="1833" y="211"/>
                  </a:lnTo>
                  <a:lnTo>
                    <a:pt x="1833" y="211"/>
                  </a:lnTo>
                  <a:lnTo>
                    <a:pt x="1833" y="228"/>
                  </a:lnTo>
                  <a:lnTo>
                    <a:pt x="1832" y="245"/>
                  </a:lnTo>
                  <a:lnTo>
                    <a:pt x="1830" y="260"/>
                  </a:lnTo>
                  <a:lnTo>
                    <a:pt x="1827" y="275"/>
                  </a:lnTo>
                  <a:lnTo>
                    <a:pt x="1824" y="288"/>
                  </a:lnTo>
                  <a:lnTo>
                    <a:pt x="1820" y="299"/>
                  </a:lnTo>
                  <a:lnTo>
                    <a:pt x="1814" y="311"/>
                  </a:lnTo>
                  <a:lnTo>
                    <a:pt x="1807" y="320"/>
                  </a:lnTo>
                  <a:lnTo>
                    <a:pt x="1799" y="328"/>
                  </a:lnTo>
                  <a:lnTo>
                    <a:pt x="1790" y="335"/>
                  </a:lnTo>
                  <a:lnTo>
                    <a:pt x="1780" y="342"/>
                  </a:lnTo>
                  <a:lnTo>
                    <a:pt x="1768" y="347"/>
                  </a:lnTo>
                  <a:lnTo>
                    <a:pt x="1754" y="350"/>
                  </a:lnTo>
                  <a:lnTo>
                    <a:pt x="1739" y="353"/>
                  </a:lnTo>
                  <a:lnTo>
                    <a:pt x="1723" y="355"/>
                  </a:lnTo>
                  <a:lnTo>
                    <a:pt x="1704" y="355"/>
                  </a:lnTo>
                  <a:lnTo>
                    <a:pt x="1704" y="355"/>
                  </a:lnTo>
                  <a:lnTo>
                    <a:pt x="1681" y="354"/>
                  </a:lnTo>
                  <a:lnTo>
                    <a:pt x="1659" y="353"/>
                  </a:lnTo>
                  <a:lnTo>
                    <a:pt x="1639" y="351"/>
                  </a:lnTo>
                  <a:lnTo>
                    <a:pt x="1639" y="80"/>
                  </a:lnTo>
                  <a:close/>
                  <a:moveTo>
                    <a:pt x="1717" y="0"/>
                  </a:moveTo>
                  <a:lnTo>
                    <a:pt x="1717" y="0"/>
                  </a:lnTo>
                  <a:lnTo>
                    <a:pt x="1696" y="1"/>
                  </a:lnTo>
                  <a:lnTo>
                    <a:pt x="1675" y="2"/>
                  </a:lnTo>
                  <a:lnTo>
                    <a:pt x="1652" y="4"/>
                  </a:lnTo>
                  <a:lnTo>
                    <a:pt x="1629" y="7"/>
                  </a:lnTo>
                  <a:lnTo>
                    <a:pt x="1606" y="10"/>
                  </a:lnTo>
                  <a:lnTo>
                    <a:pt x="1585" y="14"/>
                  </a:lnTo>
                  <a:lnTo>
                    <a:pt x="1564" y="20"/>
                  </a:lnTo>
                  <a:lnTo>
                    <a:pt x="1546" y="26"/>
                  </a:lnTo>
                  <a:lnTo>
                    <a:pt x="1546" y="415"/>
                  </a:lnTo>
                  <a:lnTo>
                    <a:pt x="1546" y="415"/>
                  </a:lnTo>
                  <a:lnTo>
                    <a:pt x="1561" y="418"/>
                  </a:lnTo>
                  <a:lnTo>
                    <a:pt x="1580" y="420"/>
                  </a:lnTo>
                  <a:lnTo>
                    <a:pt x="1619" y="424"/>
                  </a:lnTo>
                  <a:lnTo>
                    <a:pt x="1662" y="427"/>
                  </a:lnTo>
                  <a:lnTo>
                    <a:pt x="1701" y="428"/>
                  </a:lnTo>
                  <a:lnTo>
                    <a:pt x="1701" y="428"/>
                  </a:lnTo>
                  <a:lnTo>
                    <a:pt x="1732" y="427"/>
                  </a:lnTo>
                  <a:lnTo>
                    <a:pt x="1758" y="425"/>
                  </a:lnTo>
                  <a:lnTo>
                    <a:pt x="1784" y="421"/>
                  </a:lnTo>
                  <a:lnTo>
                    <a:pt x="1807" y="415"/>
                  </a:lnTo>
                  <a:lnTo>
                    <a:pt x="1828" y="408"/>
                  </a:lnTo>
                  <a:lnTo>
                    <a:pt x="1847" y="399"/>
                  </a:lnTo>
                  <a:lnTo>
                    <a:pt x="1855" y="394"/>
                  </a:lnTo>
                  <a:lnTo>
                    <a:pt x="1864" y="389"/>
                  </a:lnTo>
                  <a:lnTo>
                    <a:pt x="1872" y="383"/>
                  </a:lnTo>
                  <a:lnTo>
                    <a:pt x="1879" y="377"/>
                  </a:lnTo>
                  <a:lnTo>
                    <a:pt x="1885" y="369"/>
                  </a:lnTo>
                  <a:lnTo>
                    <a:pt x="1891" y="362"/>
                  </a:lnTo>
                  <a:lnTo>
                    <a:pt x="1897" y="355"/>
                  </a:lnTo>
                  <a:lnTo>
                    <a:pt x="1902" y="347"/>
                  </a:lnTo>
                  <a:lnTo>
                    <a:pt x="1907" y="337"/>
                  </a:lnTo>
                  <a:lnTo>
                    <a:pt x="1912" y="329"/>
                  </a:lnTo>
                  <a:lnTo>
                    <a:pt x="1919" y="309"/>
                  </a:lnTo>
                  <a:lnTo>
                    <a:pt x="1924" y="287"/>
                  </a:lnTo>
                  <a:lnTo>
                    <a:pt x="1928" y="264"/>
                  </a:lnTo>
                  <a:lnTo>
                    <a:pt x="1930" y="239"/>
                  </a:lnTo>
                  <a:lnTo>
                    <a:pt x="1931" y="211"/>
                  </a:lnTo>
                  <a:lnTo>
                    <a:pt x="1931" y="211"/>
                  </a:lnTo>
                  <a:lnTo>
                    <a:pt x="1930" y="187"/>
                  </a:lnTo>
                  <a:lnTo>
                    <a:pt x="1927" y="164"/>
                  </a:lnTo>
                  <a:lnTo>
                    <a:pt x="1923" y="143"/>
                  </a:lnTo>
                  <a:lnTo>
                    <a:pt x="1917" y="122"/>
                  </a:lnTo>
                  <a:lnTo>
                    <a:pt x="1909" y="104"/>
                  </a:lnTo>
                  <a:lnTo>
                    <a:pt x="1898" y="86"/>
                  </a:lnTo>
                  <a:lnTo>
                    <a:pt x="1887" y="71"/>
                  </a:lnTo>
                  <a:lnTo>
                    <a:pt x="1874" y="57"/>
                  </a:lnTo>
                  <a:lnTo>
                    <a:pt x="1860" y="43"/>
                  </a:lnTo>
                  <a:lnTo>
                    <a:pt x="1843" y="32"/>
                  </a:lnTo>
                  <a:lnTo>
                    <a:pt x="1826" y="23"/>
                  </a:lnTo>
                  <a:lnTo>
                    <a:pt x="1806" y="14"/>
                  </a:lnTo>
                  <a:lnTo>
                    <a:pt x="1786" y="8"/>
                  </a:lnTo>
                  <a:lnTo>
                    <a:pt x="1764" y="4"/>
                  </a:lnTo>
                  <a:lnTo>
                    <a:pt x="1741" y="1"/>
                  </a:lnTo>
                  <a:lnTo>
                    <a:pt x="1717" y="0"/>
                  </a:lnTo>
                  <a:close/>
                </a:path>
              </a:pathLst>
            </a:custGeom>
            <a:solidFill>
              <a:srgbClr val="005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5160" y="3974"/>
              <a:ext cx="76" cy="107"/>
            </a:xfrm>
            <a:custGeom>
              <a:avLst/>
              <a:gdLst>
                <a:gd name="T0" fmla="*/ 0 w 305"/>
                <a:gd name="T1" fmla="*/ 407 h 428"/>
                <a:gd name="T2" fmla="*/ 0 w 305"/>
                <a:gd name="T3" fmla="*/ 407 h 428"/>
                <a:gd name="T4" fmla="*/ 13 w 305"/>
                <a:gd name="T5" fmla="*/ 411 h 428"/>
                <a:gd name="T6" fmla="*/ 47 w 305"/>
                <a:gd name="T7" fmla="*/ 418 h 428"/>
                <a:gd name="T8" fmla="*/ 71 w 305"/>
                <a:gd name="T9" fmla="*/ 421 h 428"/>
                <a:gd name="T10" fmla="*/ 98 w 305"/>
                <a:gd name="T11" fmla="*/ 425 h 428"/>
                <a:gd name="T12" fmla="*/ 129 w 305"/>
                <a:gd name="T13" fmla="*/ 427 h 428"/>
                <a:gd name="T14" fmla="*/ 163 w 305"/>
                <a:gd name="T15" fmla="*/ 428 h 428"/>
                <a:gd name="T16" fmla="*/ 163 w 305"/>
                <a:gd name="T17" fmla="*/ 428 h 428"/>
                <a:gd name="T18" fmla="*/ 197 w 305"/>
                <a:gd name="T19" fmla="*/ 427 h 428"/>
                <a:gd name="T20" fmla="*/ 226 w 305"/>
                <a:gd name="T21" fmla="*/ 426 h 428"/>
                <a:gd name="T22" fmla="*/ 251 w 305"/>
                <a:gd name="T23" fmla="*/ 424 h 428"/>
                <a:gd name="T24" fmla="*/ 270 w 305"/>
                <a:gd name="T25" fmla="*/ 422 h 428"/>
                <a:gd name="T26" fmla="*/ 297 w 305"/>
                <a:gd name="T27" fmla="*/ 419 h 428"/>
                <a:gd name="T28" fmla="*/ 305 w 305"/>
                <a:gd name="T29" fmla="*/ 417 h 428"/>
                <a:gd name="T30" fmla="*/ 305 w 305"/>
                <a:gd name="T31" fmla="*/ 346 h 428"/>
                <a:gd name="T32" fmla="*/ 305 w 305"/>
                <a:gd name="T33" fmla="*/ 346 h 428"/>
                <a:gd name="T34" fmla="*/ 297 w 305"/>
                <a:gd name="T35" fmla="*/ 347 h 428"/>
                <a:gd name="T36" fmla="*/ 272 w 305"/>
                <a:gd name="T37" fmla="*/ 351 h 428"/>
                <a:gd name="T38" fmla="*/ 235 w 305"/>
                <a:gd name="T39" fmla="*/ 354 h 428"/>
                <a:gd name="T40" fmla="*/ 213 w 305"/>
                <a:gd name="T41" fmla="*/ 355 h 428"/>
                <a:gd name="T42" fmla="*/ 188 w 305"/>
                <a:gd name="T43" fmla="*/ 355 h 428"/>
                <a:gd name="T44" fmla="*/ 188 w 305"/>
                <a:gd name="T45" fmla="*/ 355 h 428"/>
                <a:gd name="T46" fmla="*/ 167 w 305"/>
                <a:gd name="T47" fmla="*/ 355 h 428"/>
                <a:gd name="T48" fmla="*/ 149 w 305"/>
                <a:gd name="T49" fmla="*/ 354 h 428"/>
                <a:gd name="T50" fmla="*/ 118 w 305"/>
                <a:gd name="T51" fmla="*/ 351 h 428"/>
                <a:gd name="T52" fmla="*/ 99 w 305"/>
                <a:gd name="T53" fmla="*/ 349 h 428"/>
                <a:gd name="T54" fmla="*/ 92 w 305"/>
                <a:gd name="T55" fmla="*/ 348 h 428"/>
                <a:gd name="T56" fmla="*/ 92 w 305"/>
                <a:gd name="T57" fmla="*/ 247 h 428"/>
                <a:gd name="T58" fmla="*/ 276 w 305"/>
                <a:gd name="T59" fmla="*/ 247 h 428"/>
                <a:gd name="T60" fmla="*/ 276 w 305"/>
                <a:gd name="T61" fmla="*/ 175 h 428"/>
                <a:gd name="T62" fmla="*/ 92 w 305"/>
                <a:gd name="T63" fmla="*/ 175 h 428"/>
                <a:gd name="T64" fmla="*/ 92 w 305"/>
                <a:gd name="T65" fmla="*/ 79 h 428"/>
                <a:gd name="T66" fmla="*/ 92 w 305"/>
                <a:gd name="T67" fmla="*/ 79 h 428"/>
                <a:gd name="T68" fmla="*/ 99 w 305"/>
                <a:gd name="T69" fmla="*/ 78 h 428"/>
                <a:gd name="T70" fmla="*/ 117 w 305"/>
                <a:gd name="T71" fmla="*/ 76 h 428"/>
                <a:gd name="T72" fmla="*/ 145 w 305"/>
                <a:gd name="T73" fmla="*/ 74 h 428"/>
                <a:gd name="T74" fmla="*/ 182 w 305"/>
                <a:gd name="T75" fmla="*/ 73 h 428"/>
                <a:gd name="T76" fmla="*/ 182 w 305"/>
                <a:gd name="T77" fmla="*/ 73 h 428"/>
                <a:gd name="T78" fmla="*/ 205 w 305"/>
                <a:gd name="T79" fmla="*/ 73 h 428"/>
                <a:gd name="T80" fmla="*/ 226 w 305"/>
                <a:gd name="T81" fmla="*/ 74 h 428"/>
                <a:gd name="T82" fmla="*/ 263 w 305"/>
                <a:gd name="T83" fmla="*/ 77 h 428"/>
                <a:gd name="T84" fmla="*/ 289 w 305"/>
                <a:gd name="T85" fmla="*/ 80 h 428"/>
                <a:gd name="T86" fmla="*/ 298 w 305"/>
                <a:gd name="T87" fmla="*/ 82 h 428"/>
                <a:gd name="T88" fmla="*/ 298 w 305"/>
                <a:gd name="T89" fmla="*/ 10 h 428"/>
                <a:gd name="T90" fmla="*/ 298 w 305"/>
                <a:gd name="T91" fmla="*/ 10 h 428"/>
                <a:gd name="T92" fmla="*/ 289 w 305"/>
                <a:gd name="T93" fmla="*/ 9 h 428"/>
                <a:gd name="T94" fmla="*/ 264 w 305"/>
                <a:gd name="T95" fmla="*/ 5 h 428"/>
                <a:gd name="T96" fmla="*/ 224 w 305"/>
                <a:gd name="T97" fmla="*/ 2 h 428"/>
                <a:gd name="T98" fmla="*/ 200 w 305"/>
                <a:gd name="T99" fmla="*/ 1 h 428"/>
                <a:gd name="T100" fmla="*/ 172 w 305"/>
                <a:gd name="T101" fmla="*/ 0 h 428"/>
                <a:gd name="T102" fmla="*/ 172 w 305"/>
                <a:gd name="T103" fmla="*/ 0 h 428"/>
                <a:gd name="T104" fmla="*/ 134 w 305"/>
                <a:gd name="T105" fmla="*/ 1 h 428"/>
                <a:gd name="T106" fmla="*/ 102 w 305"/>
                <a:gd name="T107" fmla="*/ 3 h 428"/>
                <a:gd name="T108" fmla="*/ 72 w 305"/>
                <a:gd name="T109" fmla="*/ 6 h 428"/>
                <a:gd name="T110" fmla="*/ 47 w 305"/>
                <a:gd name="T111" fmla="*/ 9 h 428"/>
                <a:gd name="T112" fmla="*/ 27 w 305"/>
                <a:gd name="T113" fmla="*/ 13 h 428"/>
                <a:gd name="T114" fmla="*/ 13 w 305"/>
                <a:gd name="T115" fmla="*/ 15 h 428"/>
                <a:gd name="T116" fmla="*/ 0 w 305"/>
                <a:gd name="T117" fmla="*/ 19 h 428"/>
                <a:gd name="T118" fmla="*/ 0 w 305"/>
                <a:gd name="T119" fmla="*/ 407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05" h="428">
                  <a:moveTo>
                    <a:pt x="0" y="407"/>
                  </a:moveTo>
                  <a:lnTo>
                    <a:pt x="0" y="407"/>
                  </a:lnTo>
                  <a:lnTo>
                    <a:pt x="13" y="411"/>
                  </a:lnTo>
                  <a:lnTo>
                    <a:pt x="47" y="418"/>
                  </a:lnTo>
                  <a:lnTo>
                    <a:pt x="71" y="421"/>
                  </a:lnTo>
                  <a:lnTo>
                    <a:pt x="98" y="425"/>
                  </a:lnTo>
                  <a:lnTo>
                    <a:pt x="129" y="427"/>
                  </a:lnTo>
                  <a:lnTo>
                    <a:pt x="163" y="428"/>
                  </a:lnTo>
                  <a:lnTo>
                    <a:pt x="163" y="428"/>
                  </a:lnTo>
                  <a:lnTo>
                    <a:pt x="197" y="427"/>
                  </a:lnTo>
                  <a:lnTo>
                    <a:pt x="226" y="426"/>
                  </a:lnTo>
                  <a:lnTo>
                    <a:pt x="251" y="424"/>
                  </a:lnTo>
                  <a:lnTo>
                    <a:pt x="270" y="422"/>
                  </a:lnTo>
                  <a:lnTo>
                    <a:pt x="297" y="419"/>
                  </a:lnTo>
                  <a:lnTo>
                    <a:pt x="305" y="417"/>
                  </a:lnTo>
                  <a:lnTo>
                    <a:pt x="305" y="346"/>
                  </a:lnTo>
                  <a:lnTo>
                    <a:pt x="305" y="346"/>
                  </a:lnTo>
                  <a:lnTo>
                    <a:pt x="297" y="347"/>
                  </a:lnTo>
                  <a:lnTo>
                    <a:pt x="272" y="351"/>
                  </a:lnTo>
                  <a:lnTo>
                    <a:pt x="235" y="354"/>
                  </a:lnTo>
                  <a:lnTo>
                    <a:pt x="213" y="355"/>
                  </a:lnTo>
                  <a:lnTo>
                    <a:pt x="188" y="355"/>
                  </a:lnTo>
                  <a:lnTo>
                    <a:pt x="188" y="355"/>
                  </a:lnTo>
                  <a:lnTo>
                    <a:pt x="167" y="355"/>
                  </a:lnTo>
                  <a:lnTo>
                    <a:pt x="149" y="354"/>
                  </a:lnTo>
                  <a:lnTo>
                    <a:pt x="118" y="351"/>
                  </a:lnTo>
                  <a:lnTo>
                    <a:pt x="99" y="349"/>
                  </a:lnTo>
                  <a:lnTo>
                    <a:pt x="92" y="348"/>
                  </a:lnTo>
                  <a:lnTo>
                    <a:pt x="92" y="247"/>
                  </a:lnTo>
                  <a:lnTo>
                    <a:pt x="276" y="247"/>
                  </a:lnTo>
                  <a:lnTo>
                    <a:pt x="276" y="175"/>
                  </a:lnTo>
                  <a:lnTo>
                    <a:pt x="92" y="175"/>
                  </a:lnTo>
                  <a:lnTo>
                    <a:pt x="92" y="79"/>
                  </a:lnTo>
                  <a:lnTo>
                    <a:pt x="92" y="79"/>
                  </a:lnTo>
                  <a:lnTo>
                    <a:pt x="99" y="78"/>
                  </a:lnTo>
                  <a:lnTo>
                    <a:pt x="117" y="76"/>
                  </a:lnTo>
                  <a:lnTo>
                    <a:pt x="145" y="74"/>
                  </a:lnTo>
                  <a:lnTo>
                    <a:pt x="182" y="73"/>
                  </a:lnTo>
                  <a:lnTo>
                    <a:pt x="182" y="73"/>
                  </a:lnTo>
                  <a:lnTo>
                    <a:pt x="205" y="73"/>
                  </a:lnTo>
                  <a:lnTo>
                    <a:pt x="226" y="74"/>
                  </a:lnTo>
                  <a:lnTo>
                    <a:pt x="263" y="77"/>
                  </a:lnTo>
                  <a:lnTo>
                    <a:pt x="289" y="80"/>
                  </a:lnTo>
                  <a:lnTo>
                    <a:pt x="298" y="82"/>
                  </a:lnTo>
                  <a:lnTo>
                    <a:pt x="298" y="10"/>
                  </a:lnTo>
                  <a:lnTo>
                    <a:pt x="298" y="10"/>
                  </a:lnTo>
                  <a:lnTo>
                    <a:pt x="289" y="9"/>
                  </a:lnTo>
                  <a:lnTo>
                    <a:pt x="264" y="5"/>
                  </a:lnTo>
                  <a:lnTo>
                    <a:pt x="224" y="2"/>
                  </a:lnTo>
                  <a:lnTo>
                    <a:pt x="200" y="1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34" y="1"/>
                  </a:lnTo>
                  <a:lnTo>
                    <a:pt x="102" y="3"/>
                  </a:lnTo>
                  <a:lnTo>
                    <a:pt x="72" y="6"/>
                  </a:lnTo>
                  <a:lnTo>
                    <a:pt x="47" y="9"/>
                  </a:lnTo>
                  <a:lnTo>
                    <a:pt x="27" y="13"/>
                  </a:lnTo>
                  <a:lnTo>
                    <a:pt x="13" y="15"/>
                  </a:lnTo>
                  <a:lnTo>
                    <a:pt x="0" y="19"/>
                  </a:lnTo>
                  <a:lnTo>
                    <a:pt x="0" y="40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4" name="Freeform 63"/>
            <p:cNvSpPr>
              <a:spLocks/>
            </p:cNvSpPr>
            <p:nvPr userDrawn="1"/>
          </p:nvSpPr>
          <p:spPr bwMode="auto">
            <a:xfrm>
              <a:off x="4767" y="3974"/>
              <a:ext cx="124" cy="105"/>
            </a:xfrm>
            <a:custGeom>
              <a:avLst/>
              <a:gdLst>
                <a:gd name="T0" fmla="*/ 255 w 496"/>
                <a:gd name="T1" fmla="*/ 246 h 422"/>
                <a:gd name="T2" fmla="*/ 255 w 496"/>
                <a:gd name="T3" fmla="*/ 246 h 422"/>
                <a:gd name="T4" fmla="*/ 251 w 496"/>
                <a:gd name="T5" fmla="*/ 257 h 422"/>
                <a:gd name="T6" fmla="*/ 248 w 496"/>
                <a:gd name="T7" fmla="*/ 270 h 422"/>
                <a:gd name="T8" fmla="*/ 248 w 496"/>
                <a:gd name="T9" fmla="*/ 270 h 422"/>
                <a:gd name="T10" fmla="*/ 244 w 496"/>
                <a:gd name="T11" fmla="*/ 257 h 422"/>
                <a:gd name="T12" fmla="*/ 241 w 496"/>
                <a:gd name="T13" fmla="*/ 246 h 422"/>
                <a:gd name="T14" fmla="*/ 159 w 496"/>
                <a:gd name="T15" fmla="*/ 39 h 422"/>
                <a:gd name="T16" fmla="*/ 159 w 496"/>
                <a:gd name="T17" fmla="*/ 39 h 422"/>
                <a:gd name="T18" fmla="*/ 153 w 496"/>
                <a:gd name="T19" fmla="*/ 28 h 422"/>
                <a:gd name="T20" fmla="*/ 147 w 496"/>
                <a:gd name="T21" fmla="*/ 19 h 422"/>
                <a:gd name="T22" fmla="*/ 140 w 496"/>
                <a:gd name="T23" fmla="*/ 11 h 422"/>
                <a:gd name="T24" fmla="*/ 132 w 496"/>
                <a:gd name="T25" fmla="*/ 7 h 422"/>
                <a:gd name="T26" fmla="*/ 122 w 496"/>
                <a:gd name="T27" fmla="*/ 3 h 422"/>
                <a:gd name="T28" fmla="*/ 110 w 496"/>
                <a:gd name="T29" fmla="*/ 1 h 422"/>
                <a:gd name="T30" fmla="*/ 98 w 496"/>
                <a:gd name="T31" fmla="*/ 1 h 422"/>
                <a:gd name="T32" fmla="*/ 84 w 496"/>
                <a:gd name="T33" fmla="*/ 0 h 422"/>
                <a:gd name="T34" fmla="*/ 84 w 496"/>
                <a:gd name="T35" fmla="*/ 0 h 422"/>
                <a:gd name="T36" fmla="*/ 58 w 496"/>
                <a:gd name="T37" fmla="*/ 1 h 422"/>
                <a:gd name="T38" fmla="*/ 42 w 496"/>
                <a:gd name="T39" fmla="*/ 2 h 422"/>
                <a:gd name="T40" fmla="*/ 0 w 496"/>
                <a:gd name="T41" fmla="*/ 422 h 422"/>
                <a:gd name="T42" fmla="*/ 93 w 496"/>
                <a:gd name="T43" fmla="*/ 422 h 422"/>
                <a:gd name="T44" fmla="*/ 113 w 496"/>
                <a:gd name="T45" fmla="*/ 140 h 422"/>
                <a:gd name="T46" fmla="*/ 201 w 496"/>
                <a:gd name="T47" fmla="*/ 353 h 422"/>
                <a:gd name="T48" fmla="*/ 201 w 496"/>
                <a:gd name="T49" fmla="*/ 353 h 422"/>
                <a:gd name="T50" fmla="*/ 204 w 496"/>
                <a:gd name="T51" fmla="*/ 359 h 422"/>
                <a:gd name="T52" fmla="*/ 208 w 496"/>
                <a:gd name="T53" fmla="*/ 364 h 422"/>
                <a:gd name="T54" fmla="*/ 213 w 496"/>
                <a:gd name="T55" fmla="*/ 368 h 422"/>
                <a:gd name="T56" fmla="*/ 218 w 496"/>
                <a:gd name="T57" fmla="*/ 371 h 422"/>
                <a:gd name="T58" fmla="*/ 224 w 496"/>
                <a:gd name="T59" fmla="*/ 373 h 422"/>
                <a:gd name="T60" fmla="*/ 231 w 496"/>
                <a:gd name="T61" fmla="*/ 376 h 422"/>
                <a:gd name="T62" fmla="*/ 239 w 496"/>
                <a:gd name="T63" fmla="*/ 377 h 422"/>
                <a:gd name="T64" fmla="*/ 248 w 496"/>
                <a:gd name="T65" fmla="*/ 377 h 422"/>
                <a:gd name="T66" fmla="*/ 248 w 496"/>
                <a:gd name="T67" fmla="*/ 377 h 422"/>
                <a:gd name="T68" fmla="*/ 257 w 496"/>
                <a:gd name="T69" fmla="*/ 377 h 422"/>
                <a:gd name="T70" fmla="*/ 266 w 496"/>
                <a:gd name="T71" fmla="*/ 376 h 422"/>
                <a:gd name="T72" fmla="*/ 273 w 496"/>
                <a:gd name="T73" fmla="*/ 373 h 422"/>
                <a:gd name="T74" fmla="*/ 279 w 496"/>
                <a:gd name="T75" fmla="*/ 371 h 422"/>
                <a:gd name="T76" fmla="*/ 284 w 496"/>
                <a:gd name="T77" fmla="*/ 368 h 422"/>
                <a:gd name="T78" fmla="*/ 288 w 496"/>
                <a:gd name="T79" fmla="*/ 364 h 422"/>
                <a:gd name="T80" fmla="*/ 291 w 496"/>
                <a:gd name="T81" fmla="*/ 359 h 422"/>
                <a:gd name="T82" fmla="*/ 294 w 496"/>
                <a:gd name="T83" fmla="*/ 353 h 422"/>
                <a:gd name="T84" fmla="*/ 382 w 496"/>
                <a:gd name="T85" fmla="*/ 140 h 422"/>
                <a:gd name="T86" fmla="*/ 403 w 496"/>
                <a:gd name="T87" fmla="*/ 422 h 422"/>
                <a:gd name="T88" fmla="*/ 496 w 496"/>
                <a:gd name="T89" fmla="*/ 422 h 422"/>
                <a:gd name="T90" fmla="*/ 454 w 496"/>
                <a:gd name="T91" fmla="*/ 2 h 422"/>
                <a:gd name="T92" fmla="*/ 454 w 496"/>
                <a:gd name="T93" fmla="*/ 2 h 422"/>
                <a:gd name="T94" fmla="*/ 438 w 496"/>
                <a:gd name="T95" fmla="*/ 1 h 422"/>
                <a:gd name="T96" fmla="*/ 412 w 496"/>
                <a:gd name="T97" fmla="*/ 0 h 422"/>
                <a:gd name="T98" fmla="*/ 412 w 496"/>
                <a:gd name="T99" fmla="*/ 0 h 422"/>
                <a:gd name="T100" fmla="*/ 397 w 496"/>
                <a:gd name="T101" fmla="*/ 1 h 422"/>
                <a:gd name="T102" fmla="*/ 385 w 496"/>
                <a:gd name="T103" fmla="*/ 1 h 422"/>
                <a:gd name="T104" fmla="*/ 374 w 496"/>
                <a:gd name="T105" fmla="*/ 3 h 422"/>
                <a:gd name="T106" fmla="*/ 365 w 496"/>
                <a:gd name="T107" fmla="*/ 7 h 422"/>
                <a:gd name="T108" fmla="*/ 356 w 496"/>
                <a:gd name="T109" fmla="*/ 11 h 422"/>
                <a:gd name="T110" fmla="*/ 348 w 496"/>
                <a:gd name="T111" fmla="*/ 19 h 422"/>
                <a:gd name="T112" fmla="*/ 342 w 496"/>
                <a:gd name="T113" fmla="*/ 28 h 422"/>
                <a:gd name="T114" fmla="*/ 337 w 496"/>
                <a:gd name="T115" fmla="*/ 39 h 422"/>
                <a:gd name="T116" fmla="*/ 255 w 496"/>
                <a:gd name="T117" fmla="*/ 246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" h="422">
                  <a:moveTo>
                    <a:pt x="255" y="246"/>
                  </a:moveTo>
                  <a:lnTo>
                    <a:pt x="255" y="246"/>
                  </a:lnTo>
                  <a:lnTo>
                    <a:pt x="251" y="257"/>
                  </a:lnTo>
                  <a:lnTo>
                    <a:pt x="248" y="270"/>
                  </a:lnTo>
                  <a:lnTo>
                    <a:pt x="248" y="270"/>
                  </a:lnTo>
                  <a:lnTo>
                    <a:pt x="244" y="257"/>
                  </a:lnTo>
                  <a:lnTo>
                    <a:pt x="241" y="246"/>
                  </a:lnTo>
                  <a:lnTo>
                    <a:pt x="159" y="39"/>
                  </a:lnTo>
                  <a:lnTo>
                    <a:pt x="159" y="39"/>
                  </a:lnTo>
                  <a:lnTo>
                    <a:pt x="153" y="28"/>
                  </a:lnTo>
                  <a:lnTo>
                    <a:pt x="147" y="19"/>
                  </a:lnTo>
                  <a:lnTo>
                    <a:pt x="140" y="11"/>
                  </a:lnTo>
                  <a:lnTo>
                    <a:pt x="132" y="7"/>
                  </a:lnTo>
                  <a:lnTo>
                    <a:pt x="122" y="3"/>
                  </a:lnTo>
                  <a:lnTo>
                    <a:pt x="110" y="1"/>
                  </a:lnTo>
                  <a:lnTo>
                    <a:pt x="98" y="1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58" y="1"/>
                  </a:lnTo>
                  <a:lnTo>
                    <a:pt x="42" y="2"/>
                  </a:lnTo>
                  <a:lnTo>
                    <a:pt x="0" y="422"/>
                  </a:lnTo>
                  <a:lnTo>
                    <a:pt x="93" y="422"/>
                  </a:lnTo>
                  <a:lnTo>
                    <a:pt x="113" y="140"/>
                  </a:lnTo>
                  <a:lnTo>
                    <a:pt x="201" y="353"/>
                  </a:lnTo>
                  <a:lnTo>
                    <a:pt x="201" y="353"/>
                  </a:lnTo>
                  <a:lnTo>
                    <a:pt x="204" y="359"/>
                  </a:lnTo>
                  <a:lnTo>
                    <a:pt x="208" y="364"/>
                  </a:lnTo>
                  <a:lnTo>
                    <a:pt x="213" y="368"/>
                  </a:lnTo>
                  <a:lnTo>
                    <a:pt x="218" y="371"/>
                  </a:lnTo>
                  <a:lnTo>
                    <a:pt x="224" y="373"/>
                  </a:lnTo>
                  <a:lnTo>
                    <a:pt x="231" y="376"/>
                  </a:lnTo>
                  <a:lnTo>
                    <a:pt x="239" y="377"/>
                  </a:lnTo>
                  <a:lnTo>
                    <a:pt x="248" y="377"/>
                  </a:lnTo>
                  <a:lnTo>
                    <a:pt x="248" y="377"/>
                  </a:lnTo>
                  <a:lnTo>
                    <a:pt x="257" y="377"/>
                  </a:lnTo>
                  <a:lnTo>
                    <a:pt x="266" y="376"/>
                  </a:lnTo>
                  <a:lnTo>
                    <a:pt x="273" y="373"/>
                  </a:lnTo>
                  <a:lnTo>
                    <a:pt x="279" y="371"/>
                  </a:lnTo>
                  <a:lnTo>
                    <a:pt x="284" y="368"/>
                  </a:lnTo>
                  <a:lnTo>
                    <a:pt x="288" y="364"/>
                  </a:lnTo>
                  <a:lnTo>
                    <a:pt x="291" y="359"/>
                  </a:lnTo>
                  <a:lnTo>
                    <a:pt x="294" y="353"/>
                  </a:lnTo>
                  <a:lnTo>
                    <a:pt x="382" y="140"/>
                  </a:lnTo>
                  <a:lnTo>
                    <a:pt x="403" y="422"/>
                  </a:lnTo>
                  <a:lnTo>
                    <a:pt x="496" y="422"/>
                  </a:lnTo>
                  <a:lnTo>
                    <a:pt x="454" y="2"/>
                  </a:lnTo>
                  <a:lnTo>
                    <a:pt x="454" y="2"/>
                  </a:lnTo>
                  <a:lnTo>
                    <a:pt x="438" y="1"/>
                  </a:lnTo>
                  <a:lnTo>
                    <a:pt x="412" y="0"/>
                  </a:lnTo>
                  <a:lnTo>
                    <a:pt x="412" y="0"/>
                  </a:lnTo>
                  <a:lnTo>
                    <a:pt x="397" y="1"/>
                  </a:lnTo>
                  <a:lnTo>
                    <a:pt x="385" y="1"/>
                  </a:lnTo>
                  <a:lnTo>
                    <a:pt x="374" y="3"/>
                  </a:lnTo>
                  <a:lnTo>
                    <a:pt x="365" y="7"/>
                  </a:lnTo>
                  <a:lnTo>
                    <a:pt x="356" y="11"/>
                  </a:lnTo>
                  <a:lnTo>
                    <a:pt x="348" y="19"/>
                  </a:lnTo>
                  <a:lnTo>
                    <a:pt x="342" y="28"/>
                  </a:lnTo>
                  <a:lnTo>
                    <a:pt x="337" y="39"/>
                  </a:lnTo>
                  <a:lnTo>
                    <a:pt x="255" y="24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5" name="Freeform 64"/>
            <p:cNvSpPr>
              <a:spLocks/>
            </p:cNvSpPr>
            <p:nvPr userDrawn="1"/>
          </p:nvSpPr>
          <p:spPr bwMode="auto">
            <a:xfrm>
              <a:off x="4671" y="4034"/>
              <a:ext cx="43" cy="29"/>
            </a:xfrm>
            <a:custGeom>
              <a:avLst/>
              <a:gdLst>
                <a:gd name="T0" fmla="*/ 171 w 171"/>
                <a:gd name="T1" fmla="*/ 93 h 116"/>
                <a:gd name="T2" fmla="*/ 171 w 171"/>
                <a:gd name="T3" fmla="*/ 93 h 116"/>
                <a:gd name="T4" fmla="*/ 151 w 171"/>
                <a:gd name="T5" fmla="*/ 99 h 116"/>
                <a:gd name="T6" fmla="*/ 125 w 171"/>
                <a:gd name="T7" fmla="*/ 108 h 116"/>
                <a:gd name="T8" fmla="*/ 110 w 171"/>
                <a:gd name="T9" fmla="*/ 111 h 116"/>
                <a:gd name="T10" fmla="*/ 96 w 171"/>
                <a:gd name="T11" fmla="*/ 114 h 116"/>
                <a:gd name="T12" fmla="*/ 82 w 171"/>
                <a:gd name="T13" fmla="*/ 116 h 116"/>
                <a:gd name="T14" fmla="*/ 67 w 171"/>
                <a:gd name="T15" fmla="*/ 116 h 116"/>
                <a:gd name="T16" fmla="*/ 67 w 171"/>
                <a:gd name="T17" fmla="*/ 116 h 116"/>
                <a:gd name="T18" fmla="*/ 54 w 171"/>
                <a:gd name="T19" fmla="*/ 116 h 116"/>
                <a:gd name="T20" fmla="*/ 41 w 171"/>
                <a:gd name="T21" fmla="*/ 114 h 116"/>
                <a:gd name="T22" fmla="*/ 30 w 171"/>
                <a:gd name="T23" fmla="*/ 110 h 116"/>
                <a:gd name="T24" fmla="*/ 24 w 171"/>
                <a:gd name="T25" fmla="*/ 108 h 116"/>
                <a:gd name="T26" fmla="*/ 19 w 171"/>
                <a:gd name="T27" fmla="*/ 105 h 116"/>
                <a:gd name="T28" fmla="*/ 15 w 171"/>
                <a:gd name="T29" fmla="*/ 101 h 116"/>
                <a:gd name="T30" fmla="*/ 11 w 171"/>
                <a:gd name="T31" fmla="*/ 97 h 116"/>
                <a:gd name="T32" fmla="*/ 8 w 171"/>
                <a:gd name="T33" fmla="*/ 92 h 116"/>
                <a:gd name="T34" fmla="*/ 5 w 171"/>
                <a:gd name="T35" fmla="*/ 87 h 116"/>
                <a:gd name="T36" fmla="*/ 3 w 171"/>
                <a:gd name="T37" fmla="*/ 82 h 116"/>
                <a:gd name="T38" fmla="*/ 2 w 171"/>
                <a:gd name="T39" fmla="*/ 76 h 116"/>
                <a:gd name="T40" fmla="*/ 1 w 171"/>
                <a:gd name="T41" fmla="*/ 69 h 116"/>
                <a:gd name="T42" fmla="*/ 0 w 171"/>
                <a:gd name="T43" fmla="*/ 61 h 116"/>
                <a:gd name="T44" fmla="*/ 0 w 171"/>
                <a:gd name="T45" fmla="*/ 61 h 116"/>
                <a:gd name="T46" fmla="*/ 1 w 171"/>
                <a:gd name="T47" fmla="*/ 49 h 116"/>
                <a:gd name="T48" fmla="*/ 4 w 171"/>
                <a:gd name="T49" fmla="*/ 38 h 116"/>
                <a:gd name="T50" fmla="*/ 6 w 171"/>
                <a:gd name="T51" fmla="*/ 33 h 116"/>
                <a:gd name="T52" fmla="*/ 9 w 171"/>
                <a:gd name="T53" fmla="*/ 27 h 116"/>
                <a:gd name="T54" fmla="*/ 13 w 171"/>
                <a:gd name="T55" fmla="*/ 23 h 116"/>
                <a:gd name="T56" fmla="*/ 16 w 171"/>
                <a:gd name="T57" fmla="*/ 19 h 116"/>
                <a:gd name="T58" fmla="*/ 21 w 171"/>
                <a:gd name="T59" fmla="*/ 16 h 116"/>
                <a:gd name="T60" fmla="*/ 26 w 171"/>
                <a:gd name="T61" fmla="*/ 13 h 116"/>
                <a:gd name="T62" fmla="*/ 33 w 171"/>
                <a:gd name="T63" fmla="*/ 10 h 116"/>
                <a:gd name="T64" fmla="*/ 39 w 171"/>
                <a:gd name="T65" fmla="*/ 8 h 116"/>
                <a:gd name="T66" fmla="*/ 55 w 171"/>
                <a:gd name="T67" fmla="*/ 5 h 116"/>
                <a:gd name="T68" fmla="*/ 72 w 171"/>
                <a:gd name="T69" fmla="*/ 3 h 116"/>
                <a:gd name="T70" fmla="*/ 171 w 171"/>
                <a:gd name="T71" fmla="*/ 0 h 116"/>
                <a:gd name="T72" fmla="*/ 171 w 171"/>
                <a:gd name="T73" fmla="*/ 93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1" h="116">
                  <a:moveTo>
                    <a:pt x="171" y="93"/>
                  </a:moveTo>
                  <a:lnTo>
                    <a:pt x="171" y="93"/>
                  </a:lnTo>
                  <a:lnTo>
                    <a:pt x="151" y="99"/>
                  </a:lnTo>
                  <a:lnTo>
                    <a:pt x="125" y="108"/>
                  </a:lnTo>
                  <a:lnTo>
                    <a:pt x="110" y="111"/>
                  </a:lnTo>
                  <a:lnTo>
                    <a:pt x="96" y="114"/>
                  </a:lnTo>
                  <a:lnTo>
                    <a:pt x="82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54" y="116"/>
                  </a:lnTo>
                  <a:lnTo>
                    <a:pt x="41" y="114"/>
                  </a:lnTo>
                  <a:lnTo>
                    <a:pt x="30" y="110"/>
                  </a:lnTo>
                  <a:lnTo>
                    <a:pt x="24" y="108"/>
                  </a:lnTo>
                  <a:lnTo>
                    <a:pt x="19" y="105"/>
                  </a:lnTo>
                  <a:lnTo>
                    <a:pt x="15" y="101"/>
                  </a:lnTo>
                  <a:lnTo>
                    <a:pt x="11" y="97"/>
                  </a:lnTo>
                  <a:lnTo>
                    <a:pt x="8" y="92"/>
                  </a:lnTo>
                  <a:lnTo>
                    <a:pt x="5" y="87"/>
                  </a:lnTo>
                  <a:lnTo>
                    <a:pt x="3" y="82"/>
                  </a:lnTo>
                  <a:lnTo>
                    <a:pt x="2" y="76"/>
                  </a:lnTo>
                  <a:lnTo>
                    <a:pt x="1" y="69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1" y="49"/>
                  </a:lnTo>
                  <a:lnTo>
                    <a:pt x="4" y="38"/>
                  </a:lnTo>
                  <a:lnTo>
                    <a:pt x="6" y="33"/>
                  </a:lnTo>
                  <a:lnTo>
                    <a:pt x="9" y="27"/>
                  </a:lnTo>
                  <a:lnTo>
                    <a:pt x="13" y="23"/>
                  </a:lnTo>
                  <a:lnTo>
                    <a:pt x="16" y="19"/>
                  </a:lnTo>
                  <a:lnTo>
                    <a:pt x="21" y="16"/>
                  </a:lnTo>
                  <a:lnTo>
                    <a:pt x="26" y="13"/>
                  </a:lnTo>
                  <a:lnTo>
                    <a:pt x="33" y="10"/>
                  </a:lnTo>
                  <a:lnTo>
                    <a:pt x="39" y="8"/>
                  </a:lnTo>
                  <a:lnTo>
                    <a:pt x="55" y="5"/>
                  </a:lnTo>
                  <a:lnTo>
                    <a:pt x="72" y="3"/>
                  </a:lnTo>
                  <a:lnTo>
                    <a:pt x="171" y="0"/>
                  </a:lnTo>
                  <a:lnTo>
                    <a:pt x="171" y="9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6" name="Freeform 65"/>
            <p:cNvSpPr>
              <a:spLocks/>
            </p:cNvSpPr>
            <p:nvPr userDrawn="1"/>
          </p:nvSpPr>
          <p:spPr bwMode="auto">
            <a:xfrm>
              <a:off x="4649" y="3974"/>
              <a:ext cx="88" cy="107"/>
            </a:xfrm>
            <a:custGeom>
              <a:avLst/>
              <a:gdLst>
                <a:gd name="T0" fmla="*/ 205 w 352"/>
                <a:gd name="T1" fmla="*/ 0 h 428"/>
                <a:gd name="T2" fmla="*/ 147 w 352"/>
                <a:gd name="T3" fmla="*/ 4 h 428"/>
                <a:gd name="T4" fmla="*/ 97 w 352"/>
                <a:gd name="T5" fmla="*/ 12 h 428"/>
                <a:gd name="T6" fmla="*/ 58 w 352"/>
                <a:gd name="T7" fmla="*/ 23 h 428"/>
                <a:gd name="T8" fmla="*/ 33 w 352"/>
                <a:gd name="T9" fmla="*/ 33 h 428"/>
                <a:gd name="T10" fmla="*/ 52 w 352"/>
                <a:gd name="T11" fmla="*/ 102 h 428"/>
                <a:gd name="T12" fmla="*/ 92 w 352"/>
                <a:gd name="T13" fmla="*/ 91 h 428"/>
                <a:gd name="T14" fmla="*/ 133 w 352"/>
                <a:gd name="T15" fmla="*/ 82 h 428"/>
                <a:gd name="T16" fmla="*/ 179 w 352"/>
                <a:gd name="T17" fmla="*/ 79 h 428"/>
                <a:gd name="T18" fmla="*/ 197 w 352"/>
                <a:gd name="T19" fmla="*/ 80 h 428"/>
                <a:gd name="T20" fmla="*/ 221 w 352"/>
                <a:gd name="T21" fmla="*/ 84 h 428"/>
                <a:gd name="T22" fmla="*/ 234 w 352"/>
                <a:gd name="T23" fmla="*/ 90 h 428"/>
                <a:gd name="T24" fmla="*/ 244 w 352"/>
                <a:gd name="T25" fmla="*/ 98 h 428"/>
                <a:gd name="T26" fmla="*/ 251 w 352"/>
                <a:gd name="T27" fmla="*/ 108 h 428"/>
                <a:gd name="T28" fmla="*/ 256 w 352"/>
                <a:gd name="T29" fmla="*/ 120 h 428"/>
                <a:gd name="T30" fmla="*/ 260 w 352"/>
                <a:gd name="T31" fmla="*/ 137 h 428"/>
                <a:gd name="T32" fmla="*/ 260 w 352"/>
                <a:gd name="T33" fmla="*/ 176 h 428"/>
                <a:gd name="T34" fmla="*/ 179 w 352"/>
                <a:gd name="T35" fmla="*/ 176 h 428"/>
                <a:gd name="T36" fmla="*/ 132 w 352"/>
                <a:gd name="T37" fmla="*/ 179 h 428"/>
                <a:gd name="T38" fmla="*/ 93 w 352"/>
                <a:gd name="T39" fmla="*/ 187 h 428"/>
                <a:gd name="T40" fmla="*/ 61 w 352"/>
                <a:gd name="T41" fmla="*/ 200 h 428"/>
                <a:gd name="T42" fmla="*/ 38 w 352"/>
                <a:gd name="T43" fmla="*/ 216 h 428"/>
                <a:gd name="T44" fmla="*/ 20 w 352"/>
                <a:gd name="T45" fmla="*/ 236 h 428"/>
                <a:gd name="T46" fmla="*/ 9 w 352"/>
                <a:gd name="T47" fmla="*/ 257 h 428"/>
                <a:gd name="T48" fmla="*/ 2 w 352"/>
                <a:gd name="T49" fmla="*/ 282 h 428"/>
                <a:gd name="T50" fmla="*/ 0 w 352"/>
                <a:gd name="T51" fmla="*/ 307 h 428"/>
                <a:gd name="T52" fmla="*/ 1 w 352"/>
                <a:gd name="T53" fmla="*/ 323 h 428"/>
                <a:gd name="T54" fmla="*/ 7 w 352"/>
                <a:gd name="T55" fmla="*/ 352 h 428"/>
                <a:gd name="T56" fmla="*/ 19 w 352"/>
                <a:gd name="T57" fmla="*/ 376 h 428"/>
                <a:gd name="T58" fmla="*/ 35 w 352"/>
                <a:gd name="T59" fmla="*/ 394 h 428"/>
                <a:gd name="T60" fmla="*/ 54 w 352"/>
                <a:gd name="T61" fmla="*/ 408 h 428"/>
                <a:gd name="T62" fmla="*/ 77 w 352"/>
                <a:gd name="T63" fmla="*/ 418 h 428"/>
                <a:gd name="T64" fmla="*/ 101 w 352"/>
                <a:gd name="T65" fmla="*/ 424 h 428"/>
                <a:gd name="T66" fmla="*/ 126 w 352"/>
                <a:gd name="T67" fmla="*/ 427 h 428"/>
                <a:gd name="T68" fmla="*/ 138 w 352"/>
                <a:gd name="T69" fmla="*/ 428 h 428"/>
                <a:gd name="T70" fmla="*/ 164 w 352"/>
                <a:gd name="T71" fmla="*/ 426 h 428"/>
                <a:gd name="T72" fmla="*/ 209 w 352"/>
                <a:gd name="T73" fmla="*/ 418 h 428"/>
                <a:gd name="T74" fmla="*/ 241 w 352"/>
                <a:gd name="T75" fmla="*/ 406 h 428"/>
                <a:gd name="T76" fmla="*/ 260 w 352"/>
                <a:gd name="T77" fmla="*/ 397 h 428"/>
                <a:gd name="T78" fmla="*/ 264 w 352"/>
                <a:gd name="T79" fmla="*/ 396 h 428"/>
                <a:gd name="T80" fmla="*/ 270 w 352"/>
                <a:gd name="T81" fmla="*/ 398 h 428"/>
                <a:gd name="T82" fmla="*/ 284 w 352"/>
                <a:gd name="T83" fmla="*/ 404 h 428"/>
                <a:gd name="T84" fmla="*/ 311 w 352"/>
                <a:gd name="T85" fmla="*/ 411 h 428"/>
                <a:gd name="T86" fmla="*/ 352 w 352"/>
                <a:gd name="T87" fmla="*/ 413 h 428"/>
                <a:gd name="T88" fmla="*/ 352 w 352"/>
                <a:gd name="T89" fmla="*/ 122 h 428"/>
                <a:gd name="T90" fmla="*/ 350 w 352"/>
                <a:gd name="T91" fmla="*/ 92 h 428"/>
                <a:gd name="T92" fmla="*/ 343 w 352"/>
                <a:gd name="T93" fmla="*/ 66 h 428"/>
                <a:gd name="T94" fmla="*/ 331 w 352"/>
                <a:gd name="T95" fmla="*/ 45 h 428"/>
                <a:gd name="T96" fmla="*/ 314 w 352"/>
                <a:gd name="T97" fmla="*/ 29 h 428"/>
                <a:gd name="T98" fmla="*/ 293 w 352"/>
                <a:gd name="T99" fmla="*/ 15 h 428"/>
                <a:gd name="T100" fmla="*/ 268 w 352"/>
                <a:gd name="T101" fmla="*/ 7 h 428"/>
                <a:gd name="T102" fmla="*/ 238 w 352"/>
                <a:gd name="T103" fmla="*/ 2 h 428"/>
                <a:gd name="T104" fmla="*/ 205 w 352"/>
                <a:gd name="T105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2" h="428">
                  <a:moveTo>
                    <a:pt x="205" y="0"/>
                  </a:moveTo>
                  <a:lnTo>
                    <a:pt x="205" y="0"/>
                  </a:lnTo>
                  <a:lnTo>
                    <a:pt x="176" y="1"/>
                  </a:lnTo>
                  <a:lnTo>
                    <a:pt x="147" y="4"/>
                  </a:lnTo>
                  <a:lnTo>
                    <a:pt x="121" y="7"/>
                  </a:lnTo>
                  <a:lnTo>
                    <a:pt x="97" y="12"/>
                  </a:lnTo>
                  <a:lnTo>
                    <a:pt x="77" y="17"/>
                  </a:lnTo>
                  <a:lnTo>
                    <a:pt x="58" y="23"/>
                  </a:lnTo>
                  <a:lnTo>
                    <a:pt x="44" y="28"/>
                  </a:lnTo>
                  <a:lnTo>
                    <a:pt x="33" y="33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63" y="98"/>
                  </a:lnTo>
                  <a:lnTo>
                    <a:pt x="92" y="91"/>
                  </a:lnTo>
                  <a:lnTo>
                    <a:pt x="111" y="86"/>
                  </a:lnTo>
                  <a:lnTo>
                    <a:pt x="133" y="82"/>
                  </a:lnTo>
                  <a:lnTo>
                    <a:pt x="155" y="80"/>
                  </a:lnTo>
                  <a:lnTo>
                    <a:pt x="179" y="79"/>
                  </a:lnTo>
                  <a:lnTo>
                    <a:pt x="179" y="79"/>
                  </a:lnTo>
                  <a:lnTo>
                    <a:pt x="197" y="80"/>
                  </a:lnTo>
                  <a:lnTo>
                    <a:pt x="214" y="82"/>
                  </a:lnTo>
                  <a:lnTo>
                    <a:pt x="221" y="84"/>
                  </a:lnTo>
                  <a:lnTo>
                    <a:pt x="228" y="86"/>
                  </a:lnTo>
                  <a:lnTo>
                    <a:pt x="234" y="90"/>
                  </a:lnTo>
                  <a:lnTo>
                    <a:pt x="239" y="94"/>
                  </a:lnTo>
                  <a:lnTo>
                    <a:pt x="244" y="98"/>
                  </a:lnTo>
                  <a:lnTo>
                    <a:pt x="248" y="102"/>
                  </a:lnTo>
                  <a:lnTo>
                    <a:pt x="251" y="108"/>
                  </a:lnTo>
                  <a:lnTo>
                    <a:pt x="254" y="114"/>
                  </a:lnTo>
                  <a:lnTo>
                    <a:pt x="256" y="120"/>
                  </a:lnTo>
                  <a:lnTo>
                    <a:pt x="258" y="129"/>
                  </a:lnTo>
                  <a:lnTo>
                    <a:pt x="260" y="137"/>
                  </a:lnTo>
                  <a:lnTo>
                    <a:pt x="260" y="146"/>
                  </a:lnTo>
                  <a:lnTo>
                    <a:pt x="260" y="176"/>
                  </a:lnTo>
                  <a:lnTo>
                    <a:pt x="179" y="176"/>
                  </a:lnTo>
                  <a:lnTo>
                    <a:pt x="179" y="176"/>
                  </a:lnTo>
                  <a:lnTo>
                    <a:pt x="154" y="177"/>
                  </a:lnTo>
                  <a:lnTo>
                    <a:pt x="132" y="179"/>
                  </a:lnTo>
                  <a:lnTo>
                    <a:pt x="111" y="182"/>
                  </a:lnTo>
                  <a:lnTo>
                    <a:pt x="93" y="187"/>
                  </a:lnTo>
                  <a:lnTo>
                    <a:pt x="77" y="192"/>
                  </a:lnTo>
                  <a:lnTo>
                    <a:pt x="61" y="200"/>
                  </a:lnTo>
                  <a:lnTo>
                    <a:pt x="49" y="207"/>
                  </a:lnTo>
                  <a:lnTo>
                    <a:pt x="38" y="216"/>
                  </a:lnTo>
                  <a:lnTo>
                    <a:pt x="29" y="225"/>
                  </a:lnTo>
                  <a:lnTo>
                    <a:pt x="20" y="236"/>
                  </a:lnTo>
                  <a:lnTo>
                    <a:pt x="14" y="246"/>
                  </a:lnTo>
                  <a:lnTo>
                    <a:pt x="9" y="257"/>
                  </a:lnTo>
                  <a:lnTo>
                    <a:pt x="5" y="270"/>
                  </a:lnTo>
                  <a:lnTo>
                    <a:pt x="2" y="282"/>
                  </a:lnTo>
                  <a:lnTo>
                    <a:pt x="1" y="294"/>
                  </a:lnTo>
                  <a:lnTo>
                    <a:pt x="0" y="307"/>
                  </a:lnTo>
                  <a:lnTo>
                    <a:pt x="0" y="307"/>
                  </a:lnTo>
                  <a:lnTo>
                    <a:pt x="1" y="323"/>
                  </a:lnTo>
                  <a:lnTo>
                    <a:pt x="3" y="338"/>
                  </a:lnTo>
                  <a:lnTo>
                    <a:pt x="7" y="352"/>
                  </a:lnTo>
                  <a:lnTo>
                    <a:pt x="12" y="364"/>
                  </a:lnTo>
                  <a:lnTo>
                    <a:pt x="19" y="376"/>
                  </a:lnTo>
                  <a:lnTo>
                    <a:pt x="27" y="386"/>
                  </a:lnTo>
                  <a:lnTo>
                    <a:pt x="35" y="394"/>
                  </a:lnTo>
                  <a:lnTo>
                    <a:pt x="45" y="401"/>
                  </a:lnTo>
                  <a:lnTo>
                    <a:pt x="54" y="408"/>
                  </a:lnTo>
                  <a:lnTo>
                    <a:pt x="65" y="414"/>
                  </a:lnTo>
                  <a:lnTo>
                    <a:pt x="77" y="418"/>
                  </a:lnTo>
                  <a:lnTo>
                    <a:pt x="89" y="422"/>
                  </a:lnTo>
                  <a:lnTo>
                    <a:pt x="101" y="424"/>
                  </a:lnTo>
                  <a:lnTo>
                    <a:pt x="113" y="426"/>
                  </a:lnTo>
                  <a:lnTo>
                    <a:pt x="126" y="427"/>
                  </a:lnTo>
                  <a:lnTo>
                    <a:pt x="138" y="428"/>
                  </a:lnTo>
                  <a:lnTo>
                    <a:pt x="138" y="428"/>
                  </a:lnTo>
                  <a:lnTo>
                    <a:pt x="151" y="427"/>
                  </a:lnTo>
                  <a:lnTo>
                    <a:pt x="164" y="426"/>
                  </a:lnTo>
                  <a:lnTo>
                    <a:pt x="189" y="423"/>
                  </a:lnTo>
                  <a:lnTo>
                    <a:pt x="209" y="418"/>
                  </a:lnTo>
                  <a:lnTo>
                    <a:pt x="227" y="412"/>
                  </a:lnTo>
                  <a:lnTo>
                    <a:pt x="241" y="406"/>
                  </a:lnTo>
                  <a:lnTo>
                    <a:pt x="252" y="401"/>
                  </a:lnTo>
                  <a:lnTo>
                    <a:pt x="260" y="397"/>
                  </a:lnTo>
                  <a:lnTo>
                    <a:pt x="264" y="396"/>
                  </a:lnTo>
                  <a:lnTo>
                    <a:pt x="264" y="396"/>
                  </a:lnTo>
                  <a:lnTo>
                    <a:pt x="266" y="397"/>
                  </a:lnTo>
                  <a:lnTo>
                    <a:pt x="270" y="398"/>
                  </a:lnTo>
                  <a:lnTo>
                    <a:pt x="276" y="401"/>
                  </a:lnTo>
                  <a:lnTo>
                    <a:pt x="284" y="404"/>
                  </a:lnTo>
                  <a:lnTo>
                    <a:pt x="295" y="407"/>
                  </a:lnTo>
                  <a:lnTo>
                    <a:pt x="311" y="411"/>
                  </a:lnTo>
                  <a:lnTo>
                    <a:pt x="329" y="412"/>
                  </a:lnTo>
                  <a:lnTo>
                    <a:pt x="352" y="413"/>
                  </a:lnTo>
                  <a:lnTo>
                    <a:pt x="352" y="122"/>
                  </a:lnTo>
                  <a:lnTo>
                    <a:pt x="352" y="122"/>
                  </a:lnTo>
                  <a:lnTo>
                    <a:pt x="352" y="106"/>
                  </a:lnTo>
                  <a:lnTo>
                    <a:pt x="350" y="92"/>
                  </a:lnTo>
                  <a:lnTo>
                    <a:pt x="347" y="78"/>
                  </a:lnTo>
                  <a:lnTo>
                    <a:pt x="343" y="66"/>
                  </a:lnTo>
                  <a:lnTo>
                    <a:pt x="337" y="56"/>
                  </a:lnTo>
                  <a:lnTo>
                    <a:pt x="331" y="45"/>
                  </a:lnTo>
                  <a:lnTo>
                    <a:pt x="323" y="36"/>
                  </a:lnTo>
                  <a:lnTo>
                    <a:pt x="314" y="29"/>
                  </a:lnTo>
                  <a:lnTo>
                    <a:pt x="304" y="22"/>
                  </a:lnTo>
                  <a:lnTo>
                    <a:pt x="293" y="15"/>
                  </a:lnTo>
                  <a:lnTo>
                    <a:pt x="281" y="11"/>
                  </a:lnTo>
                  <a:lnTo>
                    <a:pt x="268" y="7"/>
                  </a:lnTo>
                  <a:lnTo>
                    <a:pt x="253" y="4"/>
                  </a:lnTo>
                  <a:lnTo>
                    <a:pt x="238" y="2"/>
                  </a:lnTo>
                  <a:lnTo>
                    <a:pt x="223" y="1"/>
                  </a:lnTo>
                  <a:lnTo>
                    <a:pt x="20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7" name="Freeform 10"/>
            <p:cNvSpPr>
              <a:spLocks/>
            </p:cNvSpPr>
            <p:nvPr userDrawn="1"/>
          </p:nvSpPr>
          <p:spPr bwMode="auto">
            <a:xfrm>
              <a:off x="4936" y="4034"/>
              <a:ext cx="43" cy="29"/>
            </a:xfrm>
            <a:custGeom>
              <a:avLst/>
              <a:gdLst>
                <a:gd name="T0" fmla="*/ 171 w 171"/>
                <a:gd name="T1" fmla="*/ 93 h 116"/>
                <a:gd name="T2" fmla="*/ 171 w 171"/>
                <a:gd name="T3" fmla="*/ 93 h 116"/>
                <a:gd name="T4" fmla="*/ 152 w 171"/>
                <a:gd name="T5" fmla="*/ 99 h 116"/>
                <a:gd name="T6" fmla="*/ 125 w 171"/>
                <a:gd name="T7" fmla="*/ 108 h 116"/>
                <a:gd name="T8" fmla="*/ 111 w 171"/>
                <a:gd name="T9" fmla="*/ 111 h 116"/>
                <a:gd name="T10" fmla="*/ 95 w 171"/>
                <a:gd name="T11" fmla="*/ 114 h 116"/>
                <a:gd name="T12" fmla="*/ 81 w 171"/>
                <a:gd name="T13" fmla="*/ 116 h 116"/>
                <a:gd name="T14" fmla="*/ 68 w 171"/>
                <a:gd name="T15" fmla="*/ 116 h 116"/>
                <a:gd name="T16" fmla="*/ 68 w 171"/>
                <a:gd name="T17" fmla="*/ 116 h 116"/>
                <a:gd name="T18" fmla="*/ 54 w 171"/>
                <a:gd name="T19" fmla="*/ 116 h 116"/>
                <a:gd name="T20" fmla="*/ 41 w 171"/>
                <a:gd name="T21" fmla="*/ 114 h 116"/>
                <a:gd name="T22" fmla="*/ 29 w 171"/>
                <a:gd name="T23" fmla="*/ 110 h 116"/>
                <a:gd name="T24" fmla="*/ 24 w 171"/>
                <a:gd name="T25" fmla="*/ 108 h 116"/>
                <a:gd name="T26" fmla="*/ 20 w 171"/>
                <a:gd name="T27" fmla="*/ 105 h 116"/>
                <a:gd name="T28" fmla="*/ 16 w 171"/>
                <a:gd name="T29" fmla="*/ 101 h 116"/>
                <a:gd name="T30" fmla="*/ 12 w 171"/>
                <a:gd name="T31" fmla="*/ 97 h 116"/>
                <a:gd name="T32" fmla="*/ 9 w 171"/>
                <a:gd name="T33" fmla="*/ 92 h 116"/>
                <a:gd name="T34" fmla="*/ 6 w 171"/>
                <a:gd name="T35" fmla="*/ 87 h 116"/>
                <a:gd name="T36" fmla="*/ 3 w 171"/>
                <a:gd name="T37" fmla="*/ 82 h 116"/>
                <a:gd name="T38" fmla="*/ 1 w 171"/>
                <a:gd name="T39" fmla="*/ 76 h 116"/>
                <a:gd name="T40" fmla="*/ 0 w 171"/>
                <a:gd name="T41" fmla="*/ 69 h 116"/>
                <a:gd name="T42" fmla="*/ 0 w 171"/>
                <a:gd name="T43" fmla="*/ 61 h 116"/>
                <a:gd name="T44" fmla="*/ 0 w 171"/>
                <a:gd name="T45" fmla="*/ 61 h 116"/>
                <a:gd name="T46" fmla="*/ 1 w 171"/>
                <a:gd name="T47" fmla="*/ 49 h 116"/>
                <a:gd name="T48" fmla="*/ 4 w 171"/>
                <a:gd name="T49" fmla="*/ 38 h 116"/>
                <a:gd name="T50" fmla="*/ 7 w 171"/>
                <a:gd name="T51" fmla="*/ 33 h 116"/>
                <a:gd name="T52" fmla="*/ 10 w 171"/>
                <a:gd name="T53" fmla="*/ 27 h 116"/>
                <a:gd name="T54" fmla="*/ 13 w 171"/>
                <a:gd name="T55" fmla="*/ 23 h 116"/>
                <a:gd name="T56" fmla="*/ 17 w 171"/>
                <a:gd name="T57" fmla="*/ 19 h 116"/>
                <a:gd name="T58" fmla="*/ 22 w 171"/>
                <a:gd name="T59" fmla="*/ 16 h 116"/>
                <a:gd name="T60" fmla="*/ 27 w 171"/>
                <a:gd name="T61" fmla="*/ 13 h 116"/>
                <a:gd name="T62" fmla="*/ 33 w 171"/>
                <a:gd name="T63" fmla="*/ 10 h 116"/>
                <a:gd name="T64" fmla="*/ 39 w 171"/>
                <a:gd name="T65" fmla="*/ 8 h 116"/>
                <a:gd name="T66" fmla="*/ 55 w 171"/>
                <a:gd name="T67" fmla="*/ 5 h 116"/>
                <a:gd name="T68" fmla="*/ 73 w 171"/>
                <a:gd name="T69" fmla="*/ 3 h 116"/>
                <a:gd name="T70" fmla="*/ 171 w 171"/>
                <a:gd name="T71" fmla="*/ 0 h 116"/>
                <a:gd name="T72" fmla="*/ 171 w 171"/>
                <a:gd name="T73" fmla="*/ 93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1" h="116">
                  <a:moveTo>
                    <a:pt x="171" y="93"/>
                  </a:moveTo>
                  <a:lnTo>
                    <a:pt x="171" y="93"/>
                  </a:lnTo>
                  <a:lnTo>
                    <a:pt x="152" y="99"/>
                  </a:lnTo>
                  <a:lnTo>
                    <a:pt x="125" y="108"/>
                  </a:lnTo>
                  <a:lnTo>
                    <a:pt x="111" y="111"/>
                  </a:lnTo>
                  <a:lnTo>
                    <a:pt x="95" y="114"/>
                  </a:lnTo>
                  <a:lnTo>
                    <a:pt x="81" y="116"/>
                  </a:lnTo>
                  <a:lnTo>
                    <a:pt x="68" y="116"/>
                  </a:lnTo>
                  <a:lnTo>
                    <a:pt x="68" y="116"/>
                  </a:lnTo>
                  <a:lnTo>
                    <a:pt x="54" y="116"/>
                  </a:lnTo>
                  <a:lnTo>
                    <a:pt x="41" y="114"/>
                  </a:lnTo>
                  <a:lnTo>
                    <a:pt x="29" y="110"/>
                  </a:lnTo>
                  <a:lnTo>
                    <a:pt x="24" y="108"/>
                  </a:lnTo>
                  <a:lnTo>
                    <a:pt x="20" y="105"/>
                  </a:lnTo>
                  <a:lnTo>
                    <a:pt x="16" y="101"/>
                  </a:lnTo>
                  <a:lnTo>
                    <a:pt x="12" y="97"/>
                  </a:lnTo>
                  <a:lnTo>
                    <a:pt x="9" y="92"/>
                  </a:lnTo>
                  <a:lnTo>
                    <a:pt x="6" y="87"/>
                  </a:lnTo>
                  <a:lnTo>
                    <a:pt x="3" y="82"/>
                  </a:lnTo>
                  <a:lnTo>
                    <a:pt x="1" y="76"/>
                  </a:lnTo>
                  <a:lnTo>
                    <a:pt x="0" y="69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1" y="49"/>
                  </a:lnTo>
                  <a:lnTo>
                    <a:pt x="4" y="38"/>
                  </a:lnTo>
                  <a:lnTo>
                    <a:pt x="7" y="33"/>
                  </a:lnTo>
                  <a:lnTo>
                    <a:pt x="10" y="27"/>
                  </a:lnTo>
                  <a:lnTo>
                    <a:pt x="13" y="23"/>
                  </a:lnTo>
                  <a:lnTo>
                    <a:pt x="17" y="19"/>
                  </a:lnTo>
                  <a:lnTo>
                    <a:pt x="22" y="16"/>
                  </a:lnTo>
                  <a:lnTo>
                    <a:pt x="27" y="13"/>
                  </a:lnTo>
                  <a:lnTo>
                    <a:pt x="33" y="10"/>
                  </a:lnTo>
                  <a:lnTo>
                    <a:pt x="39" y="8"/>
                  </a:lnTo>
                  <a:lnTo>
                    <a:pt x="55" y="5"/>
                  </a:lnTo>
                  <a:lnTo>
                    <a:pt x="73" y="3"/>
                  </a:lnTo>
                  <a:lnTo>
                    <a:pt x="171" y="0"/>
                  </a:lnTo>
                  <a:lnTo>
                    <a:pt x="171" y="9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8" name="Freeform 11"/>
            <p:cNvSpPr>
              <a:spLocks/>
            </p:cNvSpPr>
            <p:nvPr userDrawn="1"/>
          </p:nvSpPr>
          <p:spPr bwMode="auto">
            <a:xfrm>
              <a:off x="4914" y="3974"/>
              <a:ext cx="88" cy="107"/>
            </a:xfrm>
            <a:custGeom>
              <a:avLst/>
              <a:gdLst>
                <a:gd name="T0" fmla="*/ 206 w 353"/>
                <a:gd name="T1" fmla="*/ 0 h 428"/>
                <a:gd name="T2" fmla="*/ 148 w 353"/>
                <a:gd name="T3" fmla="*/ 4 h 428"/>
                <a:gd name="T4" fmla="*/ 98 w 353"/>
                <a:gd name="T5" fmla="*/ 12 h 428"/>
                <a:gd name="T6" fmla="*/ 59 w 353"/>
                <a:gd name="T7" fmla="*/ 23 h 428"/>
                <a:gd name="T8" fmla="*/ 33 w 353"/>
                <a:gd name="T9" fmla="*/ 33 h 428"/>
                <a:gd name="T10" fmla="*/ 53 w 353"/>
                <a:gd name="T11" fmla="*/ 102 h 428"/>
                <a:gd name="T12" fmla="*/ 92 w 353"/>
                <a:gd name="T13" fmla="*/ 91 h 428"/>
                <a:gd name="T14" fmla="*/ 132 w 353"/>
                <a:gd name="T15" fmla="*/ 82 h 428"/>
                <a:gd name="T16" fmla="*/ 178 w 353"/>
                <a:gd name="T17" fmla="*/ 79 h 428"/>
                <a:gd name="T18" fmla="*/ 198 w 353"/>
                <a:gd name="T19" fmla="*/ 80 h 428"/>
                <a:gd name="T20" fmla="*/ 221 w 353"/>
                <a:gd name="T21" fmla="*/ 84 h 428"/>
                <a:gd name="T22" fmla="*/ 233 w 353"/>
                <a:gd name="T23" fmla="*/ 90 h 428"/>
                <a:gd name="T24" fmla="*/ 244 w 353"/>
                <a:gd name="T25" fmla="*/ 98 h 428"/>
                <a:gd name="T26" fmla="*/ 252 w 353"/>
                <a:gd name="T27" fmla="*/ 108 h 428"/>
                <a:gd name="T28" fmla="*/ 257 w 353"/>
                <a:gd name="T29" fmla="*/ 120 h 428"/>
                <a:gd name="T30" fmla="*/ 259 w 353"/>
                <a:gd name="T31" fmla="*/ 137 h 428"/>
                <a:gd name="T32" fmla="*/ 260 w 353"/>
                <a:gd name="T33" fmla="*/ 176 h 428"/>
                <a:gd name="T34" fmla="*/ 178 w 353"/>
                <a:gd name="T35" fmla="*/ 176 h 428"/>
                <a:gd name="T36" fmla="*/ 131 w 353"/>
                <a:gd name="T37" fmla="*/ 179 h 428"/>
                <a:gd name="T38" fmla="*/ 92 w 353"/>
                <a:gd name="T39" fmla="*/ 187 h 428"/>
                <a:gd name="T40" fmla="*/ 62 w 353"/>
                <a:gd name="T41" fmla="*/ 200 h 428"/>
                <a:gd name="T42" fmla="*/ 38 w 353"/>
                <a:gd name="T43" fmla="*/ 216 h 428"/>
                <a:gd name="T44" fmla="*/ 21 w 353"/>
                <a:gd name="T45" fmla="*/ 236 h 428"/>
                <a:gd name="T46" fmla="*/ 9 w 353"/>
                <a:gd name="T47" fmla="*/ 257 h 428"/>
                <a:gd name="T48" fmla="*/ 3 w 353"/>
                <a:gd name="T49" fmla="*/ 282 h 428"/>
                <a:gd name="T50" fmla="*/ 0 w 353"/>
                <a:gd name="T51" fmla="*/ 307 h 428"/>
                <a:gd name="T52" fmla="*/ 2 w 353"/>
                <a:gd name="T53" fmla="*/ 323 h 428"/>
                <a:gd name="T54" fmla="*/ 8 w 353"/>
                <a:gd name="T55" fmla="*/ 352 h 428"/>
                <a:gd name="T56" fmla="*/ 19 w 353"/>
                <a:gd name="T57" fmla="*/ 376 h 428"/>
                <a:gd name="T58" fmla="*/ 35 w 353"/>
                <a:gd name="T59" fmla="*/ 394 h 428"/>
                <a:gd name="T60" fmla="*/ 55 w 353"/>
                <a:gd name="T61" fmla="*/ 408 h 428"/>
                <a:gd name="T62" fmla="*/ 77 w 353"/>
                <a:gd name="T63" fmla="*/ 418 h 428"/>
                <a:gd name="T64" fmla="*/ 101 w 353"/>
                <a:gd name="T65" fmla="*/ 424 h 428"/>
                <a:gd name="T66" fmla="*/ 125 w 353"/>
                <a:gd name="T67" fmla="*/ 427 h 428"/>
                <a:gd name="T68" fmla="*/ 137 w 353"/>
                <a:gd name="T69" fmla="*/ 428 h 428"/>
                <a:gd name="T70" fmla="*/ 165 w 353"/>
                <a:gd name="T71" fmla="*/ 426 h 428"/>
                <a:gd name="T72" fmla="*/ 210 w 353"/>
                <a:gd name="T73" fmla="*/ 418 h 428"/>
                <a:gd name="T74" fmla="*/ 242 w 353"/>
                <a:gd name="T75" fmla="*/ 406 h 428"/>
                <a:gd name="T76" fmla="*/ 260 w 353"/>
                <a:gd name="T77" fmla="*/ 397 h 428"/>
                <a:gd name="T78" fmla="*/ 264 w 353"/>
                <a:gd name="T79" fmla="*/ 396 h 428"/>
                <a:gd name="T80" fmla="*/ 269 w 353"/>
                <a:gd name="T81" fmla="*/ 398 h 428"/>
                <a:gd name="T82" fmla="*/ 283 w 353"/>
                <a:gd name="T83" fmla="*/ 404 h 428"/>
                <a:gd name="T84" fmla="*/ 310 w 353"/>
                <a:gd name="T85" fmla="*/ 411 h 428"/>
                <a:gd name="T86" fmla="*/ 353 w 353"/>
                <a:gd name="T87" fmla="*/ 413 h 428"/>
                <a:gd name="T88" fmla="*/ 353 w 353"/>
                <a:gd name="T89" fmla="*/ 122 h 428"/>
                <a:gd name="T90" fmla="*/ 351 w 353"/>
                <a:gd name="T91" fmla="*/ 92 h 428"/>
                <a:gd name="T92" fmla="*/ 343 w 353"/>
                <a:gd name="T93" fmla="*/ 66 h 428"/>
                <a:gd name="T94" fmla="*/ 330 w 353"/>
                <a:gd name="T95" fmla="*/ 45 h 428"/>
                <a:gd name="T96" fmla="*/ 314 w 353"/>
                <a:gd name="T97" fmla="*/ 29 h 428"/>
                <a:gd name="T98" fmla="*/ 293 w 353"/>
                <a:gd name="T99" fmla="*/ 15 h 428"/>
                <a:gd name="T100" fmla="*/ 268 w 353"/>
                <a:gd name="T101" fmla="*/ 7 h 428"/>
                <a:gd name="T102" fmla="*/ 239 w 353"/>
                <a:gd name="T103" fmla="*/ 2 h 428"/>
                <a:gd name="T104" fmla="*/ 206 w 353"/>
                <a:gd name="T105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3" h="428">
                  <a:moveTo>
                    <a:pt x="206" y="0"/>
                  </a:moveTo>
                  <a:lnTo>
                    <a:pt x="206" y="0"/>
                  </a:lnTo>
                  <a:lnTo>
                    <a:pt x="175" y="1"/>
                  </a:lnTo>
                  <a:lnTo>
                    <a:pt x="148" y="4"/>
                  </a:lnTo>
                  <a:lnTo>
                    <a:pt x="121" y="7"/>
                  </a:lnTo>
                  <a:lnTo>
                    <a:pt x="98" y="12"/>
                  </a:lnTo>
                  <a:lnTo>
                    <a:pt x="77" y="17"/>
                  </a:lnTo>
                  <a:lnTo>
                    <a:pt x="59" y="23"/>
                  </a:lnTo>
                  <a:lnTo>
                    <a:pt x="44" y="28"/>
                  </a:lnTo>
                  <a:lnTo>
                    <a:pt x="33" y="33"/>
                  </a:lnTo>
                  <a:lnTo>
                    <a:pt x="53" y="102"/>
                  </a:lnTo>
                  <a:lnTo>
                    <a:pt x="53" y="102"/>
                  </a:lnTo>
                  <a:lnTo>
                    <a:pt x="64" y="98"/>
                  </a:lnTo>
                  <a:lnTo>
                    <a:pt x="92" y="91"/>
                  </a:lnTo>
                  <a:lnTo>
                    <a:pt x="111" y="86"/>
                  </a:lnTo>
                  <a:lnTo>
                    <a:pt x="132" y="82"/>
                  </a:lnTo>
                  <a:lnTo>
                    <a:pt x="155" y="80"/>
                  </a:lnTo>
                  <a:lnTo>
                    <a:pt x="178" y="79"/>
                  </a:lnTo>
                  <a:lnTo>
                    <a:pt x="178" y="79"/>
                  </a:lnTo>
                  <a:lnTo>
                    <a:pt x="198" y="80"/>
                  </a:lnTo>
                  <a:lnTo>
                    <a:pt x="214" y="82"/>
                  </a:lnTo>
                  <a:lnTo>
                    <a:pt x="221" y="84"/>
                  </a:lnTo>
                  <a:lnTo>
                    <a:pt x="227" y="86"/>
                  </a:lnTo>
                  <a:lnTo>
                    <a:pt x="233" y="90"/>
                  </a:lnTo>
                  <a:lnTo>
                    <a:pt x="240" y="94"/>
                  </a:lnTo>
                  <a:lnTo>
                    <a:pt x="244" y="98"/>
                  </a:lnTo>
                  <a:lnTo>
                    <a:pt x="248" y="102"/>
                  </a:lnTo>
                  <a:lnTo>
                    <a:pt x="252" y="108"/>
                  </a:lnTo>
                  <a:lnTo>
                    <a:pt x="255" y="114"/>
                  </a:lnTo>
                  <a:lnTo>
                    <a:pt x="257" y="120"/>
                  </a:lnTo>
                  <a:lnTo>
                    <a:pt x="258" y="129"/>
                  </a:lnTo>
                  <a:lnTo>
                    <a:pt x="259" y="137"/>
                  </a:lnTo>
                  <a:lnTo>
                    <a:pt x="260" y="146"/>
                  </a:lnTo>
                  <a:lnTo>
                    <a:pt x="260" y="176"/>
                  </a:lnTo>
                  <a:lnTo>
                    <a:pt x="178" y="176"/>
                  </a:lnTo>
                  <a:lnTo>
                    <a:pt x="178" y="176"/>
                  </a:lnTo>
                  <a:lnTo>
                    <a:pt x="154" y="177"/>
                  </a:lnTo>
                  <a:lnTo>
                    <a:pt x="131" y="179"/>
                  </a:lnTo>
                  <a:lnTo>
                    <a:pt x="111" y="182"/>
                  </a:lnTo>
                  <a:lnTo>
                    <a:pt x="92" y="187"/>
                  </a:lnTo>
                  <a:lnTo>
                    <a:pt x="76" y="192"/>
                  </a:lnTo>
                  <a:lnTo>
                    <a:pt x="62" y="200"/>
                  </a:lnTo>
                  <a:lnTo>
                    <a:pt x="50" y="207"/>
                  </a:lnTo>
                  <a:lnTo>
                    <a:pt x="38" y="216"/>
                  </a:lnTo>
                  <a:lnTo>
                    <a:pt x="28" y="225"/>
                  </a:lnTo>
                  <a:lnTo>
                    <a:pt x="21" y="236"/>
                  </a:lnTo>
                  <a:lnTo>
                    <a:pt x="14" y="246"/>
                  </a:lnTo>
                  <a:lnTo>
                    <a:pt x="9" y="257"/>
                  </a:lnTo>
                  <a:lnTo>
                    <a:pt x="6" y="270"/>
                  </a:lnTo>
                  <a:lnTo>
                    <a:pt x="3" y="282"/>
                  </a:lnTo>
                  <a:lnTo>
                    <a:pt x="0" y="294"/>
                  </a:lnTo>
                  <a:lnTo>
                    <a:pt x="0" y="307"/>
                  </a:lnTo>
                  <a:lnTo>
                    <a:pt x="0" y="307"/>
                  </a:lnTo>
                  <a:lnTo>
                    <a:pt x="2" y="323"/>
                  </a:lnTo>
                  <a:lnTo>
                    <a:pt x="4" y="338"/>
                  </a:lnTo>
                  <a:lnTo>
                    <a:pt x="8" y="352"/>
                  </a:lnTo>
                  <a:lnTo>
                    <a:pt x="13" y="364"/>
                  </a:lnTo>
                  <a:lnTo>
                    <a:pt x="19" y="376"/>
                  </a:lnTo>
                  <a:lnTo>
                    <a:pt x="27" y="386"/>
                  </a:lnTo>
                  <a:lnTo>
                    <a:pt x="35" y="394"/>
                  </a:lnTo>
                  <a:lnTo>
                    <a:pt x="44" y="401"/>
                  </a:lnTo>
                  <a:lnTo>
                    <a:pt x="55" y="408"/>
                  </a:lnTo>
                  <a:lnTo>
                    <a:pt x="66" y="414"/>
                  </a:lnTo>
                  <a:lnTo>
                    <a:pt x="77" y="418"/>
                  </a:lnTo>
                  <a:lnTo>
                    <a:pt x="88" y="422"/>
                  </a:lnTo>
                  <a:lnTo>
                    <a:pt x="101" y="424"/>
                  </a:lnTo>
                  <a:lnTo>
                    <a:pt x="113" y="426"/>
                  </a:lnTo>
                  <a:lnTo>
                    <a:pt x="125" y="427"/>
                  </a:lnTo>
                  <a:lnTo>
                    <a:pt x="137" y="428"/>
                  </a:lnTo>
                  <a:lnTo>
                    <a:pt x="137" y="428"/>
                  </a:lnTo>
                  <a:lnTo>
                    <a:pt x="152" y="427"/>
                  </a:lnTo>
                  <a:lnTo>
                    <a:pt x="165" y="426"/>
                  </a:lnTo>
                  <a:lnTo>
                    <a:pt x="188" y="423"/>
                  </a:lnTo>
                  <a:lnTo>
                    <a:pt x="210" y="418"/>
                  </a:lnTo>
                  <a:lnTo>
                    <a:pt x="227" y="412"/>
                  </a:lnTo>
                  <a:lnTo>
                    <a:pt x="242" y="406"/>
                  </a:lnTo>
                  <a:lnTo>
                    <a:pt x="253" y="401"/>
                  </a:lnTo>
                  <a:lnTo>
                    <a:pt x="260" y="397"/>
                  </a:lnTo>
                  <a:lnTo>
                    <a:pt x="264" y="396"/>
                  </a:lnTo>
                  <a:lnTo>
                    <a:pt x="264" y="396"/>
                  </a:lnTo>
                  <a:lnTo>
                    <a:pt x="266" y="397"/>
                  </a:lnTo>
                  <a:lnTo>
                    <a:pt x="269" y="398"/>
                  </a:lnTo>
                  <a:lnTo>
                    <a:pt x="275" y="401"/>
                  </a:lnTo>
                  <a:lnTo>
                    <a:pt x="283" y="404"/>
                  </a:lnTo>
                  <a:lnTo>
                    <a:pt x="296" y="407"/>
                  </a:lnTo>
                  <a:lnTo>
                    <a:pt x="310" y="411"/>
                  </a:lnTo>
                  <a:lnTo>
                    <a:pt x="329" y="412"/>
                  </a:lnTo>
                  <a:lnTo>
                    <a:pt x="353" y="413"/>
                  </a:lnTo>
                  <a:lnTo>
                    <a:pt x="353" y="122"/>
                  </a:lnTo>
                  <a:lnTo>
                    <a:pt x="353" y="122"/>
                  </a:lnTo>
                  <a:lnTo>
                    <a:pt x="353" y="106"/>
                  </a:lnTo>
                  <a:lnTo>
                    <a:pt x="351" y="92"/>
                  </a:lnTo>
                  <a:lnTo>
                    <a:pt x="348" y="78"/>
                  </a:lnTo>
                  <a:lnTo>
                    <a:pt x="343" y="66"/>
                  </a:lnTo>
                  <a:lnTo>
                    <a:pt x="338" y="56"/>
                  </a:lnTo>
                  <a:lnTo>
                    <a:pt x="330" y="45"/>
                  </a:lnTo>
                  <a:lnTo>
                    <a:pt x="323" y="36"/>
                  </a:lnTo>
                  <a:lnTo>
                    <a:pt x="314" y="29"/>
                  </a:lnTo>
                  <a:lnTo>
                    <a:pt x="304" y="22"/>
                  </a:lnTo>
                  <a:lnTo>
                    <a:pt x="293" y="15"/>
                  </a:lnTo>
                  <a:lnTo>
                    <a:pt x="281" y="11"/>
                  </a:lnTo>
                  <a:lnTo>
                    <a:pt x="268" y="7"/>
                  </a:lnTo>
                  <a:lnTo>
                    <a:pt x="254" y="4"/>
                  </a:lnTo>
                  <a:lnTo>
                    <a:pt x="239" y="2"/>
                  </a:lnTo>
                  <a:lnTo>
                    <a:pt x="222" y="1"/>
                  </a:lnTo>
                  <a:lnTo>
                    <a:pt x="20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69" name="Freeform 12"/>
            <p:cNvSpPr>
              <a:spLocks/>
            </p:cNvSpPr>
            <p:nvPr userDrawn="1"/>
          </p:nvSpPr>
          <p:spPr bwMode="auto">
            <a:xfrm>
              <a:off x="5263" y="3975"/>
              <a:ext cx="93" cy="106"/>
            </a:xfrm>
            <a:custGeom>
              <a:avLst/>
              <a:gdLst>
                <a:gd name="T0" fmla="*/ 281 w 374"/>
                <a:gd name="T1" fmla="*/ 313 h 424"/>
                <a:gd name="T2" fmla="*/ 246 w 374"/>
                <a:gd name="T3" fmla="*/ 327 h 424"/>
                <a:gd name="T4" fmla="*/ 217 w 374"/>
                <a:gd name="T5" fmla="*/ 336 h 424"/>
                <a:gd name="T6" fmla="*/ 184 w 374"/>
                <a:gd name="T7" fmla="*/ 341 h 424"/>
                <a:gd name="T8" fmla="*/ 167 w 374"/>
                <a:gd name="T9" fmla="*/ 342 h 424"/>
                <a:gd name="T10" fmla="*/ 145 w 374"/>
                <a:gd name="T11" fmla="*/ 341 h 424"/>
                <a:gd name="T12" fmla="*/ 129 w 374"/>
                <a:gd name="T13" fmla="*/ 337 h 424"/>
                <a:gd name="T14" fmla="*/ 116 w 374"/>
                <a:gd name="T15" fmla="*/ 329 h 424"/>
                <a:gd name="T16" fmla="*/ 106 w 374"/>
                <a:gd name="T17" fmla="*/ 319 h 424"/>
                <a:gd name="T18" fmla="*/ 99 w 374"/>
                <a:gd name="T19" fmla="*/ 307 h 424"/>
                <a:gd name="T20" fmla="*/ 95 w 374"/>
                <a:gd name="T21" fmla="*/ 290 h 424"/>
                <a:gd name="T22" fmla="*/ 93 w 374"/>
                <a:gd name="T23" fmla="*/ 248 h 424"/>
                <a:gd name="T24" fmla="*/ 79 w 374"/>
                <a:gd name="T25" fmla="*/ 0 h 424"/>
                <a:gd name="T26" fmla="*/ 59 w 374"/>
                <a:gd name="T27" fmla="*/ 0 h 424"/>
                <a:gd name="T28" fmla="*/ 13 w 374"/>
                <a:gd name="T29" fmla="*/ 4 h 424"/>
                <a:gd name="T30" fmla="*/ 0 w 374"/>
                <a:gd name="T31" fmla="*/ 259 h 424"/>
                <a:gd name="T32" fmla="*/ 0 w 374"/>
                <a:gd name="T33" fmla="*/ 280 h 424"/>
                <a:gd name="T34" fmla="*/ 3 w 374"/>
                <a:gd name="T35" fmla="*/ 316 h 424"/>
                <a:gd name="T36" fmla="*/ 9 w 374"/>
                <a:gd name="T37" fmla="*/ 347 h 424"/>
                <a:gd name="T38" fmla="*/ 21 w 374"/>
                <a:gd name="T39" fmla="*/ 373 h 424"/>
                <a:gd name="T40" fmla="*/ 36 w 374"/>
                <a:gd name="T41" fmla="*/ 393 h 424"/>
                <a:gd name="T42" fmla="*/ 58 w 374"/>
                <a:gd name="T43" fmla="*/ 408 h 424"/>
                <a:gd name="T44" fmla="*/ 86 w 374"/>
                <a:gd name="T45" fmla="*/ 418 h 424"/>
                <a:gd name="T46" fmla="*/ 121 w 374"/>
                <a:gd name="T47" fmla="*/ 423 h 424"/>
                <a:gd name="T48" fmla="*/ 141 w 374"/>
                <a:gd name="T49" fmla="*/ 424 h 424"/>
                <a:gd name="T50" fmla="*/ 172 w 374"/>
                <a:gd name="T51" fmla="*/ 422 h 424"/>
                <a:gd name="T52" fmla="*/ 199 w 374"/>
                <a:gd name="T53" fmla="*/ 418 h 424"/>
                <a:gd name="T54" fmla="*/ 243 w 374"/>
                <a:gd name="T55" fmla="*/ 407 h 424"/>
                <a:gd name="T56" fmla="*/ 271 w 374"/>
                <a:gd name="T57" fmla="*/ 395 h 424"/>
                <a:gd name="T58" fmla="*/ 283 w 374"/>
                <a:gd name="T59" fmla="*/ 390 h 424"/>
                <a:gd name="T60" fmla="*/ 296 w 374"/>
                <a:gd name="T61" fmla="*/ 396 h 424"/>
                <a:gd name="T62" fmla="*/ 319 w 374"/>
                <a:gd name="T63" fmla="*/ 402 h 424"/>
                <a:gd name="T64" fmla="*/ 353 w 374"/>
                <a:gd name="T65" fmla="*/ 408 h 424"/>
                <a:gd name="T66" fmla="*/ 374 w 374"/>
                <a:gd name="T67" fmla="*/ 6 h 424"/>
                <a:gd name="T68" fmla="*/ 342 w 374"/>
                <a:gd name="T69" fmla="*/ 2 h 424"/>
                <a:gd name="T70" fmla="*/ 299 w 374"/>
                <a:gd name="T71" fmla="*/ 0 h 424"/>
                <a:gd name="T72" fmla="*/ 281 w 374"/>
                <a:gd name="T73" fmla="*/ 313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74" h="424">
                  <a:moveTo>
                    <a:pt x="281" y="313"/>
                  </a:moveTo>
                  <a:lnTo>
                    <a:pt x="281" y="313"/>
                  </a:lnTo>
                  <a:lnTo>
                    <a:pt x="260" y="322"/>
                  </a:lnTo>
                  <a:lnTo>
                    <a:pt x="246" y="327"/>
                  </a:lnTo>
                  <a:lnTo>
                    <a:pt x="232" y="331"/>
                  </a:lnTo>
                  <a:lnTo>
                    <a:pt x="217" y="336"/>
                  </a:lnTo>
                  <a:lnTo>
                    <a:pt x="200" y="339"/>
                  </a:lnTo>
                  <a:lnTo>
                    <a:pt x="184" y="341"/>
                  </a:lnTo>
                  <a:lnTo>
                    <a:pt x="167" y="342"/>
                  </a:lnTo>
                  <a:lnTo>
                    <a:pt x="167" y="342"/>
                  </a:lnTo>
                  <a:lnTo>
                    <a:pt x="155" y="342"/>
                  </a:lnTo>
                  <a:lnTo>
                    <a:pt x="145" y="341"/>
                  </a:lnTo>
                  <a:lnTo>
                    <a:pt x="136" y="339"/>
                  </a:lnTo>
                  <a:lnTo>
                    <a:pt x="129" y="337"/>
                  </a:lnTo>
                  <a:lnTo>
                    <a:pt x="122" y="333"/>
                  </a:lnTo>
                  <a:lnTo>
                    <a:pt x="116" y="329"/>
                  </a:lnTo>
                  <a:lnTo>
                    <a:pt x="110" y="324"/>
                  </a:lnTo>
                  <a:lnTo>
                    <a:pt x="106" y="319"/>
                  </a:lnTo>
                  <a:lnTo>
                    <a:pt x="102" y="313"/>
                  </a:lnTo>
                  <a:lnTo>
                    <a:pt x="99" y="307"/>
                  </a:lnTo>
                  <a:lnTo>
                    <a:pt x="97" y="298"/>
                  </a:lnTo>
                  <a:lnTo>
                    <a:pt x="95" y="290"/>
                  </a:lnTo>
                  <a:lnTo>
                    <a:pt x="93" y="271"/>
                  </a:lnTo>
                  <a:lnTo>
                    <a:pt x="93" y="248"/>
                  </a:lnTo>
                  <a:lnTo>
                    <a:pt x="93" y="0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59" y="0"/>
                  </a:lnTo>
                  <a:lnTo>
                    <a:pt x="36" y="2"/>
                  </a:lnTo>
                  <a:lnTo>
                    <a:pt x="13" y="4"/>
                  </a:lnTo>
                  <a:lnTo>
                    <a:pt x="0" y="6"/>
                  </a:lnTo>
                  <a:lnTo>
                    <a:pt x="0" y="259"/>
                  </a:lnTo>
                  <a:lnTo>
                    <a:pt x="0" y="259"/>
                  </a:lnTo>
                  <a:lnTo>
                    <a:pt x="0" y="280"/>
                  </a:lnTo>
                  <a:lnTo>
                    <a:pt x="1" y="298"/>
                  </a:lnTo>
                  <a:lnTo>
                    <a:pt x="3" y="316"/>
                  </a:lnTo>
                  <a:lnTo>
                    <a:pt x="5" y="332"/>
                  </a:lnTo>
                  <a:lnTo>
                    <a:pt x="9" y="347"/>
                  </a:lnTo>
                  <a:lnTo>
                    <a:pt x="14" y="360"/>
                  </a:lnTo>
                  <a:lnTo>
                    <a:pt x="21" y="373"/>
                  </a:lnTo>
                  <a:lnTo>
                    <a:pt x="28" y="383"/>
                  </a:lnTo>
                  <a:lnTo>
                    <a:pt x="36" y="393"/>
                  </a:lnTo>
                  <a:lnTo>
                    <a:pt x="46" y="401"/>
                  </a:lnTo>
                  <a:lnTo>
                    <a:pt x="58" y="408"/>
                  </a:lnTo>
                  <a:lnTo>
                    <a:pt x="71" y="414"/>
                  </a:lnTo>
                  <a:lnTo>
                    <a:pt x="86" y="418"/>
                  </a:lnTo>
                  <a:lnTo>
                    <a:pt x="102" y="421"/>
                  </a:lnTo>
                  <a:lnTo>
                    <a:pt x="121" y="423"/>
                  </a:lnTo>
                  <a:lnTo>
                    <a:pt x="141" y="424"/>
                  </a:lnTo>
                  <a:lnTo>
                    <a:pt x="141" y="424"/>
                  </a:lnTo>
                  <a:lnTo>
                    <a:pt x="157" y="423"/>
                  </a:lnTo>
                  <a:lnTo>
                    <a:pt x="172" y="422"/>
                  </a:lnTo>
                  <a:lnTo>
                    <a:pt x="186" y="421"/>
                  </a:lnTo>
                  <a:lnTo>
                    <a:pt x="199" y="418"/>
                  </a:lnTo>
                  <a:lnTo>
                    <a:pt x="223" y="413"/>
                  </a:lnTo>
                  <a:lnTo>
                    <a:pt x="243" y="407"/>
                  </a:lnTo>
                  <a:lnTo>
                    <a:pt x="260" y="400"/>
                  </a:lnTo>
                  <a:lnTo>
                    <a:pt x="271" y="395"/>
                  </a:lnTo>
                  <a:lnTo>
                    <a:pt x="283" y="390"/>
                  </a:lnTo>
                  <a:lnTo>
                    <a:pt x="283" y="390"/>
                  </a:lnTo>
                  <a:lnTo>
                    <a:pt x="289" y="393"/>
                  </a:lnTo>
                  <a:lnTo>
                    <a:pt x="296" y="396"/>
                  </a:lnTo>
                  <a:lnTo>
                    <a:pt x="307" y="399"/>
                  </a:lnTo>
                  <a:lnTo>
                    <a:pt x="319" y="402"/>
                  </a:lnTo>
                  <a:lnTo>
                    <a:pt x="334" y="405"/>
                  </a:lnTo>
                  <a:lnTo>
                    <a:pt x="353" y="408"/>
                  </a:lnTo>
                  <a:lnTo>
                    <a:pt x="374" y="409"/>
                  </a:lnTo>
                  <a:lnTo>
                    <a:pt x="374" y="6"/>
                  </a:lnTo>
                  <a:lnTo>
                    <a:pt x="374" y="6"/>
                  </a:lnTo>
                  <a:lnTo>
                    <a:pt x="342" y="2"/>
                  </a:lnTo>
                  <a:lnTo>
                    <a:pt x="320" y="1"/>
                  </a:lnTo>
                  <a:lnTo>
                    <a:pt x="299" y="0"/>
                  </a:lnTo>
                  <a:lnTo>
                    <a:pt x="281" y="0"/>
                  </a:lnTo>
                  <a:lnTo>
                    <a:pt x="281" y="31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70" name="Freeform 13"/>
            <p:cNvSpPr>
              <a:spLocks/>
            </p:cNvSpPr>
            <p:nvPr userDrawn="1"/>
          </p:nvSpPr>
          <p:spPr bwMode="auto">
            <a:xfrm>
              <a:off x="5383" y="3974"/>
              <a:ext cx="78" cy="107"/>
            </a:xfrm>
            <a:custGeom>
              <a:avLst/>
              <a:gdLst>
                <a:gd name="T0" fmla="*/ 11 w 311"/>
                <a:gd name="T1" fmla="*/ 415 h 428"/>
                <a:gd name="T2" fmla="*/ 83 w 311"/>
                <a:gd name="T3" fmla="*/ 425 h 428"/>
                <a:gd name="T4" fmla="*/ 138 w 311"/>
                <a:gd name="T5" fmla="*/ 428 h 428"/>
                <a:gd name="T6" fmla="*/ 183 w 311"/>
                <a:gd name="T7" fmla="*/ 425 h 428"/>
                <a:gd name="T8" fmla="*/ 227 w 311"/>
                <a:gd name="T9" fmla="*/ 414 h 428"/>
                <a:gd name="T10" fmla="*/ 265 w 311"/>
                <a:gd name="T11" fmla="*/ 394 h 428"/>
                <a:gd name="T12" fmla="*/ 295 w 311"/>
                <a:gd name="T13" fmla="*/ 363 h 428"/>
                <a:gd name="T14" fmla="*/ 310 w 311"/>
                <a:gd name="T15" fmla="*/ 318 h 428"/>
                <a:gd name="T16" fmla="*/ 310 w 311"/>
                <a:gd name="T17" fmla="*/ 288 h 428"/>
                <a:gd name="T18" fmla="*/ 302 w 311"/>
                <a:gd name="T19" fmla="*/ 256 h 428"/>
                <a:gd name="T20" fmla="*/ 283 w 311"/>
                <a:gd name="T21" fmla="*/ 231 h 428"/>
                <a:gd name="T22" fmla="*/ 257 w 311"/>
                <a:gd name="T23" fmla="*/ 211 h 428"/>
                <a:gd name="T24" fmla="*/ 209 w 311"/>
                <a:gd name="T25" fmla="*/ 187 h 428"/>
                <a:gd name="T26" fmla="*/ 149 w 311"/>
                <a:gd name="T27" fmla="*/ 164 h 428"/>
                <a:gd name="T28" fmla="*/ 113 w 311"/>
                <a:gd name="T29" fmla="*/ 144 h 428"/>
                <a:gd name="T30" fmla="*/ 103 w 311"/>
                <a:gd name="T31" fmla="*/ 132 h 428"/>
                <a:gd name="T32" fmla="*/ 100 w 311"/>
                <a:gd name="T33" fmla="*/ 116 h 428"/>
                <a:gd name="T34" fmla="*/ 102 w 311"/>
                <a:gd name="T35" fmla="*/ 104 h 428"/>
                <a:gd name="T36" fmla="*/ 116 w 311"/>
                <a:gd name="T37" fmla="*/ 86 h 428"/>
                <a:gd name="T38" fmla="*/ 132 w 311"/>
                <a:gd name="T39" fmla="*/ 78 h 428"/>
                <a:gd name="T40" fmla="*/ 156 w 311"/>
                <a:gd name="T41" fmla="*/ 74 h 428"/>
                <a:gd name="T42" fmla="*/ 185 w 311"/>
                <a:gd name="T43" fmla="*/ 75 h 428"/>
                <a:gd name="T44" fmla="*/ 238 w 311"/>
                <a:gd name="T45" fmla="*/ 85 h 428"/>
                <a:gd name="T46" fmla="*/ 295 w 311"/>
                <a:gd name="T47" fmla="*/ 30 h 428"/>
                <a:gd name="T48" fmla="*/ 263 w 311"/>
                <a:gd name="T49" fmla="*/ 16 h 428"/>
                <a:gd name="T50" fmla="*/ 207 w 311"/>
                <a:gd name="T51" fmla="*/ 4 h 428"/>
                <a:gd name="T52" fmla="*/ 158 w 311"/>
                <a:gd name="T53" fmla="*/ 0 h 428"/>
                <a:gd name="T54" fmla="*/ 115 w 311"/>
                <a:gd name="T55" fmla="*/ 4 h 428"/>
                <a:gd name="T56" fmla="*/ 76 w 311"/>
                <a:gd name="T57" fmla="*/ 17 h 428"/>
                <a:gd name="T58" fmla="*/ 42 w 311"/>
                <a:gd name="T59" fmla="*/ 39 h 428"/>
                <a:gd name="T60" fmla="*/ 19 w 311"/>
                <a:gd name="T61" fmla="*/ 69 h 428"/>
                <a:gd name="T62" fmla="*/ 7 w 311"/>
                <a:gd name="T63" fmla="*/ 107 h 428"/>
                <a:gd name="T64" fmla="*/ 7 w 311"/>
                <a:gd name="T65" fmla="*/ 137 h 428"/>
                <a:gd name="T66" fmla="*/ 19 w 311"/>
                <a:gd name="T67" fmla="*/ 175 h 428"/>
                <a:gd name="T68" fmla="*/ 42 w 311"/>
                <a:gd name="T69" fmla="*/ 203 h 428"/>
                <a:gd name="T70" fmla="*/ 73 w 311"/>
                <a:gd name="T71" fmla="*/ 223 h 428"/>
                <a:gd name="T72" fmla="*/ 119 w 311"/>
                <a:gd name="T73" fmla="*/ 243 h 428"/>
                <a:gd name="T74" fmla="*/ 171 w 311"/>
                <a:gd name="T75" fmla="*/ 261 h 428"/>
                <a:gd name="T76" fmla="*/ 205 w 311"/>
                <a:gd name="T77" fmla="*/ 280 h 428"/>
                <a:gd name="T78" fmla="*/ 216 w 311"/>
                <a:gd name="T79" fmla="*/ 296 h 428"/>
                <a:gd name="T80" fmla="*/ 217 w 311"/>
                <a:gd name="T81" fmla="*/ 306 h 428"/>
                <a:gd name="T82" fmla="*/ 212 w 311"/>
                <a:gd name="T83" fmla="*/ 328 h 428"/>
                <a:gd name="T84" fmla="*/ 202 w 311"/>
                <a:gd name="T85" fmla="*/ 340 h 428"/>
                <a:gd name="T86" fmla="*/ 184 w 311"/>
                <a:gd name="T87" fmla="*/ 348 h 428"/>
                <a:gd name="T88" fmla="*/ 158 w 311"/>
                <a:gd name="T89" fmla="*/ 353 h 428"/>
                <a:gd name="T90" fmla="*/ 113 w 311"/>
                <a:gd name="T91" fmla="*/ 354 h 428"/>
                <a:gd name="T92" fmla="*/ 28 w 311"/>
                <a:gd name="T93" fmla="*/ 344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11" h="428">
                  <a:moveTo>
                    <a:pt x="0" y="413"/>
                  </a:moveTo>
                  <a:lnTo>
                    <a:pt x="0" y="413"/>
                  </a:lnTo>
                  <a:lnTo>
                    <a:pt x="11" y="415"/>
                  </a:lnTo>
                  <a:lnTo>
                    <a:pt x="39" y="420"/>
                  </a:lnTo>
                  <a:lnTo>
                    <a:pt x="60" y="423"/>
                  </a:lnTo>
                  <a:lnTo>
                    <a:pt x="83" y="425"/>
                  </a:lnTo>
                  <a:lnTo>
                    <a:pt x="110" y="427"/>
                  </a:lnTo>
                  <a:lnTo>
                    <a:pt x="138" y="428"/>
                  </a:lnTo>
                  <a:lnTo>
                    <a:pt x="138" y="428"/>
                  </a:lnTo>
                  <a:lnTo>
                    <a:pt x="154" y="427"/>
                  </a:lnTo>
                  <a:lnTo>
                    <a:pt x="168" y="426"/>
                  </a:lnTo>
                  <a:lnTo>
                    <a:pt x="183" y="425"/>
                  </a:lnTo>
                  <a:lnTo>
                    <a:pt x="198" y="422"/>
                  </a:lnTo>
                  <a:lnTo>
                    <a:pt x="213" y="419"/>
                  </a:lnTo>
                  <a:lnTo>
                    <a:pt x="227" y="414"/>
                  </a:lnTo>
                  <a:lnTo>
                    <a:pt x="241" y="408"/>
                  </a:lnTo>
                  <a:lnTo>
                    <a:pt x="254" y="402"/>
                  </a:lnTo>
                  <a:lnTo>
                    <a:pt x="265" y="394"/>
                  </a:lnTo>
                  <a:lnTo>
                    <a:pt x="276" y="385"/>
                  </a:lnTo>
                  <a:lnTo>
                    <a:pt x="286" y="375"/>
                  </a:lnTo>
                  <a:lnTo>
                    <a:pt x="295" y="363"/>
                  </a:lnTo>
                  <a:lnTo>
                    <a:pt x="302" y="350"/>
                  </a:lnTo>
                  <a:lnTo>
                    <a:pt x="307" y="334"/>
                  </a:lnTo>
                  <a:lnTo>
                    <a:pt x="310" y="318"/>
                  </a:lnTo>
                  <a:lnTo>
                    <a:pt x="311" y="300"/>
                  </a:lnTo>
                  <a:lnTo>
                    <a:pt x="311" y="300"/>
                  </a:lnTo>
                  <a:lnTo>
                    <a:pt x="310" y="288"/>
                  </a:lnTo>
                  <a:lnTo>
                    <a:pt x="309" y="277"/>
                  </a:lnTo>
                  <a:lnTo>
                    <a:pt x="306" y="266"/>
                  </a:lnTo>
                  <a:lnTo>
                    <a:pt x="302" y="256"/>
                  </a:lnTo>
                  <a:lnTo>
                    <a:pt x="297" y="248"/>
                  </a:lnTo>
                  <a:lnTo>
                    <a:pt x="291" y="239"/>
                  </a:lnTo>
                  <a:lnTo>
                    <a:pt x="283" y="231"/>
                  </a:lnTo>
                  <a:lnTo>
                    <a:pt x="276" y="224"/>
                  </a:lnTo>
                  <a:lnTo>
                    <a:pt x="267" y="217"/>
                  </a:lnTo>
                  <a:lnTo>
                    <a:pt x="257" y="211"/>
                  </a:lnTo>
                  <a:lnTo>
                    <a:pt x="247" y="204"/>
                  </a:lnTo>
                  <a:lnTo>
                    <a:pt x="234" y="199"/>
                  </a:lnTo>
                  <a:lnTo>
                    <a:pt x="209" y="187"/>
                  </a:lnTo>
                  <a:lnTo>
                    <a:pt x="180" y="176"/>
                  </a:lnTo>
                  <a:lnTo>
                    <a:pt x="180" y="176"/>
                  </a:lnTo>
                  <a:lnTo>
                    <a:pt x="149" y="164"/>
                  </a:lnTo>
                  <a:lnTo>
                    <a:pt x="135" y="157"/>
                  </a:lnTo>
                  <a:lnTo>
                    <a:pt x="123" y="151"/>
                  </a:lnTo>
                  <a:lnTo>
                    <a:pt x="113" y="144"/>
                  </a:lnTo>
                  <a:lnTo>
                    <a:pt x="109" y="140"/>
                  </a:lnTo>
                  <a:lnTo>
                    <a:pt x="106" y="136"/>
                  </a:lnTo>
                  <a:lnTo>
                    <a:pt x="103" y="132"/>
                  </a:lnTo>
                  <a:lnTo>
                    <a:pt x="101" y="127"/>
                  </a:lnTo>
                  <a:lnTo>
                    <a:pt x="100" y="121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0"/>
                  </a:lnTo>
                  <a:lnTo>
                    <a:pt x="102" y="104"/>
                  </a:lnTo>
                  <a:lnTo>
                    <a:pt x="106" y="97"/>
                  </a:lnTo>
                  <a:lnTo>
                    <a:pt x="112" y="90"/>
                  </a:lnTo>
                  <a:lnTo>
                    <a:pt x="116" y="86"/>
                  </a:lnTo>
                  <a:lnTo>
                    <a:pt x="120" y="83"/>
                  </a:lnTo>
                  <a:lnTo>
                    <a:pt x="126" y="81"/>
                  </a:lnTo>
                  <a:lnTo>
                    <a:pt x="132" y="78"/>
                  </a:lnTo>
                  <a:lnTo>
                    <a:pt x="139" y="76"/>
                  </a:lnTo>
                  <a:lnTo>
                    <a:pt x="147" y="75"/>
                  </a:lnTo>
                  <a:lnTo>
                    <a:pt x="156" y="74"/>
                  </a:lnTo>
                  <a:lnTo>
                    <a:pt x="166" y="74"/>
                  </a:lnTo>
                  <a:lnTo>
                    <a:pt x="166" y="74"/>
                  </a:lnTo>
                  <a:lnTo>
                    <a:pt x="185" y="75"/>
                  </a:lnTo>
                  <a:lnTo>
                    <a:pt x="205" y="77"/>
                  </a:lnTo>
                  <a:lnTo>
                    <a:pt x="222" y="81"/>
                  </a:lnTo>
                  <a:lnTo>
                    <a:pt x="238" y="85"/>
                  </a:lnTo>
                  <a:lnTo>
                    <a:pt x="262" y="94"/>
                  </a:lnTo>
                  <a:lnTo>
                    <a:pt x="271" y="98"/>
                  </a:lnTo>
                  <a:lnTo>
                    <a:pt x="295" y="30"/>
                  </a:lnTo>
                  <a:lnTo>
                    <a:pt x="295" y="30"/>
                  </a:lnTo>
                  <a:lnTo>
                    <a:pt x="276" y="22"/>
                  </a:lnTo>
                  <a:lnTo>
                    <a:pt x="263" y="16"/>
                  </a:lnTo>
                  <a:lnTo>
                    <a:pt x="247" y="12"/>
                  </a:lnTo>
                  <a:lnTo>
                    <a:pt x="228" y="7"/>
                  </a:lnTo>
                  <a:lnTo>
                    <a:pt x="207" y="4"/>
                  </a:lnTo>
                  <a:lnTo>
                    <a:pt x="183" y="1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143" y="1"/>
                  </a:lnTo>
                  <a:lnTo>
                    <a:pt x="129" y="2"/>
                  </a:lnTo>
                  <a:lnTo>
                    <a:pt x="115" y="4"/>
                  </a:lnTo>
                  <a:lnTo>
                    <a:pt x="102" y="8"/>
                  </a:lnTo>
                  <a:lnTo>
                    <a:pt x="88" y="12"/>
                  </a:lnTo>
                  <a:lnTo>
                    <a:pt x="76" y="17"/>
                  </a:lnTo>
                  <a:lnTo>
                    <a:pt x="64" y="24"/>
                  </a:lnTo>
                  <a:lnTo>
                    <a:pt x="53" y="31"/>
                  </a:lnTo>
                  <a:lnTo>
                    <a:pt x="42" y="39"/>
                  </a:lnTo>
                  <a:lnTo>
                    <a:pt x="33" y="47"/>
                  </a:lnTo>
                  <a:lnTo>
                    <a:pt x="25" y="58"/>
                  </a:lnTo>
                  <a:lnTo>
                    <a:pt x="19" y="69"/>
                  </a:lnTo>
                  <a:lnTo>
                    <a:pt x="13" y="80"/>
                  </a:lnTo>
                  <a:lnTo>
                    <a:pt x="9" y="94"/>
                  </a:lnTo>
                  <a:lnTo>
                    <a:pt x="7" y="107"/>
                  </a:lnTo>
                  <a:lnTo>
                    <a:pt x="6" y="122"/>
                  </a:lnTo>
                  <a:lnTo>
                    <a:pt x="6" y="122"/>
                  </a:lnTo>
                  <a:lnTo>
                    <a:pt x="7" y="137"/>
                  </a:lnTo>
                  <a:lnTo>
                    <a:pt x="9" y="150"/>
                  </a:lnTo>
                  <a:lnTo>
                    <a:pt x="13" y="164"/>
                  </a:lnTo>
                  <a:lnTo>
                    <a:pt x="19" y="175"/>
                  </a:lnTo>
                  <a:lnTo>
                    <a:pt x="25" y="185"/>
                  </a:lnTo>
                  <a:lnTo>
                    <a:pt x="33" y="194"/>
                  </a:lnTo>
                  <a:lnTo>
                    <a:pt x="42" y="203"/>
                  </a:lnTo>
                  <a:lnTo>
                    <a:pt x="51" y="210"/>
                  </a:lnTo>
                  <a:lnTo>
                    <a:pt x="62" y="217"/>
                  </a:lnTo>
                  <a:lnTo>
                    <a:pt x="73" y="223"/>
                  </a:lnTo>
                  <a:lnTo>
                    <a:pt x="84" y="229"/>
                  </a:lnTo>
                  <a:lnTo>
                    <a:pt x="95" y="235"/>
                  </a:lnTo>
                  <a:lnTo>
                    <a:pt x="119" y="243"/>
                  </a:lnTo>
                  <a:lnTo>
                    <a:pt x="142" y="251"/>
                  </a:lnTo>
                  <a:lnTo>
                    <a:pt x="142" y="251"/>
                  </a:lnTo>
                  <a:lnTo>
                    <a:pt x="171" y="261"/>
                  </a:lnTo>
                  <a:lnTo>
                    <a:pt x="184" y="266"/>
                  </a:lnTo>
                  <a:lnTo>
                    <a:pt x="196" y="273"/>
                  </a:lnTo>
                  <a:lnTo>
                    <a:pt x="205" y="280"/>
                  </a:lnTo>
                  <a:lnTo>
                    <a:pt x="211" y="287"/>
                  </a:lnTo>
                  <a:lnTo>
                    <a:pt x="214" y="291"/>
                  </a:lnTo>
                  <a:lnTo>
                    <a:pt x="216" y="296"/>
                  </a:lnTo>
                  <a:lnTo>
                    <a:pt x="217" y="300"/>
                  </a:lnTo>
                  <a:lnTo>
                    <a:pt x="217" y="306"/>
                  </a:lnTo>
                  <a:lnTo>
                    <a:pt x="217" y="306"/>
                  </a:lnTo>
                  <a:lnTo>
                    <a:pt x="217" y="315"/>
                  </a:lnTo>
                  <a:lnTo>
                    <a:pt x="214" y="324"/>
                  </a:lnTo>
                  <a:lnTo>
                    <a:pt x="212" y="328"/>
                  </a:lnTo>
                  <a:lnTo>
                    <a:pt x="209" y="332"/>
                  </a:lnTo>
                  <a:lnTo>
                    <a:pt x="206" y="335"/>
                  </a:lnTo>
                  <a:lnTo>
                    <a:pt x="202" y="340"/>
                  </a:lnTo>
                  <a:lnTo>
                    <a:pt x="197" y="343"/>
                  </a:lnTo>
                  <a:lnTo>
                    <a:pt x="190" y="346"/>
                  </a:lnTo>
                  <a:lnTo>
                    <a:pt x="184" y="348"/>
                  </a:lnTo>
                  <a:lnTo>
                    <a:pt x="176" y="350"/>
                  </a:lnTo>
                  <a:lnTo>
                    <a:pt x="167" y="352"/>
                  </a:lnTo>
                  <a:lnTo>
                    <a:pt x="158" y="353"/>
                  </a:lnTo>
                  <a:lnTo>
                    <a:pt x="134" y="354"/>
                  </a:lnTo>
                  <a:lnTo>
                    <a:pt x="134" y="354"/>
                  </a:lnTo>
                  <a:lnTo>
                    <a:pt x="113" y="354"/>
                  </a:lnTo>
                  <a:lnTo>
                    <a:pt x="92" y="352"/>
                  </a:lnTo>
                  <a:lnTo>
                    <a:pt x="55" y="348"/>
                  </a:lnTo>
                  <a:lnTo>
                    <a:pt x="28" y="344"/>
                  </a:lnTo>
                  <a:lnTo>
                    <a:pt x="18" y="342"/>
                  </a:lnTo>
                  <a:lnTo>
                    <a:pt x="0" y="41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71" name="Freeform 14"/>
            <p:cNvSpPr>
              <a:spLocks/>
            </p:cNvSpPr>
            <p:nvPr userDrawn="1"/>
          </p:nvSpPr>
          <p:spPr bwMode="auto">
            <a:xfrm>
              <a:off x="5059" y="3992"/>
              <a:ext cx="48" cy="71"/>
            </a:xfrm>
            <a:custGeom>
              <a:avLst/>
              <a:gdLst>
                <a:gd name="T0" fmla="*/ 0 w 194"/>
                <a:gd name="T1" fmla="*/ 7 h 282"/>
                <a:gd name="T2" fmla="*/ 0 w 194"/>
                <a:gd name="T3" fmla="*/ 7 h 282"/>
                <a:gd name="T4" fmla="*/ 14 w 194"/>
                <a:gd name="T5" fmla="*/ 4 h 282"/>
                <a:gd name="T6" fmla="*/ 31 w 194"/>
                <a:gd name="T7" fmla="*/ 2 h 282"/>
                <a:gd name="T8" fmla="*/ 52 w 194"/>
                <a:gd name="T9" fmla="*/ 0 h 282"/>
                <a:gd name="T10" fmla="*/ 73 w 194"/>
                <a:gd name="T11" fmla="*/ 0 h 282"/>
                <a:gd name="T12" fmla="*/ 73 w 194"/>
                <a:gd name="T13" fmla="*/ 0 h 282"/>
                <a:gd name="T14" fmla="*/ 87 w 194"/>
                <a:gd name="T15" fmla="*/ 0 h 282"/>
                <a:gd name="T16" fmla="*/ 98 w 194"/>
                <a:gd name="T17" fmla="*/ 1 h 282"/>
                <a:gd name="T18" fmla="*/ 110 w 194"/>
                <a:gd name="T19" fmla="*/ 4 h 282"/>
                <a:gd name="T20" fmla="*/ 121 w 194"/>
                <a:gd name="T21" fmla="*/ 7 h 282"/>
                <a:gd name="T22" fmla="*/ 132 w 194"/>
                <a:gd name="T23" fmla="*/ 11 h 282"/>
                <a:gd name="T24" fmla="*/ 141 w 194"/>
                <a:gd name="T25" fmla="*/ 17 h 282"/>
                <a:gd name="T26" fmla="*/ 151 w 194"/>
                <a:gd name="T27" fmla="*/ 24 h 282"/>
                <a:gd name="T28" fmla="*/ 159 w 194"/>
                <a:gd name="T29" fmla="*/ 31 h 282"/>
                <a:gd name="T30" fmla="*/ 166 w 194"/>
                <a:gd name="T31" fmla="*/ 40 h 282"/>
                <a:gd name="T32" fmla="*/ 174 w 194"/>
                <a:gd name="T33" fmla="*/ 49 h 282"/>
                <a:gd name="T34" fmla="*/ 180 w 194"/>
                <a:gd name="T35" fmla="*/ 61 h 282"/>
                <a:gd name="T36" fmla="*/ 185 w 194"/>
                <a:gd name="T37" fmla="*/ 74 h 282"/>
                <a:gd name="T38" fmla="*/ 189 w 194"/>
                <a:gd name="T39" fmla="*/ 88 h 282"/>
                <a:gd name="T40" fmla="*/ 192 w 194"/>
                <a:gd name="T41" fmla="*/ 103 h 282"/>
                <a:gd name="T42" fmla="*/ 193 w 194"/>
                <a:gd name="T43" fmla="*/ 119 h 282"/>
                <a:gd name="T44" fmla="*/ 194 w 194"/>
                <a:gd name="T45" fmla="*/ 138 h 282"/>
                <a:gd name="T46" fmla="*/ 194 w 194"/>
                <a:gd name="T47" fmla="*/ 138 h 282"/>
                <a:gd name="T48" fmla="*/ 194 w 194"/>
                <a:gd name="T49" fmla="*/ 155 h 282"/>
                <a:gd name="T50" fmla="*/ 193 w 194"/>
                <a:gd name="T51" fmla="*/ 172 h 282"/>
                <a:gd name="T52" fmla="*/ 191 w 194"/>
                <a:gd name="T53" fmla="*/ 187 h 282"/>
                <a:gd name="T54" fmla="*/ 188 w 194"/>
                <a:gd name="T55" fmla="*/ 202 h 282"/>
                <a:gd name="T56" fmla="*/ 185 w 194"/>
                <a:gd name="T57" fmla="*/ 215 h 282"/>
                <a:gd name="T58" fmla="*/ 181 w 194"/>
                <a:gd name="T59" fmla="*/ 226 h 282"/>
                <a:gd name="T60" fmla="*/ 175 w 194"/>
                <a:gd name="T61" fmla="*/ 238 h 282"/>
                <a:gd name="T62" fmla="*/ 168 w 194"/>
                <a:gd name="T63" fmla="*/ 247 h 282"/>
                <a:gd name="T64" fmla="*/ 160 w 194"/>
                <a:gd name="T65" fmla="*/ 255 h 282"/>
                <a:gd name="T66" fmla="*/ 151 w 194"/>
                <a:gd name="T67" fmla="*/ 262 h 282"/>
                <a:gd name="T68" fmla="*/ 141 w 194"/>
                <a:gd name="T69" fmla="*/ 269 h 282"/>
                <a:gd name="T70" fmla="*/ 129 w 194"/>
                <a:gd name="T71" fmla="*/ 274 h 282"/>
                <a:gd name="T72" fmla="*/ 115 w 194"/>
                <a:gd name="T73" fmla="*/ 277 h 282"/>
                <a:gd name="T74" fmla="*/ 100 w 194"/>
                <a:gd name="T75" fmla="*/ 280 h 282"/>
                <a:gd name="T76" fmla="*/ 84 w 194"/>
                <a:gd name="T77" fmla="*/ 282 h 282"/>
                <a:gd name="T78" fmla="*/ 65 w 194"/>
                <a:gd name="T79" fmla="*/ 282 h 282"/>
                <a:gd name="T80" fmla="*/ 65 w 194"/>
                <a:gd name="T81" fmla="*/ 282 h 282"/>
                <a:gd name="T82" fmla="*/ 42 w 194"/>
                <a:gd name="T83" fmla="*/ 281 h 282"/>
                <a:gd name="T84" fmla="*/ 20 w 194"/>
                <a:gd name="T85" fmla="*/ 280 h 282"/>
                <a:gd name="T86" fmla="*/ 0 w 194"/>
                <a:gd name="T87" fmla="*/ 278 h 282"/>
                <a:gd name="T88" fmla="*/ 0 w 194"/>
                <a:gd name="T89" fmla="*/ 7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4" h="282">
                  <a:moveTo>
                    <a:pt x="0" y="7"/>
                  </a:moveTo>
                  <a:lnTo>
                    <a:pt x="0" y="7"/>
                  </a:lnTo>
                  <a:lnTo>
                    <a:pt x="14" y="4"/>
                  </a:lnTo>
                  <a:lnTo>
                    <a:pt x="31" y="2"/>
                  </a:lnTo>
                  <a:lnTo>
                    <a:pt x="52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87" y="0"/>
                  </a:lnTo>
                  <a:lnTo>
                    <a:pt x="98" y="1"/>
                  </a:lnTo>
                  <a:lnTo>
                    <a:pt x="110" y="4"/>
                  </a:lnTo>
                  <a:lnTo>
                    <a:pt x="121" y="7"/>
                  </a:lnTo>
                  <a:lnTo>
                    <a:pt x="132" y="11"/>
                  </a:lnTo>
                  <a:lnTo>
                    <a:pt x="141" y="17"/>
                  </a:lnTo>
                  <a:lnTo>
                    <a:pt x="151" y="24"/>
                  </a:lnTo>
                  <a:lnTo>
                    <a:pt x="159" y="31"/>
                  </a:lnTo>
                  <a:lnTo>
                    <a:pt x="166" y="40"/>
                  </a:lnTo>
                  <a:lnTo>
                    <a:pt x="174" y="49"/>
                  </a:lnTo>
                  <a:lnTo>
                    <a:pt x="180" y="61"/>
                  </a:lnTo>
                  <a:lnTo>
                    <a:pt x="185" y="74"/>
                  </a:lnTo>
                  <a:lnTo>
                    <a:pt x="189" y="88"/>
                  </a:lnTo>
                  <a:lnTo>
                    <a:pt x="192" y="103"/>
                  </a:lnTo>
                  <a:lnTo>
                    <a:pt x="193" y="119"/>
                  </a:lnTo>
                  <a:lnTo>
                    <a:pt x="194" y="138"/>
                  </a:lnTo>
                  <a:lnTo>
                    <a:pt x="194" y="138"/>
                  </a:lnTo>
                  <a:lnTo>
                    <a:pt x="194" y="155"/>
                  </a:lnTo>
                  <a:lnTo>
                    <a:pt x="193" y="172"/>
                  </a:lnTo>
                  <a:lnTo>
                    <a:pt x="191" y="187"/>
                  </a:lnTo>
                  <a:lnTo>
                    <a:pt x="188" y="202"/>
                  </a:lnTo>
                  <a:lnTo>
                    <a:pt x="185" y="215"/>
                  </a:lnTo>
                  <a:lnTo>
                    <a:pt x="181" y="226"/>
                  </a:lnTo>
                  <a:lnTo>
                    <a:pt x="175" y="238"/>
                  </a:lnTo>
                  <a:lnTo>
                    <a:pt x="168" y="247"/>
                  </a:lnTo>
                  <a:lnTo>
                    <a:pt x="160" y="255"/>
                  </a:lnTo>
                  <a:lnTo>
                    <a:pt x="151" y="262"/>
                  </a:lnTo>
                  <a:lnTo>
                    <a:pt x="141" y="269"/>
                  </a:lnTo>
                  <a:lnTo>
                    <a:pt x="129" y="274"/>
                  </a:lnTo>
                  <a:lnTo>
                    <a:pt x="115" y="277"/>
                  </a:lnTo>
                  <a:lnTo>
                    <a:pt x="100" y="280"/>
                  </a:lnTo>
                  <a:lnTo>
                    <a:pt x="84" y="282"/>
                  </a:lnTo>
                  <a:lnTo>
                    <a:pt x="65" y="282"/>
                  </a:lnTo>
                  <a:lnTo>
                    <a:pt x="65" y="282"/>
                  </a:lnTo>
                  <a:lnTo>
                    <a:pt x="42" y="281"/>
                  </a:lnTo>
                  <a:lnTo>
                    <a:pt x="20" y="280"/>
                  </a:lnTo>
                  <a:lnTo>
                    <a:pt x="0" y="278"/>
                  </a:lnTo>
                  <a:lnTo>
                    <a:pt x="0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  <p:sp>
          <p:nvSpPr>
            <p:cNvPr id="72" name="Freeform 15"/>
            <p:cNvSpPr>
              <a:spLocks/>
            </p:cNvSpPr>
            <p:nvPr userDrawn="1"/>
          </p:nvSpPr>
          <p:spPr bwMode="auto">
            <a:xfrm>
              <a:off x="5035" y="3974"/>
              <a:ext cx="97" cy="107"/>
            </a:xfrm>
            <a:custGeom>
              <a:avLst/>
              <a:gdLst>
                <a:gd name="T0" fmla="*/ 171 w 385"/>
                <a:gd name="T1" fmla="*/ 0 h 428"/>
                <a:gd name="T2" fmla="*/ 171 w 385"/>
                <a:gd name="T3" fmla="*/ 0 h 428"/>
                <a:gd name="T4" fmla="*/ 150 w 385"/>
                <a:gd name="T5" fmla="*/ 1 h 428"/>
                <a:gd name="T6" fmla="*/ 129 w 385"/>
                <a:gd name="T7" fmla="*/ 2 h 428"/>
                <a:gd name="T8" fmla="*/ 106 w 385"/>
                <a:gd name="T9" fmla="*/ 4 h 428"/>
                <a:gd name="T10" fmla="*/ 83 w 385"/>
                <a:gd name="T11" fmla="*/ 7 h 428"/>
                <a:gd name="T12" fmla="*/ 60 w 385"/>
                <a:gd name="T13" fmla="*/ 10 h 428"/>
                <a:gd name="T14" fmla="*/ 39 w 385"/>
                <a:gd name="T15" fmla="*/ 14 h 428"/>
                <a:gd name="T16" fmla="*/ 18 w 385"/>
                <a:gd name="T17" fmla="*/ 20 h 428"/>
                <a:gd name="T18" fmla="*/ 0 w 385"/>
                <a:gd name="T19" fmla="*/ 26 h 428"/>
                <a:gd name="T20" fmla="*/ 0 w 385"/>
                <a:gd name="T21" fmla="*/ 415 h 428"/>
                <a:gd name="T22" fmla="*/ 0 w 385"/>
                <a:gd name="T23" fmla="*/ 415 h 428"/>
                <a:gd name="T24" fmla="*/ 15 w 385"/>
                <a:gd name="T25" fmla="*/ 418 h 428"/>
                <a:gd name="T26" fmla="*/ 34 w 385"/>
                <a:gd name="T27" fmla="*/ 420 h 428"/>
                <a:gd name="T28" fmla="*/ 73 w 385"/>
                <a:gd name="T29" fmla="*/ 424 h 428"/>
                <a:gd name="T30" fmla="*/ 116 w 385"/>
                <a:gd name="T31" fmla="*/ 427 h 428"/>
                <a:gd name="T32" fmla="*/ 155 w 385"/>
                <a:gd name="T33" fmla="*/ 428 h 428"/>
                <a:gd name="T34" fmla="*/ 155 w 385"/>
                <a:gd name="T35" fmla="*/ 428 h 428"/>
                <a:gd name="T36" fmla="*/ 186 w 385"/>
                <a:gd name="T37" fmla="*/ 427 h 428"/>
                <a:gd name="T38" fmla="*/ 212 w 385"/>
                <a:gd name="T39" fmla="*/ 425 h 428"/>
                <a:gd name="T40" fmla="*/ 238 w 385"/>
                <a:gd name="T41" fmla="*/ 421 h 428"/>
                <a:gd name="T42" fmla="*/ 261 w 385"/>
                <a:gd name="T43" fmla="*/ 415 h 428"/>
                <a:gd name="T44" fmla="*/ 282 w 385"/>
                <a:gd name="T45" fmla="*/ 408 h 428"/>
                <a:gd name="T46" fmla="*/ 301 w 385"/>
                <a:gd name="T47" fmla="*/ 399 h 428"/>
                <a:gd name="T48" fmla="*/ 309 w 385"/>
                <a:gd name="T49" fmla="*/ 394 h 428"/>
                <a:gd name="T50" fmla="*/ 318 w 385"/>
                <a:gd name="T51" fmla="*/ 389 h 428"/>
                <a:gd name="T52" fmla="*/ 326 w 385"/>
                <a:gd name="T53" fmla="*/ 383 h 428"/>
                <a:gd name="T54" fmla="*/ 333 w 385"/>
                <a:gd name="T55" fmla="*/ 377 h 428"/>
                <a:gd name="T56" fmla="*/ 339 w 385"/>
                <a:gd name="T57" fmla="*/ 369 h 428"/>
                <a:gd name="T58" fmla="*/ 345 w 385"/>
                <a:gd name="T59" fmla="*/ 362 h 428"/>
                <a:gd name="T60" fmla="*/ 351 w 385"/>
                <a:gd name="T61" fmla="*/ 355 h 428"/>
                <a:gd name="T62" fmla="*/ 356 w 385"/>
                <a:gd name="T63" fmla="*/ 347 h 428"/>
                <a:gd name="T64" fmla="*/ 361 w 385"/>
                <a:gd name="T65" fmla="*/ 337 h 428"/>
                <a:gd name="T66" fmla="*/ 366 w 385"/>
                <a:gd name="T67" fmla="*/ 329 h 428"/>
                <a:gd name="T68" fmla="*/ 373 w 385"/>
                <a:gd name="T69" fmla="*/ 309 h 428"/>
                <a:gd name="T70" fmla="*/ 378 w 385"/>
                <a:gd name="T71" fmla="*/ 287 h 428"/>
                <a:gd name="T72" fmla="*/ 382 w 385"/>
                <a:gd name="T73" fmla="*/ 264 h 428"/>
                <a:gd name="T74" fmla="*/ 384 w 385"/>
                <a:gd name="T75" fmla="*/ 239 h 428"/>
                <a:gd name="T76" fmla="*/ 385 w 385"/>
                <a:gd name="T77" fmla="*/ 211 h 428"/>
                <a:gd name="T78" fmla="*/ 385 w 385"/>
                <a:gd name="T79" fmla="*/ 211 h 428"/>
                <a:gd name="T80" fmla="*/ 384 w 385"/>
                <a:gd name="T81" fmla="*/ 187 h 428"/>
                <a:gd name="T82" fmla="*/ 381 w 385"/>
                <a:gd name="T83" fmla="*/ 164 h 428"/>
                <a:gd name="T84" fmla="*/ 377 w 385"/>
                <a:gd name="T85" fmla="*/ 143 h 428"/>
                <a:gd name="T86" fmla="*/ 371 w 385"/>
                <a:gd name="T87" fmla="*/ 122 h 428"/>
                <a:gd name="T88" fmla="*/ 363 w 385"/>
                <a:gd name="T89" fmla="*/ 104 h 428"/>
                <a:gd name="T90" fmla="*/ 352 w 385"/>
                <a:gd name="T91" fmla="*/ 86 h 428"/>
                <a:gd name="T92" fmla="*/ 341 w 385"/>
                <a:gd name="T93" fmla="*/ 71 h 428"/>
                <a:gd name="T94" fmla="*/ 328 w 385"/>
                <a:gd name="T95" fmla="*/ 57 h 428"/>
                <a:gd name="T96" fmla="*/ 314 w 385"/>
                <a:gd name="T97" fmla="*/ 43 h 428"/>
                <a:gd name="T98" fmla="*/ 297 w 385"/>
                <a:gd name="T99" fmla="*/ 32 h 428"/>
                <a:gd name="T100" fmla="*/ 280 w 385"/>
                <a:gd name="T101" fmla="*/ 23 h 428"/>
                <a:gd name="T102" fmla="*/ 260 w 385"/>
                <a:gd name="T103" fmla="*/ 14 h 428"/>
                <a:gd name="T104" fmla="*/ 240 w 385"/>
                <a:gd name="T105" fmla="*/ 8 h 428"/>
                <a:gd name="T106" fmla="*/ 218 w 385"/>
                <a:gd name="T107" fmla="*/ 4 h 428"/>
                <a:gd name="T108" fmla="*/ 195 w 385"/>
                <a:gd name="T109" fmla="*/ 1 h 428"/>
                <a:gd name="T110" fmla="*/ 171 w 385"/>
                <a:gd name="T111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5" h="428">
                  <a:moveTo>
                    <a:pt x="171" y="0"/>
                  </a:moveTo>
                  <a:lnTo>
                    <a:pt x="171" y="0"/>
                  </a:lnTo>
                  <a:lnTo>
                    <a:pt x="150" y="1"/>
                  </a:lnTo>
                  <a:lnTo>
                    <a:pt x="129" y="2"/>
                  </a:lnTo>
                  <a:lnTo>
                    <a:pt x="106" y="4"/>
                  </a:lnTo>
                  <a:lnTo>
                    <a:pt x="83" y="7"/>
                  </a:lnTo>
                  <a:lnTo>
                    <a:pt x="60" y="10"/>
                  </a:lnTo>
                  <a:lnTo>
                    <a:pt x="39" y="14"/>
                  </a:lnTo>
                  <a:lnTo>
                    <a:pt x="18" y="20"/>
                  </a:lnTo>
                  <a:lnTo>
                    <a:pt x="0" y="26"/>
                  </a:lnTo>
                  <a:lnTo>
                    <a:pt x="0" y="415"/>
                  </a:lnTo>
                  <a:lnTo>
                    <a:pt x="0" y="415"/>
                  </a:lnTo>
                  <a:lnTo>
                    <a:pt x="15" y="418"/>
                  </a:lnTo>
                  <a:lnTo>
                    <a:pt x="34" y="420"/>
                  </a:lnTo>
                  <a:lnTo>
                    <a:pt x="73" y="424"/>
                  </a:lnTo>
                  <a:lnTo>
                    <a:pt x="116" y="427"/>
                  </a:lnTo>
                  <a:lnTo>
                    <a:pt x="155" y="428"/>
                  </a:lnTo>
                  <a:lnTo>
                    <a:pt x="155" y="428"/>
                  </a:lnTo>
                  <a:lnTo>
                    <a:pt x="186" y="427"/>
                  </a:lnTo>
                  <a:lnTo>
                    <a:pt x="212" y="425"/>
                  </a:lnTo>
                  <a:lnTo>
                    <a:pt x="238" y="421"/>
                  </a:lnTo>
                  <a:lnTo>
                    <a:pt x="261" y="415"/>
                  </a:lnTo>
                  <a:lnTo>
                    <a:pt x="282" y="408"/>
                  </a:lnTo>
                  <a:lnTo>
                    <a:pt x="301" y="399"/>
                  </a:lnTo>
                  <a:lnTo>
                    <a:pt x="309" y="394"/>
                  </a:lnTo>
                  <a:lnTo>
                    <a:pt x="318" y="389"/>
                  </a:lnTo>
                  <a:lnTo>
                    <a:pt x="326" y="383"/>
                  </a:lnTo>
                  <a:lnTo>
                    <a:pt x="333" y="377"/>
                  </a:lnTo>
                  <a:lnTo>
                    <a:pt x="339" y="369"/>
                  </a:lnTo>
                  <a:lnTo>
                    <a:pt x="345" y="362"/>
                  </a:lnTo>
                  <a:lnTo>
                    <a:pt x="351" y="355"/>
                  </a:lnTo>
                  <a:lnTo>
                    <a:pt x="356" y="347"/>
                  </a:lnTo>
                  <a:lnTo>
                    <a:pt x="361" y="337"/>
                  </a:lnTo>
                  <a:lnTo>
                    <a:pt x="366" y="329"/>
                  </a:lnTo>
                  <a:lnTo>
                    <a:pt x="373" y="309"/>
                  </a:lnTo>
                  <a:lnTo>
                    <a:pt x="378" y="287"/>
                  </a:lnTo>
                  <a:lnTo>
                    <a:pt x="382" y="264"/>
                  </a:lnTo>
                  <a:lnTo>
                    <a:pt x="384" y="239"/>
                  </a:lnTo>
                  <a:lnTo>
                    <a:pt x="385" y="211"/>
                  </a:lnTo>
                  <a:lnTo>
                    <a:pt x="385" y="211"/>
                  </a:lnTo>
                  <a:lnTo>
                    <a:pt x="384" y="187"/>
                  </a:lnTo>
                  <a:lnTo>
                    <a:pt x="381" y="164"/>
                  </a:lnTo>
                  <a:lnTo>
                    <a:pt x="377" y="143"/>
                  </a:lnTo>
                  <a:lnTo>
                    <a:pt x="371" y="122"/>
                  </a:lnTo>
                  <a:lnTo>
                    <a:pt x="363" y="104"/>
                  </a:lnTo>
                  <a:lnTo>
                    <a:pt x="352" y="86"/>
                  </a:lnTo>
                  <a:lnTo>
                    <a:pt x="341" y="71"/>
                  </a:lnTo>
                  <a:lnTo>
                    <a:pt x="328" y="57"/>
                  </a:lnTo>
                  <a:lnTo>
                    <a:pt x="314" y="43"/>
                  </a:lnTo>
                  <a:lnTo>
                    <a:pt x="297" y="32"/>
                  </a:lnTo>
                  <a:lnTo>
                    <a:pt x="280" y="23"/>
                  </a:lnTo>
                  <a:lnTo>
                    <a:pt x="260" y="14"/>
                  </a:lnTo>
                  <a:lnTo>
                    <a:pt x="240" y="8"/>
                  </a:lnTo>
                  <a:lnTo>
                    <a:pt x="218" y="4"/>
                  </a:lnTo>
                  <a:lnTo>
                    <a:pt x="195" y="1"/>
                  </a:lnTo>
                  <a:lnTo>
                    <a:pt x="17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5EB8"/>
                </a:solidFill>
              </a:endParaRPr>
            </a:p>
          </p:txBody>
        </p:sp>
      </p:grpSp>
      <p:grpSp>
        <p:nvGrpSpPr>
          <p:cNvPr id="31" name="Group 30"/>
          <p:cNvGrpSpPr/>
          <p:nvPr userDrawn="1"/>
        </p:nvGrpSpPr>
        <p:grpSpPr>
          <a:xfrm>
            <a:off x="8388192" y="36245"/>
            <a:ext cx="643411" cy="651751"/>
            <a:chOff x="8388192" y="36245"/>
            <a:chExt cx="643411" cy="651751"/>
          </a:xfrm>
        </p:grpSpPr>
        <p:grpSp>
          <p:nvGrpSpPr>
            <p:cNvPr id="32" name="Group 31"/>
            <p:cNvGrpSpPr/>
            <p:nvPr userDrawn="1"/>
          </p:nvGrpSpPr>
          <p:grpSpPr>
            <a:xfrm>
              <a:off x="8549203" y="51708"/>
              <a:ext cx="482400" cy="482400"/>
              <a:chOff x="8549203" y="51708"/>
              <a:chExt cx="482400" cy="482400"/>
            </a:xfrm>
          </p:grpSpPr>
          <p:sp>
            <p:nvSpPr>
              <p:cNvPr id="35" name="Freeform 34"/>
              <p:cNvSpPr>
                <a:spLocks noEditPoints="1"/>
              </p:cNvSpPr>
              <p:nvPr userDrawn="1"/>
            </p:nvSpPr>
            <p:spPr bwMode="auto">
              <a:xfrm>
                <a:off x="8549203" y="51708"/>
                <a:ext cx="482400" cy="482400"/>
              </a:xfrm>
              <a:custGeom>
                <a:avLst/>
                <a:gdLst>
                  <a:gd name="T0" fmla="*/ 254 w 346"/>
                  <a:gd name="T1" fmla="*/ 8 h 346"/>
                  <a:gd name="T2" fmla="*/ 248 w 346"/>
                  <a:gd name="T3" fmla="*/ 4 h 346"/>
                  <a:gd name="T4" fmla="*/ 232 w 346"/>
                  <a:gd name="T5" fmla="*/ 0 h 346"/>
                  <a:gd name="T6" fmla="*/ 114 w 346"/>
                  <a:gd name="T7" fmla="*/ 0 h 346"/>
                  <a:gd name="T8" fmla="*/ 100 w 346"/>
                  <a:gd name="T9" fmla="*/ 4 h 346"/>
                  <a:gd name="T10" fmla="*/ 8 w 346"/>
                  <a:gd name="T11" fmla="*/ 92 h 346"/>
                  <a:gd name="T12" fmla="*/ 4 w 346"/>
                  <a:gd name="T13" fmla="*/ 98 h 346"/>
                  <a:gd name="T14" fmla="*/ 0 w 346"/>
                  <a:gd name="T15" fmla="*/ 114 h 346"/>
                  <a:gd name="T16" fmla="*/ 0 w 346"/>
                  <a:gd name="T17" fmla="*/ 232 h 346"/>
                  <a:gd name="T18" fmla="*/ 4 w 346"/>
                  <a:gd name="T19" fmla="*/ 246 h 346"/>
                  <a:gd name="T20" fmla="*/ 92 w 346"/>
                  <a:gd name="T21" fmla="*/ 338 h 346"/>
                  <a:gd name="T22" fmla="*/ 98 w 346"/>
                  <a:gd name="T23" fmla="*/ 342 h 346"/>
                  <a:gd name="T24" fmla="*/ 114 w 346"/>
                  <a:gd name="T25" fmla="*/ 346 h 346"/>
                  <a:gd name="T26" fmla="*/ 232 w 346"/>
                  <a:gd name="T27" fmla="*/ 346 h 346"/>
                  <a:gd name="T28" fmla="*/ 246 w 346"/>
                  <a:gd name="T29" fmla="*/ 342 h 346"/>
                  <a:gd name="T30" fmla="*/ 338 w 346"/>
                  <a:gd name="T31" fmla="*/ 254 h 346"/>
                  <a:gd name="T32" fmla="*/ 342 w 346"/>
                  <a:gd name="T33" fmla="*/ 248 h 346"/>
                  <a:gd name="T34" fmla="*/ 346 w 346"/>
                  <a:gd name="T35" fmla="*/ 232 h 346"/>
                  <a:gd name="T36" fmla="*/ 346 w 346"/>
                  <a:gd name="T37" fmla="*/ 114 h 346"/>
                  <a:gd name="T38" fmla="*/ 342 w 346"/>
                  <a:gd name="T39" fmla="*/ 100 h 346"/>
                  <a:gd name="T40" fmla="*/ 338 w 346"/>
                  <a:gd name="T41" fmla="*/ 92 h 346"/>
                  <a:gd name="T42" fmla="*/ 326 w 346"/>
                  <a:gd name="T43" fmla="*/ 224 h 346"/>
                  <a:gd name="T44" fmla="*/ 322 w 346"/>
                  <a:gd name="T45" fmla="*/ 240 h 346"/>
                  <a:gd name="T46" fmla="*/ 246 w 346"/>
                  <a:gd name="T47" fmla="*/ 318 h 346"/>
                  <a:gd name="T48" fmla="*/ 238 w 346"/>
                  <a:gd name="T49" fmla="*/ 322 h 346"/>
                  <a:gd name="T50" fmla="*/ 224 w 346"/>
                  <a:gd name="T51" fmla="*/ 326 h 346"/>
                  <a:gd name="T52" fmla="*/ 122 w 346"/>
                  <a:gd name="T53" fmla="*/ 326 h 346"/>
                  <a:gd name="T54" fmla="*/ 106 w 346"/>
                  <a:gd name="T55" fmla="*/ 322 h 346"/>
                  <a:gd name="T56" fmla="*/ 28 w 346"/>
                  <a:gd name="T57" fmla="*/ 246 h 346"/>
                  <a:gd name="T58" fmla="*/ 24 w 346"/>
                  <a:gd name="T59" fmla="*/ 238 h 346"/>
                  <a:gd name="T60" fmla="*/ 20 w 346"/>
                  <a:gd name="T61" fmla="*/ 224 h 346"/>
                  <a:gd name="T62" fmla="*/ 20 w 346"/>
                  <a:gd name="T63" fmla="*/ 122 h 346"/>
                  <a:gd name="T64" fmla="*/ 24 w 346"/>
                  <a:gd name="T65" fmla="*/ 106 h 346"/>
                  <a:gd name="T66" fmla="*/ 102 w 346"/>
                  <a:gd name="T67" fmla="*/ 28 h 346"/>
                  <a:gd name="T68" fmla="*/ 108 w 346"/>
                  <a:gd name="T69" fmla="*/ 24 h 346"/>
                  <a:gd name="T70" fmla="*/ 122 w 346"/>
                  <a:gd name="T71" fmla="*/ 20 h 346"/>
                  <a:gd name="T72" fmla="*/ 224 w 346"/>
                  <a:gd name="T73" fmla="*/ 20 h 346"/>
                  <a:gd name="T74" fmla="*/ 240 w 346"/>
                  <a:gd name="T75" fmla="*/ 24 h 346"/>
                  <a:gd name="T76" fmla="*/ 318 w 346"/>
                  <a:gd name="T77" fmla="*/ 102 h 346"/>
                  <a:gd name="T78" fmla="*/ 322 w 346"/>
                  <a:gd name="T79" fmla="*/ 108 h 346"/>
                  <a:gd name="T80" fmla="*/ 326 w 346"/>
                  <a:gd name="T81" fmla="*/ 12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46" h="346">
                    <a:moveTo>
                      <a:pt x="338" y="92"/>
                    </a:moveTo>
                    <a:lnTo>
                      <a:pt x="254" y="8"/>
                    </a:lnTo>
                    <a:lnTo>
                      <a:pt x="254" y="8"/>
                    </a:lnTo>
                    <a:lnTo>
                      <a:pt x="248" y="4"/>
                    </a:lnTo>
                    <a:lnTo>
                      <a:pt x="240" y="0"/>
                    </a:lnTo>
                    <a:lnTo>
                      <a:pt x="232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06" y="0"/>
                    </a:lnTo>
                    <a:lnTo>
                      <a:pt x="100" y="4"/>
                    </a:lnTo>
                    <a:lnTo>
                      <a:pt x="92" y="8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4" y="98"/>
                    </a:lnTo>
                    <a:lnTo>
                      <a:pt x="0" y="106"/>
                    </a:lnTo>
                    <a:lnTo>
                      <a:pt x="0" y="114"/>
                    </a:lnTo>
                    <a:lnTo>
                      <a:pt x="0" y="232"/>
                    </a:lnTo>
                    <a:lnTo>
                      <a:pt x="0" y="232"/>
                    </a:lnTo>
                    <a:lnTo>
                      <a:pt x="0" y="240"/>
                    </a:lnTo>
                    <a:lnTo>
                      <a:pt x="4" y="246"/>
                    </a:lnTo>
                    <a:lnTo>
                      <a:pt x="8" y="254"/>
                    </a:lnTo>
                    <a:lnTo>
                      <a:pt x="92" y="338"/>
                    </a:lnTo>
                    <a:lnTo>
                      <a:pt x="92" y="338"/>
                    </a:lnTo>
                    <a:lnTo>
                      <a:pt x="98" y="342"/>
                    </a:lnTo>
                    <a:lnTo>
                      <a:pt x="106" y="346"/>
                    </a:lnTo>
                    <a:lnTo>
                      <a:pt x="114" y="346"/>
                    </a:lnTo>
                    <a:lnTo>
                      <a:pt x="232" y="346"/>
                    </a:lnTo>
                    <a:lnTo>
                      <a:pt x="232" y="346"/>
                    </a:lnTo>
                    <a:lnTo>
                      <a:pt x="240" y="346"/>
                    </a:lnTo>
                    <a:lnTo>
                      <a:pt x="246" y="342"/>
                    </a:lnTo>
                    <a:lnTo>
                      <a:pt x="254" y="338"/>
                    </a:lnTo>
                    <a:lnTo>
                      <a:pt x="338" y="254"/>
                    </a:lnTo>
                    <a:lnTo>
                      <a:pt x="338" y="254"/>
                    </a:lnTo>
                    <a:lnTo>
                      <a:pt x="342" y="248"/>
                    </a:lnTo>
                    <a:lnTo>
                      <a:pt x="346" y="240"/>
                    </a:lnTo>
                    <a:lnTo>
                      <a:pt x="346" y="232"/>
                    </a:lnTo>
                    <a:lnTo>
                      <a:pt x="346" y="114"/>
                    </a:lnTo>
                    <a:lnTo>
                      <a:pt x="346" y="114"/>
                    </a:lnTo>
                    <a:lnTo>
                      <a:pt x="346" y="106"/>
                    </a:lnTo>
                    <a:lnTo>
                      <a:pt x="342" y="100"/>
                    </a:lnTo>
                    <a:lnTo>
                      <a:pt x="338" y="92"/>
                    </a:lnTo>
                    <a:lnTo>
                      <a:pt x="338" y="92"/>
                    </a:lnTo>
                    <a:close/>
                    <a:moveTo>
                      <a:pt x="326" y="224"/>
                    </a:moveTo>
                    <a:lnTo>
                      <a:pt x="326" y="224"/>
                    </a:lnTo>
                    <a:lnTo>
                      <a:pt x="326" y="232"/>
                    </a:lnTo>
                    <a:lnTo>
                      <a:pt x="322" y="240"/>
                    </a:lnTo>
                    <a:lnTo>
                      <a:pt x="318" y="246"/>
                    </a:lnTo>
                    <a:lnTo>
                      <a:pt x="246" y="318"/>
                    </a:lnTo>
                    <a:lnTo>
                      <a:pt x="246" y="318"/>
                    </a:lnTo>
                    <a:lnTo>
                      <a:pt x="238" y="322"/>
                    </a:lnTo>
                    <a:lnTo>
                      <a:pt x="232" y="326"/>
                    </a:lnTo>
                    <a:lnTo>
                      <a:pt x="224" y="326"/>
                    </a:lnTo>
                    <a:lnTo>
                      <a:pt x="122" y="326"/>
                    </a:lnTo>
                    <a:lnTo>
                      <a:pt x="122" y="326"/>
                    </a:lnTo>
                    <a:lnTo>
                      <a:pt x="114" y="326"/>
                    </a:lnTo>
                    <a:lnTo>
                      <a:pt x="106" y="322"/>
                    </a:lnTo>
                    <a:lnTo>
                      <a:pt x="102" y="318"/>
                    </a:lnTo>
                    <a:lnTo>
                      <a:pt x="28" y="246"/>
                    </a:lnTo>
                    <a:lnTo>
                      <a:pt x="28" y="246"/>
                    </a:lnTo>
                    <a:lnTo>
                      <a:pt x="24" y="238"/>
                    </a:lnTo>
                    <a:lnTo>
                      <a:pt x="20" y="232"/>
                    </a:lnTo>
                    <a:lnTo>
                      <a:pt x="20" y="224"/>
                    </a:lnTo>
                    <a:lnTo>
                      <a:pt x="20" y="122"/>
                    </a:lnTo>
                    <a:lnTo>
                      <a:pt x="20" y="122"/>
                    </a:lnTo>
                    <a:lnTo>
                      <a:pt x="22" y="114"/>
                    </a:lnTo>
                    <a:lnTo>
                      <a:pt x="24" y="106"/>
                    </a:lnTo>
                    <a:lnTo>
                      <a:pt x="28" y="102"/>
                    </a:lnTo>
                    <a:lnTo>
                      <a:pt x="102" y="28"/>
                    </a:lnTo>
                    <a:lnTo>
                      <a:pt x="102" y="28"/>
                    </a:lnTo>
                    <a:lnTo>
                      <a:pt x="108" y="24"/>
                    </a:lnTo>
                    <a:lnTo>
                      <a:pt x="114" y="20"/>
                    </a:lnTo>
                    <a:lnTo>
                      <a:pt x="122" y="20"/>
                    </a:lnTo>
                    <a:lnTo>
                      <a:pt x="224" y="20"/>
                    </a:lnTo>
                    <a:lnTo>
                      <a:pt x="224" y="20"/>
                    </a:lnTo>
                    <a:lnTo>
                      <a:pt x="232" y="20"/>
                    </a:lnTo>
                    <a:lnTo>
                      <a:pt x="240" y="24"/>
                    </a:lnTo>
                    <a:lnTo>
                      <a:pt x="246" y="28"/>
                    </a:lnTo>
                    <a:lnTo>
                      <a:pt x="318" y="102"/>
                    </a:lnTo>
                    <a:lnTo>
                      <a:pt x="318" y="102"/>
                    </a:lnTo>
                    <a:lnTo>
                      <a:pt x="322" y="108"/>
                    </a:lnTo>
                    <a:lnTo>
                      <a:pt x="326" y="114"/>
                    </a:lnTo>
                    <a:lnTo>
                      <a:pt x="326" y="122"/>
                    </a:lnTo>
                    <a:lnTo>
                      <a:pt x="326" y="2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4D4D4D"/>
                  </a:solidFill>
                </a:endParaRPr>
              </a:p>
            </p:txBody>
          </p:sp>
          <p:sp>
            <p:nvSpPr>
              <p:cNvPr id="36" name="Freeform 35"/>
              <p:cNvSpPr>
                <a:spLocks/>
              </p:cNvSpPr>
              <p:nvPr userDrawn="1"/>
            </p:nvSpPr>
            <p:spPr bwMode="auto">
              <a:xfrm>
                <a:off x="8699779" y="129784"/>
                <a:ext cx="192402" cy="340190"/>
              </a:xfrm>
              <a:custGeom>
                <a:avLst/>
                <a:gdLst>
                  <a:gd name="T0" fmla="*/ 138 w 138"/>
                  <a:gd name="T1" fmla="*/ 142 h 244"/>
                  <a:gd name="T2" fmla="*/ 138 w 138"/>
                  <a:gd name="T3" fmla="*/ 94 h 244"/>
                  <a:gd name="T4" fmla="*/ 134 w 138"/>
                  <a:gd name="T5" fmla="*/ 84 h 244"/>
                  <a:gd name="T6" fmla="*/ 124 w 138"/>
                  <a:gd name="T7" fmla="*/ 82 h 244"/>
                  <a:gd name="T8" fmla="*/ 122 w 138"/>
                  <a:gd name="T9" fmla="*/ 82 h 244"/>
                  <a:gd name="T10" fmla="*/ 114 w 138"/>
                  <a:gd name="T11" fmla="*/ 88 h 244"/>
                  <a:gd name="T12" fmla="*/ 114 w 138"/>
                  <a:gd name="T13" fmla="*/ 142 h 244"/>
                  <a:gd name="T14" fmla="*/ 112 w 138"/>
                  <a:gd name="T15" fmla="*/ 28 h 244"/>
                  <a:gd name="T16" fmla="*/ 110 w 138"/>
                  <a:gd name="T17" fmla="*/ 20 h 244"/>
                  <a:gd name="T18" fmla="*/ 102 w 138"/>
                  <a:gd name="T19" fmla="*/ 12 h 244"/>
                  <a:gd name="T20" fmla="*/ 100 w 138"/>
                  <a:gd name="T21" fmla="*/ 12 h 244"/>
                  <a:gd name="T22" fmla="*/ 98 w 138"/>
                  <a:gd name="T23" fmla="*/ 12 h 244"/>
                  <a:gd name="T24" fmla="*/ 96 w 138"/>
                  <a:gd name="T25" fmla="*/ 12 h 244"/>
                  <a:gd name="T26" fmla="*/ 88 w 138"/>
                  <a:gd name="T27" fmla="*/ 16 h 244"/>
                  <a:gd name="T28" fmla="*/ 84 w 138"/>
                  <a:gd name="T29" fmla="*/ 28 h 244"/>
                  <a:gd name="T30" fmla="*/ 82 w 138"/>
                  <a:gd name="T31" fmla="*/ 142 h 244"/>
                  <a:gd name="T32" fmla="*/ 82 w 138"/>
                  <a:gd name="T33" fmla="*/ 16 h 244"/>
                  <a:gd name="T34" fmla="*/ 76 w 138"/>
                  <a:gd name="T35" fmla="*/ 4 h 244"/>
                  <a:gd name="T36" fmla="*/ 70 w 138"/>
                  <a:gd name="T37" fmla="*/ 0 h 244"/>
                  <a:gd name="T38" fmla="*/ 66 w 138"/>
                  <a:gd name="T39" fmla="*/ 0 h 244"/>
                  <a:gd name="T40" fmla="*/ 64 w 138"/>
                  <a:gd name="T41" fmla="*/ 0 h 244"/>
                  <a:gd name="T42" fmla="*/ 62 w 138"/>
                  <a:gd name="T43" fmla="*/ 0 h 244"/>
                  <a:gd name="T44" fmla="*/ 54 w 138"/>
                  <a:gd name="T45" fmla="*/ 8 h 244"/>
                  <a:gd name="T46" fmla="*/ 52 w 138"/>
                  <a:gd name="T47" fmla="*/ 142 h 244"/>
                  <a:gd name="T48" fmla="*/ 50 w 138"/>
                  <a:gd name="T49" fmla="*/ 38 h 244"/>
                  <a:gd name="T50" fmla="*/ 48 w 138"/>
                  <a:gd name="T51" fmla="*/ 30 h 244"/>
                  <a:gd name="T52" fmla="*/ 40 w 138"/>
                  <a:gd name="T53" fmla="*/ 24 h 244"/>
                  <a:gd name="T54" fmla="*/ 38 w 138"/>
                  <a:gd name="T55" fmla="*/ 22 h 244"/>
                  <a:gd name="T56" fmla="*/ 36 w 138"/>
                  <a:gd name="T57" fmla="*/ 22 h 244"/>
                  <a:gd name="T58" fmla="*/ 34 w 138"/>
                  <a:gd name="T59" fmla="*/ 22 h 244"/>
                  <a:gd name="T60" fmla="*/ 28 w 138"/>
                  <a:gd name="T61" fmla="*/ 26 h 244"/>
                  <a:gd name="T62" fmla="*/ 24 w 138"/>
                  <a:gd name="T63" fmla="*/ 38 h 244"/>
                  <a:gd name="T64" fmla="*/ 20 w 138"/>
                  <a:gd name="T65" fmla="*/ 142 h 244"/>
                  <a:gd name="T66" fmla="*/ 20 w 138"/>
                  <a:gd name="T67" fmla="*/ 68 h 244"/>
                  <a:gd name="T68" fmla="*/ 16 w 138"/>
                  <a:gd name="T69" fmla="*/ 58 h 244"/>
                  <a:gd name="T70" fmla="*/ 10 w 138"/>
                  <a:gd name="T71" fmla="*/ 58 h 244"/>
                  <a:gd name="T72" fmla="*/ 4 w 138"/>
                  <a:gd name="T73" fmla="*/ 60 h 244"/>
                  <a:gd name="T74" fmla="*/ 0 w 138"/>
                  <a:gd name="T75" fmla="*/ 68 h 244"/>
                  <a:gd name="T76" fmla="*/ 0 w 138"/>
                  <a:gd name="T77" fmla="*/ 142 h 244"/>
                  <a:gd name="T78" fmla="*/ 0 w 138"/>
                  <a:gd name="T79" fmla="*/ 166 h 244"/>
                  <a:gd name="T80" fmla="*/ 6 w 138"/>
                  <a:gd name="T81" fmla="*/ 196 h 244"/>
                  <a:gd name="T82" fmla="*/ 20 w 138"/>
                  <a:gd name="T83" fmla="*/ 220 h 244"/>
                  <a:gd name="T84" fmla="*/ 42 w 138"/>
                  <a:gd name="T85" fmla="*/ 238 h 244"/>
                  <a:gd name="T86" fmla="*/ 70 w 138"/>
                  <a:gd name="T87" fmla="*/ 244 h 244"/>
                  <a:gd name="T88" fmla="*/ 84 w 138"/>
                  <a:gd name="T89" fmla="*/ 242 h 244"/>
                  <a:gd name="T90" fmla="*/ 108 w 138"/>
                  <a:gd name="T91" fmla="*/ 230 h 244"/>
                  <a:gd name="T92" fmla="*/ 126 w 138"/>
                  <a:gd name="T93" fmla="*/ 208 h 244"/>
                  <a:gd name="T94" fmla="*/ 136 w 138"/>
                  <a:gd name="T95" fmla="*/ 180 h 244"/>
                  <a:gd name="T96" fmla="*/ 138 w 138"/>
                  <a:gd name="T97" fmla="*/ 166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8" h="244">
                    <a:moveTo>
                      <a:pt x="138" y="142"/>
                    </a:moveTo>
                    <a:lnTo>
                      <a:pt x="138" y="142"/>
                    </a:lnTo>
                    <a:lnTo>
                      <a:pt x="138" y="94"/>
                    </a:lnTo>
                    <a:lnTo>
                      <a:pt x="138" y="94"/>
                    </a:lnTo>
                    <a:lnTo>
                      <a:pt x="136" y="88"/>
                    </a:lnTo>
                    <a:lnTo>
                      <a:pt x="134" y="84"/>
                    </a:lnTo>
                    <a:lnTo>
                      <a:pt x="128" y="82"/>
                    </a:lnTo>
                    <a:lnTo>
                      <a:pt x="124" y="82"/>
                    </a:lnTo>
                    <a:lnTo>
                      <a:pt x="124" y="82"/>
                    </a:lnTo>
                    <a:lnTo>
                      <a:pt x="122" y="82"/>
                    </a:lnTo>
                    <a:lnTo>
                      <a:pt x="118" y="84"/>
                    </a:lnTo>
                    <a:lnTo>
                      <a:pt x="114" y="88"/>
                    </a:lnTo>
                    <a:lnTo>
                      <a:pt x="114" y="94"/>
                    </a:lnTo>
                    <a:lnTo>
                      <a:pt x="114" y="142"/>
                    </a:lnTo>
                    <a:lnTo>
                      <a:pt x="112" y="142"/>
                    </a:lnTo>
                    <a:lnTo>
                      <a:pt x="112" y="28"/>
                    </a:lnTo>
                    <a:lnTo>
                      <a:pt x="112" y="28"/>
                    </a:lnTo>
                    <a:lnTo>
                      <a:pt x="110" y="20"/>
                    </a:lnTo>
                    <a:lnTo>
                      <a:pt x="106" y="16"/>
                    </a:lnTo>
                    <a:lnTo>
                      <a:pt x="102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98" y="12"/>
                    </a:lnTo>
                    <a:lnTo>
                      <a:pt x="98" y="12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2" y="12"/>
                    </a:lnTo>
                    <a:lnTo>
                      <a:pt x="88" y="16"/>
                    </a:lnTo>
                    <a:lnTo>
                      <a:pt x="86" y="20"/>
                    </a:lnTo>
                    <a:lnTo>
                      <a:pt x="84" y="28"/>
                    </a:lnTo>
                    <a:lnTo>
                      <a:pt x="84" y="142"/>
                    </a:lnTo>
                    <a:lnTo>
                      <a:pt x="82" y="142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0" y="8"/>
                    </a:lnTo>
                    <a:lnTo>
                      <a:pt x="76" y="4"/>
                    </a:lnTo>
                    <a:lnTo>
                      <a:pt x="72" y="0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2" y="0"/>
                    </a:lnTo>
                    <a:lnTo>
                      <a:pt x="58" y="4"/>
                    </a:lnTo>
                    <a:lnTo>
                      <a:pt x="54" y="8"/>
                    </a:lnTo>
                    <a:lnTo>
                      <a:pt x="52" y="16"/>
                    </a:lnTo>
                    <a:lnTo>
                      <a:pt x="52" y="142"/>
                    </a:lnTo>
                    <a:lnTo>
                      <a:pt x="50" y="142"/>
                    </a:lnTo>
                    <a:lnTo>
                      <a:pt x="50" y="38"/>
                    </a:lnTo>
                    <a:lnTo>
                      <a:pt x="50" y="38"/>
                    </a:lnTo>
                    <a:lnTo>
                      <a:pt x="48" y="30"/>
                    </a:lnTo>
                    <a:lnTo>
                      <a:pt x="44" y="26"/>
                    </a:lnTo>
                    <a:lnTo>
                      <a:pt x="40" y="24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2" y="24"/>
                    </a:lnTo>
                    <a:lnTo>
                      <a:pt x="28" y="26"/>
                    </a:lnTo>
                    <a:lnTo>
                      <a:pt x="24" y="30"/>
                    </a:lnTo>
                    <a:lnTo>
                      <a:pt x="24" y="38"/>
                    </a:lnTo>
                    <a:lnTo>
                      <a:pt x="24" y="142"/>
                    </a:lnTo>
                    <a:lnTo>
                      <a:pt x="20" y="142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18" y="62"/>
                    </a:lnTo>
                    <a:lnTo>
                      <a:pt x="16" y="58"/>
                    </a:lnTo>
                    <a:lnTo>
                      <a:pt x="12" y="58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4" y="60"/>
                    </a:lnTo>
                    <a:lnTo>
                      <a:pt x="2" y="62"/>
                    </a:lnTo>
                    <a:lnTo>
                      <a:pt x="0" y="68"/>
                    </a:lnTo>
                    <a:lnTo>
                      <a:pt x="0" y="142"/>
                    </a:lnTo>
                    <a:lnTo>
                      <a:pt x="0" y="142"/>
                    </a:lnTo>
                    <a:lnTo>
                      <a:pt x="0" y="166"/>
                    </a:lnTo>
                    <a:lnTo>
                      <a:pt x="0" y="166"/>
                    </a:lnTo>
                    <a:lnTo>
                      <a:pt x="2" y="180"/>
                    </a:lnTo>
                    <a:lnTo>
                      <a:pt x="6" y="196"/>
                    </a:lnTo>
                    <a:lnTo>
                      <a:pt x="12" y="208"/>
                    </a:lnTo>
                    <a:lnTo>
                      <a:pt x="20" y="220"/>
                    </a:lnTo>
                    <a:lnTo>
                      <a:pt x="30" y="230"/>
                    </a:lnTo>
                    <a:lnTo>
                      <a:pt x="42" y="238"/>
                    </a:lnTo>
                    <a:lnTo>
                      <a:pt x="56" y="242"/>
                    </a:lnTo>
                    <a:lnTo>
                      <a:pt x="70" y="244"/>
                    </a:lnTo>
                    <a:lnTo>
                      <a:pt x="70" y="244"/>
                    </a:lnTo>
                    <a:lnTo>
                      <a:pt x="84" y="242"/>
                    </a:lnTo>
                    <a:lnTo>
                      <a:pt x="96" y="238"/>
                    </a:lnTo>
                    <a:lnTo>
                      <a:pt x="108" y="230"/>
                    </a:lnTo>
                    <a:lnTo>
                      <a:pt x="118" y="220"/>
                    </a:lnTo>
                    <a:lnTo>
                      <a:pt x="126" y="208"/>
                    </a:lnTo>
                    <a:lnTo>
                      <a:pt x="132" y="196"/>
                    </a:lnTo>
                    <a:lnTo>
                      <a:pt x="136" y="180"/>
                    </a:lnTo>
                    <a:lnTo>
                      <a:pt x="138" y="166"/>
                    </a:lnTo>
                    <a:lnTo>
                      <a:pt x="138" y="166"/>
                    </a:lnTo>
                    <a:lnTo>
                      <a:pt x="138" y="14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4D4D4D"/>
                  </a:solidFill>
                </a:endParaRPr>
              </a:p>
            </p:txBody>
          </p:sp>
        </p:grpSp>
        <p:sp>
          <p:nvSpPr>
            <p:cNvPr id="33" name="TextBox 32"/>
            <p:cNvSpPr txBox="1"/>
            <p:nvPr userDrawn="1"/>
          </p:nvSpPr>
          <p:spPr>
            <a:xfrm rot="16200000">
              <a:off x="8191735" y="232702"/>
              <a:ext cx="563729" cy="1708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510" dirty="0" smtClean="0">
                  <a:solidFill>
                    <a:srgbClr val="FFFFFF">
                      <a:lumMod val="65000"/>
                    </a:srgbClr>
                  </a:solidFill>
                </a:rPr>
                <a:t>confidential</a:t>
              </a:r>
              <a:endParaRPr lang="en-GB" sz="510" dirty="0">
                <a:solidFill>
                  <a:srgbClr val="FFFFFF">
                    <a:lumMod val="65000"/>
                  </a:srgbClr>
                </a:solidFill>
              </a:endParaRPr>
            </a:p>
          </p:txBody>
        </p:sp>
        <p:sp>
          <p:nvSpPr>
            <p:cNvPr id="34" name="TextBox 33"/>
            <p:cNvSpPr txBox="1"/>
            <p:nvPr userDrawn="1"/>
          </p:nvSpPr>
          <p:spPr>
            <a:xfrm>
              <a:off x="8547008" y="506408"/>
              <a:ext cx="482345" cy="1815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580" dirty="0" smtClean="0">
                  <a:solidFill>
                    <a:srgbClr val="D7D2CB">
                      <a:lumMod val="10000"/>
                    </a:srgbClr>
                  </a:solidFill>
                </a:rPr>
                <a:t>SECRET</a:t>
              </a:r>
              <a:endParaRPr lang="en-GB" sz="580" dirty="0">
                <a:solidFill>
                  <a:srgbClr val="D7D2C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874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1" r:id="rId2"/>
    <p:sldLayoutId id="2147483952" r:id="rId3"/>
    <p:sldLayoutId id="2147483953" r:id="rId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spcBef>
          <a:spcPct val="20000"/>
        </a:spcBef>
        <a:buClr>
          <a:schemeClr val="tx2"/>
        </a:buClr>
        <a:buSzPct val="120000"/>
        <a:buFont typeface="Verdana" pitchFamily="34" charset="0"/>
        <a:buChar char="_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216000" algn="l" defTabSz="914400" rtl="0" eaLnBrk="1" latinLnBrk="0" hangingPunct="1">
        <a:spcBef>
          <a:spcPct val="20000"/>
        </a:spcBef>
        <a:buClr>
          <a:schemeClr val="tx2"/>
        </a:buClr>
        <a:buSzPct val="12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66000" indent="-198000" algn="l" defTabSz="914400" rtl="0" eaLnBrk="1" latinLnBrk="0" hangingPunct="1">
        <a:spcBef>
          <a:spcPct val="20000"/>
        </a:spcBef>
        <a:buClr>
          <a:schemeClr val="tx2"/>
        </a:buClr>
        <a:buSzPct val="10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46000" indent="-180000" algn="l" defTabSz="914400" rtl="0" eaLnBrk="1" latinLnBrk="0" hangingPunct="1">
        <a:spcBef>
          <a:spcPct val="20000"/>
        </a:spcBef>
        <a:buClr>
          <a:schemeClr val="tx2"/>
        </a:buClr>
        <a:buSzPct val="10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26000" indent="-180000" algn="l" defTabSz="914400" rtl="0" eaLnBrk="1" latinLnBrk="0" hangingPunct="1">
        <a:spcBef>
          <a:spcPct val="20000"/>
        </a:spcBef>
        <a:buClr>
          <a:schemeClr val="tx2"/>
        </a:buClr>
        <a:buSzPct val="10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4"/>
          </p:nvPr>
        </p:nvSpPr>
        <p:spPr>
          <a:xfrm>
            <a:off x="286379" y="884170"/>
            <a:ext cx="8482017" cy="4570732"/>
          </a:xfrm>
        </p:spPr>
        <p:txBody>
          <a:bodyPr/>
          <a:lstStyle/>
          <a:p>
            <a:pPr marL="0" indent="0">
              <a:buNone/>
            </a:pPr>
            <a:r>
              <a:rPr lang="en-GB" sz="1200" dirty="0" smtClean="0"/>
              <a:t>Bonjour, Fernando </a:t>
            </a:r>
            <a:r>
              <a:rPr lang="en-GB" sz="1200" dirty="0" err="1" smtClean="0"/>
              <a:t>Garrigos</a:t>
            </a:r>
            <a:r>
              <a:rPr lang="en-GB" sz="1200" dirty="0" smtClean="0"/>
              <a:t> de la </a:t>
            </a:r>
            <a:r>
              <a:rPr lang="en-GB" sz="1200" dirty="0" err="1" smtClean="0"/>
              <a:t>société</a:t>
            </a:r>
            <a:r>
              <a:rPr lang="en-GB" sz="1200" dirty="0" smtClean="0"/>
              <a:t> </a:t>
            </a:r>
            <a:r>
              <a:rPr lang="en-GB" sz="1200" dirty="0" err="1" smtClean="0"/>
              <a:t>Centaure</a:t>
            </a:r>
            <a:r>
              <a:rPr lang="en-GB" sz="1200" dirty="0" smtClean="0"/>
              <a:t> Provence </a:t>
            </a:r>
            <a:r>
              <a:rPr lang="en-GB" sz="1200" dirty="0" err="1" smtClean="0"/>
              <a:t>Mediterrannée</a:t>
            </a:r>
            <a:r>
              <a:rPr lang="en-GB" sz="1200" dirty="0" smtClean="0"/>
              <a:t>. </a:t>
            </a:r>
          </a:p>
          <a:p>
            <a:pPr marL="0" indent="0">
              <a:buNone/>
            </a:pPr>
            <a:r>
              <a:rPr lang="en-GB" sz="1200" dirty="0" err="1" smtClean="0"/>
              <a:t>Comme</a:t>
            </a:r>
            <a:r>
              <a:rPr lang="en-GB" sz="1200" dirty="0" smtClean="0"/>
              <a:t> nous </a:t>
            </a:r>
            <a:r>
              <a:rPr lang="en-GB" sz="1200" dirty="0" err="1" smtClean="0"/>
              <a:t>nous</a:t>
            </a:r>
            <a:r>
              <a:rPr lang="en-GB" sz="1200" dirty="0" smtClean="0"/>
              <a:t> </a:t>
            </a:r>
            <a:r>
              <a:rPr lang="en-GB" sz="1200" dirty="0" err="1" smtClean="0"/>
              <a:t>étions</a:t>
            </a:r>
            <a:r>
              <a:rPr lang="en-GB" sz="1200" dirty="0" smtClean="0"/>
              <a:t> </a:t>
            </a:r>
            <a:r>
              <a:rPr lang="en-GB" sz="1200" dirty="0" err="1" smtClean="0"/>
              <a:t>mis</a:t>
            </a:r>
            <a:r>
              <a:rPr lang="en-GB" sz="1200" dirty="0" smtClean="0"/>
              <a:t> </a:t>
            </a:r>
            <a:r>
              <a:rPr lang="en-GB" sz="1200" dirty="0" err="1" smtClean="0"/>
              <a:t>d’accord</a:t>
            </a:r>
            <a:r>
              <a:rPr lang="en-GB" sz="1200" dirty="0" smtClean="0"/>
              <a:t> par telephone la </a:t>
            </a:r>
            <a:r>
              <a:rPr lang="en-GB" sz="1200" dirty="0" err="1" smtClean="0"/>
              <a:t>semaine</a:t>
            </a:r>
            <a:r>
              <a:rPr lang="en-GB" sz="1200" dirty="0" smtClean="0"/>
              <a:t> </a:t>
            </a:r>
            <a:r>
              <a:rPr lang="en-GB" sz="1200" dirty="0" err="1" smtClean="0"/>
              <a:t>dernière</a:t>
            </a:r>
            <a:r>
              <a:rPr lang="en-GB" sz="1200" dirty="0" smtClean="0"/>
              <a:t>, je </a:t>
            </a:r>
            <a:r>
              <a:rPr lang="en-GB" sz="1200" dirty="0" err="1" smtClean="0"/>
              <a:t>suis</a:t>
            </a:r>
            <a:r>
              <a:rPr lang="en-GB" sz="1200" dirty="0" smtClean="0"/>
              <a:t> </a:t>
            </a:r>
            <a:r>
              <a:rPr lang="en-GB" sz="1200" dirty="0" err="1" smtClean="0"/>
              <a:t>venu</a:t>
            </a:r>
            <a:r>
              <a:rPr lang="en-GB" sz="1200" dirty="0" smtClean="0"/>
              <a:t> </a:t>
            </a:r>
            <a:r>
              <a:rPr lang="en-GB" sz="1200" dirty="0" err="1" smtClean="0"/>
              <a:t>vous</a:t>
            </a:r>
            <a:r>
              <a:rPr lang="en-GB" sz="1200" dirty="0" smtClean="0"/>
              <a:t> presenter les </a:t>
            </a:r>
            <a:r>
              <a:rPr lang="en-GB" sz="1200" dirty="0" err="1" smtClean="0"/>
              <a:t>offres</a:t>
            </a:r>
            <a:r>
              <a:rPr lang="en-GB" sz="1200" dirty="0" smtClean="0"/>
              <a:t> de formations aux </a:t>
            </a:r>
            <a:r>
              <a:rPr lang="en-GB" sz="1200" dirty="0" err="1" smtClean="0"/>
              <a:t>risques</a:t>
            </a:r>
            <a:r>
              <a:rPr lang="en-GB" sz="1200" dirty="0" smtClean="0"/>
              <a:t> automobiles que nous </a:t>
            </a:r>
            <a:r>
              <a:rPr lang="en-GB" sz="1200" dirty="0" err="1" smtClean="0"/>
              <a:t>proposons</a:t>
            </a:r>
            <a:r>
              <a:rPr lang="en-GB" sz="1200" dirty="0" smtClean="0"/>
              <a:t> et </a:t>
            </a:r>
            <a:r>
              <a:rPr lang="en-GB" sz="1200" dirty="0" err="1" smtClean="0"/>
              <a:t>discuter</a:t>
            </a:r>
            <a:r>
              <a:rPr lang="en-GB" sz="1200" dirty="0" smtClean="0"/>
              <a:t> avec </a:t>
            </a:r>
            <a:r>
              <a:rPr lang="en-GB" sz="1200" dirty="0" err="1" smtClean="0"/>
              <a:t>vous</a:t>
            </a:r>
            <a:r>
              <a:rPr lang="en-GB" sz="1200" dirty="0" smtClean="0"/>
              <a:t> un </a:t>
            </a:r>
            <a:r>
              <a:rPr lang="en-GB" sz="1200" dirty="0" err="1" smtClean="0"/>
              <a:t>peu</a:t>
            </a:r>
            <a:r>
              <a:rPr lang="en-GB" sz="1200" dirty="0" smtClean="0"/>
              <a:t> plus </a:t>
            </a:r>
            <a:r>
              <a:rPr lang="en-GB" sz="1200" dirty="0" err="1" smtClean="0"/>
              <a:t>précisément</a:t>
            </a:r>
            <a:r>
              <a:rPr lang="en-GB" sz="1200" dirty="0" smtClean="0"/>
              <a:t> de </a:t>
            </a:r>
            <a:r>
              <a:rPr lang="en-GB" sz="1200" dirty="0" err="1" smtClean="0"/>
              <a:t>vos</a:t>
            </a:r>
            <a:r>
              <a:rPr lang="en-GB" sz="1200" dirty="0" smtClean="0"/>
              <a:t> </a:t>
            </a:r>
            <a:r>
              <a:rPr lang="en-GB" sz="1200" dirty="0" err="1" smtClean="0"/>
              <a:t>besoins</a:t>
            </a:r>
            <a:r>
              <a:rPr lang="en-GB" sz="1200" dirty="0" smtClean="0"/>
              <a:t> </a:t>
            </a:r>
            <a:r>
              <a:rPr lang="en-GB" sz="1200" dirty="0" err="1" smtClean="0"/>
              <a:t>afin</a:t>
            </a:r>
            <a:r>
              <a:rPr lang="en-GB" sz="1200" dirty="0" smtClean="0"/>
              <a:t> que </a:t>
            </a:r>
            <a:r>
              <a:rPr lang="en-GB" sz="1200" dirty="0" err="1" smtClean="0"/>
              <a:t>l’on</a:t>
            </a:r>
            <a:r>
              <a:rPr lang="en-GB" sz="1200" dirty="0" smtClean="0"/>
              <a:t> </a:t>
            </a:r>
            <a:r>
              <a:rPr lang="en-GB" sz="1200" dirty="0" err="1" smtClean="0"/>
              <a:t>trouve</a:t>
            </a:r>
            <a:r>
              <a:rPr lang="en-GB" sz="1200" dirty="0" smtClean="0"/>
              <a:t> ensemble la </a:t>
            </a:r>
            <a:r>
              <a:rPr lang="en-GB" sz="1200" dirty="0" err="1" smtClean="0"/>
              <a:t>formule</a:t>
            </a:r>
            <a:r>
              <a:rPr lang="en-GB" sz="1200" dirty="0" smtClean="0"/>
              <a:t> la plus </a:t>
            </a:r>
            <a:r>
              <a:rPr lang="en-GB" sz="1200" dirty="0" err="1" smtClean="0"/>
              <a:t>adaptée</a:t>
            </a:r>
            <a:r>
              <a:rPr lang="en-GB" sz="1200" dirty="0" smtClean="0"/>
              <a:t> à </a:t>
            </a:r>
            <a:r>
              <a:rPr lang="en-GB" sz="1200" dirty="0" err="1" smtClean="0"/>
              <a:t>votre</a:t>
            </a:r>
            <a:r>
              <a:rPr lang="en-GB" sz="1200" dirty="0" smtClean="0"/>
              <a:t> </a:t>
            </a:r>
            <a:r>
              <a:rPr lang="en-GB" sz="1200" dirty="0" err="1" smtClean="0"/>
              <a:t>entreprise</a:t>
            </a:r>
            <a:r>
              <a:rPr lang="en-GB" sz="1200" dirty="0" smtClean="0"/>
              <a:t> et à </a:t>
            </a:r>
            <a:r>
              <a:rPr lang="en-GB" sz="1200" dirty="0" err="1" smtClean="0"/>
              <a:t>vos</a:t>
            </a:r>
            <a:r>
              <a:rPr lang="en-GB" sz="1200" dirty="0" smtClean="0"/>
              <a:t> </a:t>
            </a:r>
            <a:r>
              <a:rPr lang="en-GB" sz="1200" dirty="0" err="1" smtClean="0"/>
              <a:t>salariés</a:t>
            </a:r>
            <a:r>
              <a:rPr lang="en-GB" sz="1200" dirty="0" smtClean="0"/>
              <a:t>. </a:t>
            </a:r>
          </a:p>
          <a:p>
            <a:pPr marL="0" indent="0">
              <a:buNone/>
            </a:pPr>
            <a:endParaRPr lang="en-GB" sz="1200" dirty="0"/>
          </a:p>
          <a:p>
            <a:pPr marL="0" indent="0">
              <a:buNone/>
            </a:pPr>
            <a:r>
              <a:rPr lang="en-GB" sz="1200" dirty="0" err="1" smtClean="0"/>
              <a:t>Permettez</a:t>
            </a:r>
            <a:r>
              <a:rPr lang="en-GB" sz="1200" dirty="0" smtClean="0"/>
              <a:t> </a:t>
            </a:r>
            <a:r>
              <a:rPr lang="en-GB" sz="1200" dirty="0" err="1" smtClean="0"/>
              <a:t>moi</a:t>
            </a:r>
            <a:r>
              <a:rPr lang="en-GB" sz="1200" dirty="0" smtClean="0"/>
              <a:t> tout </a:t>
            </a:r>
            <a:r>
              <a:rPr lang="en-GB" sz="1200" dirty="0" err="1" smtClean="0"/>
              <a:t>d’abord</a:t>
            </a:r>
            <a:r>
              <a:rPr lang="en-GB" sz="1200" dirty="0" smtClean="0"/>
              <a:t> de </a:t>
            </a:r>
            <a:r>
              <a:rPr lang="en-GB" sz="1200" dirty="0" err="1" smtClean="0"/>
              <a:t>vous</a:t>
            </a:r>
            <a:r>
              <a:rPr lang="en-GB" sz="1200" dirty="0" smtClean="0"/>
              <a:t> presenter le </a:t>
            </a:r>
            <a:r>
              <a:rPr lang="en-GB" sz="1200" dirty="0" err="1" smtClean="0"/>
              <a:t>groupe</a:t>
            </a:r>
            <a:r>
              <a:rPr lang="en-GB" sz="1200" dirty="0" smtClean="0"/>
              <a:t> </a:t>
            </a:r>
            <a:r>
              <a:rPr lang="en-GB" sz="1200" dirty="0" err="1" smtClean="0"/>
              <a:t>Centaure</a:t>
            </a:r>
            <a:r>
              <a:rPr lang="en-GB" sz="1200" dirty="0" smtClean="0"/>
              <a:t>: </a:t>
            </a:r>
          </a:p>
          <a:p>
            <a:pPr marL="171450" indent="-171450">
              <a:buFontTx/>
              <a:buChar char="-"/>
            </a:pPr>
            <a:r>
              <a:rPr lang="en-GB" sz="1200" dirty="0" smtClean="0"/>
              <a:t>Nous </a:t>
            </a:r>
            <a:r>
              <a:rPr lang="en-GB" sz="1200" dirty="0" err="1" smtClean="0"/>
              <a:t>sommes</a:t>
            </a:r>
            <a:r>
              <a:rPr lang="en-GB" sz="1200" dirty="0" smtClean="0"/>
              <a:t> </a:t>
            </a:r>
            <a:r>
              <a:rPr lang="en-GB" sz="1200" dirty="0" smtClean="0"/>
              <a:t>sur le </a:t>
            </a:r>
            <a:r>
              <a:rPr lang="en-GB" sz="1200" dirty="0" err="1" smtClean="0"/>
              <a:t>marché</a:t>
            </a:r>
            <a:r>
              <a:rPr lang="en-GB" sz="1200" dirty="0" smtClean="0"/>
              <a:t> </a:t>
            </a:r>
            <a:r>
              <a:rPr lang="en-GB" sz="1200" dirty="0" err="1" smtClean="0"/>
              <a:t>depuis</a:t>
            </a:r>
            <a:r>
              <a:rPr lang="en-GB" sz="1200" dirty="0" smtClean="0"/>
              <a:t> plus de 30 </a:t>
            </a:r>
            <a:r>
              <a:rPr lang="en-GB" sz="1200" dirty="0" err="1" smtClean="0"/>
              <a:t>ans</a:t>
            </a:r>
            <a:r>
              <a:rPr lang="en-GB" sz="1200" dirty="0" smtClean="0"/>
              <a:t> </a:t>
            </a:r>
            <a:r>
              <a:rPr lang="en-GB" sz="1200" dirty="0" err="1" smtClean="0"/>
              <a:t>maintenant</a:t>
            </a:r>
            <a:r>
              <a:rPr lang="en-GB" sz="1200" dirty="0" smtClean="0"/>
              <a:t>. A </a:t>
            </a:r>
            <a:r>
              <a:rPr lang="en-GB" sz="1200" dirty="0" err="1" smtClean="0"/>
              <a:t>l’origine</a:t>
            </a:r>
            <a:r>
              <a:rPr lang="en-GB" sz="1200" dirty="0" smtClean="0"/>
              <a:t>, </a:t>
            </a:r>
            <a:r>
              <a:rPr lang="en-GB" sz="1200" dirty="0" err="1" smtClean="0"/>
              <a:t>ce</a:t>
            </a:r>
            <a:r>
              <a:rPr lang="en-GB" sz="1200" dirty="0" smtClean="0"/>
              <a:t> </a:t>
            </a:r>
            <a:r>
              <a:rPr lang="en-GB" sz="1200" dirty="0" err="1" smtClean="0"/>
              <a:t>sont</a:t>
            </a:r>
            <a:r>
              <a:rPr lang="en-GB" sz="1200" dirty="0" smtClean="0"/>
              <a:t> </a:t>
            </a:r>
            <a:r>
              <a:rPr lang="en-GB" sz="1200" dirty="0" err="1" smtClean="0"/>
              <a:t>Groupama</a:t>
            </a:r>
            <a:r>
              <a:rPr lang="en-GB" sz="1200" dirty="0" smtClean="0"/>
              <a:t>, </a:t>
            </a:r>
            <a:r>
              <a:rPr lang="en-GB" sz="1200" dirty="0" err="1" smtClean="0"/>
              <a:t>l’Association</a:t>
            </a:r>
            <a:r>
              <a:rPr lang="en-GB" sz="1200" dirty="0" smtClean="0"/>
              <a:t> des </a:t>
            </a:r>
            <a:r>
              <a:rPr lang="en-GB" sz="1200" dirty="0" err="1" smtClean="0"/>
              <a:t>Sociétés</a:t>
            </a:r>
            <a:r>
              <a:rPr lang="en-GB" sz="1200" dirty="0" smtClean="0"/>
              <a:t> </a:t>
            </a:r>
            <a:r>
              <a:rPr lang="en-GB" sz="1200" dirty="0" err="1" smtClean="0"/>
              <a:t>Francaises</a:t>
            </a:r>
            <a:r>
              <a:rPr lang="en-GB" sz="1200" dirty="0" smtClean="0"/>
              <a:t> </a:t>
            </a:r>
            <a:r>
              <a:rPr lang="en-GB" sz="1200" dirty="0" err="1" smtClean="0"/>
              <a:t>d’Autoroute</a:t>
            </a:r>
            <a:r>
              <a:rPr lang="en-GB" sz="1200" dirty="0" smtClean="0"/>
              <a:t> et la </a:t>
            </a:r>
            <a:r>
              <a:rPr lang="en-GB" sz="1200" dirty="0" err="1" smtClean="0"/>
              <a:t>Caisse</a:t>
            </a:r>
            <a:r>
              <a:rPr lang="en-GB" sz="1200" dirty="0" smtClean="0"/>
              <a:t> des </a:t>
            </a:r>
            <a:r>
              <a:rPr lang="en-GB" sz="1200" dirty="0" err="1" smtClean="0"/>
              <a:t>Dépots</a:t>
            </a:r>
            <a:r>
              <a:rPr lang="en-GB" sz="1200" dirty="0" smtClean="0"/>
              <a:t> et des </a:t>
            </a:r>
            <a:r>
              <a:rPr lang="en-GB" sz="1200" dirty="0" err="1" smtClean="0"/>
              <a:t>Consignes</a:t>
            </a:r>
            <a:r>
              <a:rPr lang="en-GB" sz="1200" dirty="0" smtClean="0"/>
              <a:t> qui se </a:t>
            </a:r>
            <a:r>
              <a:rPr lang="en-GB" sz="1200" dirty="0" err="1" smtClean="0"/>
              <a:t>sont</a:t>
            </a:r>
            <a:r>
              <a:rPr lang="en-GB" sz="1200" dirty="0" smtClean="0"/>
              <a:t> </a:t>
            </a:r>
            <a:r>
              <a:rPr lang="en-GB" sz="1200" dirty="0" err="1" smtClean="0"/>
              <a:t>mis</a:t>
            </a:r>
            <a:r>
              <a:rPr lang="en-GB" sz="1200" dirty="0" smtClean="0"/>
              <a:t> ensemble pour </a:t>
            </a:r>
            <a:r>
              <a:rPr lang="en-GB" sz="1200" dirty="0" err="1" smtClean="0"/>
              <a:t>créer</a:t>
            </a:r>
            <a:r>
              <a:rPr lang="en-GB" sz="1200" dirty="0" smtClean="0"/>
              <a:t> 7 centres de </a:t>
            </a:r>
            <a:r>
              <a:rPr lang="en-GB" sz="1200" dirty="0" err="1" smtClean="0"/>
              <a:t>sécurité</a:t>
            </a:r>
            <a:r>
              <a:rPr lang="en-GB" sz="1200" dirty="0" smtClean="0"/>
              <a:t> </a:t>
            </a:r>
            <a:r>
              <a:rPr lang="en-GB" sz="1200" dirty="0" err="1" smtClean="0"/>
              <a:t>routière</a:t>
            </a:r>
            <a:r>
              <a:rPr lang="en-GB" sz="1200" dirty="0" smtClean="0"/>
              <a:t> </a:t>
            </a:r>
            <a:r>
              <a:rPr lang="en-GB" sz="1200" dirty="0" err="1" smtClean="0"/>
              <a:t>offrant</a:t>
            </a:r>
            <a:r>
              <a:rPr lang="en-GB" sz="1200" dirty="0" smtClean="0"/>
              <a:t> des stages de </a:t>
            </a:r>
            <a:r>
              <a:rPr lang="en-GB" sz="1200" dirty="0" err="1" smtClean="0"/>
              <a:t>condutie</a:t>
            </a:r>
            <a:r>
              <a:rPr lang="en-GB" sz="1200" dirty="0" smtClean="0"/>
              <a:t> sur le terrain </a:t>
            </a:r>
            <a:r>
              <a:rPr lang="en-GB" sz="1200" dirty="0" err="1" smtClean="0"/>
              <a:t>ainsi</a:t>
            </a:r>
            <a:r>
              <a:rPr lang="en-GB" sz="1200" dirty="0" smtClean="0"/>
              <a:t> que des formations </a:t>
            </a:r>
            <a:r>
              <a:rPr lang="en-GB" sz="1200" dirty="0" err="1" smtClean="0"/>
              <a:t>théoriques</a:t>
            </a:r>
            <a:r>
              <a:rPr lang="en-GB" sz="1200" dirty="0" smtClean="0"/>
              <a:t> sur les </a:t>
            </a:r>
            <a:r>
              <a:rPr lang="en-GB" sz="1200" dirty="0" err="1" smtClean="0"/>
              <a:t>risques</a:t>
            </a:r>
            <a:r>
              <a:rPr lang="en-GB" sz="1200" dirty="0" smtClean="0"/>
              <a:t> automobiles et </a:t>
            </a:r>
            <a:r>
              <a:rPr lang="en-GB" sz="1200" dirty="0" err="1" smtClean="0"/>
              <a:t>leur</a:t>
            </a:r>
            <a:r>
              <a:rPr lang="en-GB" sz="1200" dirty="0" smtClean="0"/>
              <a:t> prevention. </a:t>
            </a:r>
          </a:p>
          <a:p>
            <a:pPr marL="171450" indent="-171450">
              <a:buFontTx/>
              <a:buChar char="-"/>
            </a:pPr>
            <a:r>
              <a:rPr lang="en-GB" sz="1200" dirty="0" smtClean="0"/>
              <a:t>Nous </a:t>
            </a:r>
            <a:r>
              <a:rPr lang="en-GB" sz="1200" dirty="0" err="1" smtClean="0"/>
              <a:t>sommes</a:t>
            </a:r>
            <a:r>
              <a:rPr lang="en-GB" sz="1200" dirty="0" smtClean="0"/>
              <a:t> </a:t>
            </a:r>
            <a:r>
              <a:rPr lang="en-GB" sz="1200" dirty="0" err="1" smtClean="0"/>
              <a:t>d’ailleurs</a:t>
            </a:r>
            <a:r>
              <a:rPr lang="en-GB" sz="1200" dirty="0" smtClean="0"/>
              <a:t> les </a:t>
            </a:r>
            <a:r>
              <a:rPr lang="en-GB" sz="1200" dirty="0" err="1" smtClean="0"/>
              <a:t>seuls</a:t>
            </a:r>
            <a:r>
              <a:rPr lang="en-GB" sz="1200" dirty="0" smtClean="0"/>
              <a:t> sur le </a:t>
            </a:r>
            <a:r>
              <a:rPr lang="en-GB" sz="1200" dirty="0" err="1" smtClean="0"/>
              <a:t>marché</a:t>
            </a:r>
            <a:r>
              <a:rPr lang="en-GB" sz="1200" dirty="0" smtClean="0"/>
              <a:t> à proposer </a:t>
            </a:r>
            <a:r>
              <a:rPr lang="en-GB" sz="1200" dirty="0" err="1" smtClean="0"/>
              <a:t>cette</a:t>
            </a:r>
            <a:r>
              <a:rPr lang="en-GB" sz="1200" dirty="0" smtClean="0"/>
              <a:t> double </a:t>
            </a:r>
            <a:r>
              <a:rPr lang="en-GB" sz="1200" dirty="0" err="1" smtClean="0"/>
              <a:t>approche</a:t>
            </a:r>
            <a:r>
              <a:rPr lang="en-GB" sz="1200" dirty="0" smtClean="0"/>
              <a:t> </a:t>
            </a:r>
            <a:r>
              <a:rPr lang="en-GB" sz="1200" dirty="0" err="1" smtClean="0"/>
              <a:t>théoriqe</a:t>
            </a:r>
            <a:r>
              <a:rPr lang="en-GB" sz="1200" dirty="0" smtClean="0"/>
              <a:t> et </a:t>
            </a:r>
            <a:r>
              <a:rPr lang="en-GB" sz="1200" dirty="0" err="1" smtClean="0"/>
              <a:t>pratique</a:t>
            </a:r>
            <a:r>
              <a:rPr lang="en-GB" sz="1200" dirty="0" smtClean="0"/>
              <a:t>. </a:t>
            </a:r>
          </a:p>
          <a:p>
            <a:pPr marL="171450" indent="-171450">
              <a:buFontTx/>
              <a:buChar char="-"/>
            </a:pPr>
            <a:r>
              <a:rPr lang="en-GB" sz="1200" dirty="0" smtClean="0"/>
              <a:t>Le site Provence </a:t>
            </a:r>
            <a:r>
              <a:rPr lang="en-GB" sz="1200" dirty="0" err="1" smtClean="0"/>
              <a:t>Méditerranée</a:t>
            </a:r>
            <a:r>
              <a:rPr lang="en-GB" sz="1200" dirty="0" smtClean="0"/>
              <a:t> </a:t>
            </a:r>
            <a:r>
              <a:rPr lang="en-GB" sz="1200" dirty="0" err="1" smtClean="0"/>
              <a:t>est</a:t>
            </a:r>
            <a:r>
              <a:rPr lang="en-GB" sz="1200" dirty="0" smtClean="0"/>
              <a:t> le plus recent et a </a:t>
            </a:r>
            <a:r>
              <a:rPr lang="en-GB" sz="1200" dirty="0" err="1" smtClean="0"/>
              <a:t>bénéficié</a:t>
            </a:r>
            <a:r>
              <a:rPr lang="en-GB" sz="1200" dirty="0" smtClean="0"/>
              <a:t> </a:t>
            </a:r>
            <a:r>
              <a:rPr lang="en-GB" sz="1200" dirty="0" err="1" smtClean="0"/>
              <a:t>d’investissements</a:t>
            </a:r>
            <a:r>
              <a:rPr lang="en-GB" sz="1200" dirty="0" smtClean="0"/>
              <a:t> </a:t>
            </a:r>
            <a:r>
              <a:rPr lang="en-GB" sz="1200" dirty="0" err="1" smtClean="0"/>
              <a:t>inmportants</a:t>
            </a:r>
            <a:r>
              <a:rPr lang="en-GB" sz="1200" dirty="0" smtClean="0"/>
              <a:t> nous </a:t>
            </a:r>
            <a:r>
              <a:rPr lang="en-GB" sz="1200" dirty="0" err="1" smtClean="0"/>
              <a:t>permettant</a:t>
            </a:r>
            <a:r>
              <a:rPr lang="en-GB" sz="1200" dirty="0" smtClean="0"/>
              <a:t> </a:t>
            </a:r>
            <a:r>
              <a:rPr lang="en-GB" sz="1200" dirty="0" err="1" smtClean="0"/>
              <a:t>aujourd’hui</a:t>
            </a:r>
            <a:r>
              <a:rPr lang="en-GB" sz="1200" dirty="0" smtClean="0"/>
              <a:t> </a:t>
            </a:r>
            <a:r>
              <a:rPr lang="en-GB" sz="1200" dirty="0" err="1" smtClean="0"/>
              <a:t>d’offrir</a:t>
            </a:r>
            <a:r>
              <a:rPr lang="en-GB" sz="1200" dirty="0" smtClean="0"/>
              <a:t> un centre de formation ultra modern </a:t>
            </a:r>
            <a:r>
              <a:rPr lang="en-GB" sz="1200" dirty="0" err="1" smtClean="0"/>
              <a:t>comprenant</a:t>
            </a:r>
            <a:r>
              <a:rPr lang="en-GB" sz="1200" dirty="0" smtClean="0"/>
              <a:t> 1 circuit, 3 </a:t>
            </a:r>
            <a:r>
              <a:rPr lang="en-GB" sz="1200" dirty="0" err="1" smtClean="0"/>
              <a:t>salles</a:t>
            </a:r>
            <a:r>
              <a:rPr lang="en-GB" sz="1200" dirty="0" smtClean="0"/>
              <a:t> de </a:t>
            </a:r>
            <a:r>
              <a:rPr lang="en-GB" sz="1200" dirty="0" err="1" smtClean="0"/>
              <a:t>cours</a:t>
            </a:r>
            <a:r>
              <a:rPr lang="en-GB" sz="1200" dirty="0" smtClean="0"/>
              <a:t>, 1 atelier de </a:t>
            </a:r>
            <a:r>
              <a:rPr lang="en-GB" sz="1200" dirty="0" err="1" smtClean="0"/>
              <a:t>controle</a:t>
            </a:r>
            <a:r>
              <a:rPr lang="en-GB" sz="1200" dirty="0" smtClean="0"/>
              <a:t> et 16 </a:t>
            </a:r>
            <a:r>
              <a:rPr lang="en-GB" sz="1200" dirty="0" err="1" smtClean="0"/>
              <a:t>véhicules</a:t>
            </a:r>
            <a:endParaRPr lang="en-GB" sz="1200" dirty="0" smtClean="0"/>
          </a:p>
          <a:p>
            <a:pPr marL="171450" indent="-171450">
              <a:buFontTx/>
              <a:buChar char="-"/>
            </a:pPr>
            <a:endParaRPr lang="en-GB" sz="1200" dirty="0"/>
          </a:p>
          <a:p>
            <a:pPr marL="0" indent="0">
              <a:buNone/>
            </a:pPr>
            <a:r>
              <a:rPr lang="en-GB" sz="1200" dirty="0" smtClean="0"/>
              <a:t>Je </a:t>
            </a:r>
            <a:r>
              <a:rPr lang="en-GB" sz="1200" dirty="0" err="1" smtClean="0"/>
              <a:t>vais</a:t>
            </a:r>
            <a:r>
              <a:rPr lang="en-GB" sz="1200" dirty="0" smtClean="0"/>
              <a:t> </a:t>
            </a:r>
            <a:r>
              <a:rPr lang="en-GB" sz="1200" dirty="0" err="1" smtClean="0"/>
              <a:t>également</a:t>
            </a:r>
            <a:r>
              <a:rPr lang="en-GB" sz="1200" dirty="0" smtClean="0"/>
              <a:t> me presenter </a:t>
            </a:r>
            <a:r>
              <a:rPr lang="en-GB" sz="1200" dirty="0" err="1" smtClean="0"/>
              <a:t>brièvement</a:t>
            </a:r>
            <a:r>
              <a:rPr lang="en-GB" sz="1200" dirty="0" smtClean="0"/>
              <a:t>. </a:t>
            </a:r>
          </a:p>
          <a:p>
            <a:pPr marL="0" indent="0">
              <a:buNone/>
            </a:pPr>
            <a:r>
              <a:rPr lang="en-GB" sz="1200" dirty="0" smtClean="0"/>
              <a:t>Je </a:t>
            </a:r>
            <a:r>
              <a:rPr lang="en-GB" sz="1200" dirty="0" err="1" smtClean="0"/>
              <a:t>suis</a:t>
            </a:r>
            <a:r>
              <a:rPr lang="en-GB" sz="1200" dirty="0" smtClean="0"/>
              <a:t> chargé des relations </a:t>
            </a:r>
            <a:r>
              <a:rPr lang="en-GB" sz="1200" dirty="0" err="1" smtClean="0"/>
              <a:t>entreprises</a:t>
            </a:r>
            <a:r>
              <a:rPr lang="en-GB" sz="1200" dirty="0" smtClean="0"/>
              <a:t> au sein de la </a:t>
            </a:r>
            <a:r>
              <a:rPr lang="en-GB" sz="1200" dirty="0" smtClean="0"/>
              <a:t>CPM. Mon role </a:t>
            </a:r>
            <a:r>
              <a:rPr lang="en-GB" sz="1200" dirty="0" err="1" smtClean="0"/>
              <a:t>est</a:t>
            </a:r>
            <a:r>
              <a:rPr lang="en-GB" sz="1200" dirty="0" smtClean="0"/>
              <a:t> </a:t>
            </a:r>
            <a:r>
              <a:rPr lang="en-GB" sz="1200" dirty="0" err="1" smtClean="0"/>
              <a:t>donc</a:t>
            </a:r>
            <a:r>
              <a:rPr lang="en-GB" sz="1200" dirty="0" smtClean="0"/>
              <a:t> </a:t>
            </a:r>
            <a:r>
              <a:rPr lang="en-GB" sz="1200" dirty="0" err="1" smtClean="0"/>
              <a:t>d’accompagner</a:t>
            </a:r>
            <a:r>
              <a:rPr lang="en-GB" sz="1200" dirty="0" smtClean="0"/>
              <a:t> les </a:t>
            </a:r>
            <a:r>
              <a:rPr lang="en-GB" sz="1200" dirty="0" err="1" smtClean="0"/>
              <a:t>entreprises</a:t>
            </a:r>
            <a:r>
              <a:rPr lang="en-GB" sz="1200" dirty="0" smtClean="0"/>
              <a:t> </a:t>
            </a:r>
            <a:r>
              <a:rPr lang="en-GB" sz="1200" dirty="0" err="1" smtClean="0"/>
              <a:t>dans</a:t>
            </a:r>
            <a:r>
              <a:rPr lang="en-GB" sz="1200" dirty="0" smtClean="0"/>
              <a:t> </a:t>
            </a:r>
            <a:r>
              <a:rPr lang="en-GB" sz="1200" dirty="0" err="1" smtClean="0"/>
              <a:t>leur</a:t>
            </a:r>
            <a:r>
              <a:rPr lang="en-GB" sz="1200" dirty="0" smtClean="0"/>
              <a:t> demarche de </a:t>
            </a:r>
            <a:r>
              <a:rPr lang="en-GB" sz="1200" dirty="0" err="1" smtClean="0"/>
              <a:t>mise</a:t>
            </a:r>
            <a:r>
              <a:rPr lang="en-GB" sz="1200" dirty="0" smtClean="0"/>
              <a:t> </a:t>
            </a:r>
            <a:r>
              <a:rPr lang="en-GB" sz="1200" dirty="0" err="1" smtClean="0"/>
              <a:t>en</a:t>
            </a:r>
            <a:r>
              <a:rPr lang="en-GB" sz="1200" dirty="0" smtClean="0"/>
              <a:t> place de formation </a:t>
            </a:r>
            <a:r>
              <a:rPr lang="en-GB" sz="1200" dirty="0" err="1" smtClean="0"/>
              <a:t>contre</a:t>
            </a:r>
            <a:r>
              <a:rPr lang="en-GB" sz="1200" dirty="0" smtClean="0"/>
              <a:t> les </a:t>
            </a:r>
            <a:r>
              <a:rPr lang="en-GB" sz="1200" dirty="0" err="1" smtClean="0"/>
              <a:t>risques</a:t>
            </a:r>
            <a:r>
              <a:rPr lang="en-GB" sz="1200" dirty="0" smtClean="0"/>
              <a:t> automobiles. </a:t>
            </a:r>
            <a:r>
              <a:rPr lang="en-GB" sz="1200" dirty="0" err="1" smtClean="0"/>
              <a:t>J’interagis</a:t>
            </a:r>
            <a:r>
              <a:rPr lang="en-GB" sz="1200" dirty="0" smtClean="0"/>
              <a:t> le plus </a:t>
            </a:r>
            <a:r>
              <a:rPr lang="en-GB" sz="1200" dirty="0" err="1" smtClean="0"/>
              <a:t>souvent</a:t>
            </a:r>
            <a:r>
              <a:rPr lang="en-GB" sz="1200" dirty="0" smtClean="0"/>
              <a:t> avec des </a:t>
            </a:r>
            <a:r>
              <a:rPr lang="en-GB" sz="1200" dirty="0" err="1" smtClean="0"/>
              <a:t>responsables</a:t>
            </a:r>
            <a:r>
              <a:rPr lang="en-GB" sz="1200" dirty="0" smtClean="0"/>
              <a:t> de </a:t>
            </a:r>
            <a:r>
              <a:rPr lang="en-GB" sz="1200" dirty="0" err="1" smtClean="0"/>
              <a:t>gestion</a:t>
            </a:r>
            <a:r>
              <a:rPr lang="en-GB" sz="1200" dirty="0" smtClean="0"/>
              <a:t> de </a:t>
            </a:r>
            <a:r>
              <a:rPr lang="en-GB" sz="1200" dirty="0" err="1" smtClean="0"/>
              <a:t>parc</a:t>
            </a:r>
            <a:r>
              <a:rPr lang="en-GB" sz="1200" dirty="0" smtClean="0"/>
              <a:t> </a:t>
            </a:r>
            <a:r>
              <a:rPr lang="en-GB" sz="1200" dirty="0" err="1" smtClean="0"/>
              <a:t>ou</a:t>
            </a:r>
            <a:r>
              <a:rPr lang="en-GB" sz="1200" dirty="0" smtClean="0"/>
              <a:t> de formation pour </a:t>
            </a:r>
            <a:r>
              <a:rPr lang="en-GB" sz="1200" dirty="0" err="1" smtClean="0"/>
              <a:t>élaborer</a:t>
            </a:r>
            <a:r>
              <a:rPr lang="en-GB" sz="1200" dirty="0" smtClean="0"/>
              <a:t> </a:t>
            </a:r>
            <a:r>
              <a:rPr lang="en-GB" sz="1200" dirty="0" smtClean="0"/>
              <a:t>ensemble </a:t>
            </a:r>
            <a:r>
              <a:rPr lang="en-GB" sz="1200" dirty="0" smtClean="0"/>
              <a:t>des </a:t>
            </a:r>
            <a:r>
              <a:rPr lang="en-GB" sz="1200" dirty="0" smtClean="0"/>
              <a:t>plans </a:t>
            </a:r>
            <a:r>
              <a:rPr lang="en-GB" sz="1200" dirty="0" smtClean="0"/>
              <a:t>de formations </a:t>
            </a:r>
            <a:r>
              <a:rPr lang="en-GB" sz="1200" dirty="0" err="1" smtClean="0"/>
              <a:t>adaptés</a:t>
            </a:r>
            <a:r>
              <a:rPr lang="en-GB" sz="1200" dirty="0" smtClean="0"/>
              <a:t> à </a:t>
            </a:r>
            <a:r>
              <a:rPr lang="en-GB" sz="1200" dirty="0" err="1" smtClean="0"/>
              <a:t>leurs</a:t>
            </a:r>
            <a:r>
              <a:rPr lang="en-GB" sz="1200" dirty="0" smtClean="0"/>
              <a:t> </a:t>
            </a:r>
            <a:r>
              <a:rPr lang="en-GB" sz="1200" dirty="0" err="1" smtClean="0"/>
              <a:t>besoins</a:t>
            </a:r>
            <a:r>
              <a:rPr lang="en-GB" sz="1200" dirty="0" smtClean="0"/>
              <a:t>. </a:t>
            </a:r>
          </a:p>
          <a:p>
            <a:pPr marL="0" indent="0">
              <a:buNone/>
            </a:pPr>
            <a:r>
              <a:rPr lang="en-GB" sz="1200" dirty="0" err="1" smtClean="0"/>
              <a:t>J’ai</a:t>
            </a:r>
            <a:r>
              <a:rPr lang="en-GB" sz="1200" dirty="0" smtClean="0"/>
              <a:t> </a:t>
            </a:r>
            <a:r>
              <a:rPr lang="en-GB" sz="1200" dirty="0" err="1" smtClean="0"/>
              <a:t>notamment</a:t>
            </a:r>
            <a:r>
              <a:rPr lang="en-GB" sz="1200" dirty="0" smtClean="0"/>
              <a:t> </a:t>
            </a:r>
            <a:r>
              <a:rPr lang="en-GB" sz="1200" dirty="0" err="1" smtClean="0"/>
              <a:t>travaillé</a:t>
            </a:r>
            <a:r>
              <a:rPr lang="en-GB" sz="1200" dirty="0" smtClean="0"/>
              <a:t> sur des </a:t>
            </a:r>
            <a:r>
              <a:rPr lang="en-GB" sz="1200" dirty="0" err="1" smtClean="0"/>
              <a:t>projets</a:t>
            </a:r>
            <a:r>
              <a:rPr lang="en-GB" sz="1200" dirty="0" smtClean="0"/>
              <a:t> avec de grands </a:t>
            </a:r>
            <a:r>
              <a:rPr lang="en-GB" sz="1200" dirty="0" err="1" smtClean="0"/>
              <a:t>groupes</a:t>
            </a:r>
            <a:r>
              <a:rPr lang="en-GB" sz="1200" dirty="0" smtClean="0"/>
              <a:t> </a:t>
            </a:r>
            <a:r>
              <a:rPr lang="en-GB" sz="1200" dirty="0" err="1" smtClean="0"/>
              <a:t>tels</a:t>
            </a:r>
            <a:r>
              <a:rPr lang="en-GB" sz="1200" dirty="0" smtClean="0"/>
              <a:t> que Total, France </a:t>
            </a:r>
            <a:r>
              <a:rPr lang="en-GB" sz="1200" dirty="0" err="1" smtClean="0"/>
              <a:t>Télécom</a:t>
            </a:r>
            <a:r>
              <a:rPr lang="en-GB" sz="1200" dirty="0"/>
              <a:t> </a:t>
            </a:r>
            <a:r>
              <a:rPr lang="en-GB" sz="1200" dirty="0" smtClean="0"/>
              <a:t>et </a:t>
            </a:r>
            <a:r>
              <a:rPr lang="en-GB" sz="1200" dirty="0" err="1" smtClean="0"/>
              <a:t>d’autres</a:t>
            </a:r>
            <a:r>
              <a:rPr lang="en-GB" sz="1200" dirty="0" smtClean="0"/>
              <a:t>. </a:t>
            </a:r>
            <a:r>
              <a:rPr lang="en-GB" sz="1200" dirty="0" err="1" smtClean="0"/>
              <a:t>Mais</a:t>
            </a:r>
            <a:r>
              <a:rPr lang="en-GB" sz="1200" dirty="0" smtClean="0"/>
              <a:t> je </a:t>
            </a:r>
            <a:r>
              <a:rPr lang="en-GB" sz="1200" dirty="0" err="1" smtClean="0"/>
              <a:t>suis</a:t>
            </a:r>
            <a:r>
              <a:rPr lang="en-GB" sz="1200" dirty="0" smtClean="0"/>
              <a:t> </a:t>
            </a:r>
            <a:r>
              <a:rPr lang="en-GB" sz="1200" dirty="0" err="1" smtClean="0"/>
              <a:t>également</a:t>
            </a:r>
            <a:r>
              <a:rPr lang="en-GB" sz="1200" dirty="0" smtClean="0"/>
              <a:t> </a:t>
            </a:r>
            <a:r>
              <a:rPr lang="en-GB" sz="1200" dirty="0" err="1" smtClean="0"/>
              <a:t>amené</a:t>
            </a:r>
            <a:r>
              <a:rPr lang="en-GB" sz="1200" dirty="0" smtClean="0"/>
              <a:t> à </a:t>
            </a:r>
            <a:r>
              <a:rPr lang="en-GB" sz="1200" dirty="0" err="1" smtClean="0"/>
              <a:t>intervenir</a:t>
            </a:r>
            <a:r>
              <a:rPr lang="en-GB" sz="1200" dirty="0" smtClean="0"/>
              <a:t> sur de plus petites structures </a:t>
            </a:r>
            <a:r>
              <a:rPr lang="en-GB" sz="1200" dirty="0" err="1" smtClean="0"/>
              <a:t>où</a:t>
            </a:r>
            <a:r>
              <a:rPr lang="en-GB" sz="1200" dirty="0" smtClean="0"/>
              <a:t> je </a:t>
            </a:r>
            <a:r>
              <a:rPr lang="en-GB" sz="1200" dirty="0" err="1" smtClean="0"/>
              <a:t>suis</a:t>
            </a:r>
            <a:r>
              <a:rPr lang="en-GB" sz="1200" dirty="0" smtClean="0"/>
              <a:t> </a:t>
            </a:r>
            <a:r>
              <a:rPr lang="en-GB" sz="1200" dirty="0" err="1" smtClean="0"/>
              <a:t>en</a:t>
            </a:r>
            <a:r>
              <a:rPr lang="en-GB" sz="1200" dirty="0" smtClean="0"/>
              <a:t> relation </a:t>
            </a:r>
            <a:r>
              <a:rPr lang="en-GB" sz="1200" dirty="0" err="1" smtClean="0"/>
              <a:t>directe</a:t>
            </a:r>
            <a:r>
              <a:rPr lang="en-GB" sz="1200" dirty="0" smtClean="0"/>
              <a:t> avec le chef </a:t>
            </a:r>
            <a:r>
              <a:rPr lang="en-GB" sz="1200" dirty="0" err="1" smtClean="0"/>
              <a:t>d’entreprise</a:t>
            </a:r>
            <a:r>
              <a:rPr lang="en-GB" sz="1200" dirty="0" smtClean="0"/>
              <a:t>. </a:t>
            </a:r>
          </a:p>
          <a:p>
            <a:pPr marL="0" indent="0">
              <a:buNone/>
            </a:pPr>
            <a:endParaRPr lang="en-GB" sz="1200" dirty="0"/>
          </a:p>
          <a:p>
            <a:pPr marL="0" indent="0">
              <a:buNone/>
            </a:pPr>
            <a:r>
              <a:rPr lang="en-GB" sz="1200" dirty="0" smtClean="0"/>
              <a:t>Je </a:t>
            </a:r>
            <a:r>
              <a:rPr lang="en-GB" sz="1200" dirty="0" err="1" smtClean="0"/>
              <a:t>vous</a:t>
            </a:r>
            <a:r>
              <a:rPr lang="en-GB" sz="1200" dirty="0" smtClean="0"/>
              <a:t> propose </a:t>
            </a:r>
            <a:r>
              <a:rPr lang="en-GB" sz="1200" dirty="0" err="1" smtClean="0"/>
              <a:t>donc</a:t>
            </a:r>
            <a:r>
              <a:rPr lang="en-GB" sz="1200" dirty="0" smtClean="0"/>
              <a:t> </a:t>
            </a:r>
            <a:r>
              <a:rPr lang="en-GB" sz="1200" dirty="0" err="1" smtClean="0"/>
              <a:t>dans</a:t>
            </a:r>
            <a:r>
              <a:rPr lang="en-GB" sz="1200" dirty="0" smtClean="0"/>
              <a:t> </a:t>
            </a:r>
            <a:r>
              <a:rPr lang="en-GB" sz="1200" dirty="0" err="1" smtClean="0"/>
              <a:t>l’heure</a:t>
            </a:r>
            <a:r>
              <a:rPr lang="en-GB" sz="1200" dirty="0" smtClean="0"/>
              <a:t> que nous </a:t>
            </a:r>
            <a:r>
              <a:rPr lang="en-GB" sz="1200" dirty="0" err="1" smtClean="0"/>
              <a:t>avons</a:t>
            </a:r>
            <a:r>
              <a:rPr lang="en-GB" sz="1200" dirty="0" smtClean="0"/>
              <a:t> </a:t>
            </a:r>
            <a:r>
              <a:rPr lang="en-GB" sz="1200" dirty="0" err="1" smtClean="0"/>
              <a:t>devant</a:t>
            </a:r>
            <a:r>
              <a:rPr lang="en-GB" sz="1200" dirty="0" smtClean="0"/>
              <a:t> nous </a:t>
            </a:r>
            <a:r>
              <a:rPr lang="en-GB" sz="1200" dirty="0" err="1" smtClean="0"/>
              <a:t>qu’on</a:t>
            </a:r>
            <a:r>
              <a:rPr lang="en-GB" sz="1200" dirty="0" smtClean="0"/>
              <a:t> commence par </a:t>
            </a:r>
            <a:r>
              <a:rPr lang="en-GB" sz="1200" dirty="0" err="1" smtClean="0"/>
              <a:t>établir</a:t>
            </a:r>
            <a:r>
              <a:rPr lang="en-GB" sz="1200" dirty="0" smtClean="0"/>
              <a:t> un diagnostic  des </a:t>
            </a:r>
            <a:r>
              <a:rPr lang="en-GB" sz="1200" dirty="0" err="1" smtClean="0"/>
              <a:t>risques</a:t>
            </a:r>
            <a:r>
              <a:rPr lang="en-GB" sz="1200" dirty="0" smtClean="0"/>
              <a:t> et </a:t>
            </a:r>
            <a:r>
              <a:rPr lang="en-GB" sz="1200" dirty="0" err="1" smtClean="0"/>
              <a:t>éventuels</a:t>
            </a:r>
            <a:r>
              <a:rPr lang="en-GB" sz="1200" dirty="0" smtClean="0"/>
              <a:t> </a:t>
            </a:r>
            <a:r>
              <a:rPr lang="en-GB" sz="1200" dirty="0" err="1" smtClean="0"/>
              <a:t>sinistres</a:t>
            </a:r>
            <a:r>
              <a:rPr lang="en-GB" sz="1200" dirty="0" smtClean="0"/>
              <a:t> automobiles au sein de </a:t>
            </a:r>
            <a:r>
              <a:rPr lang="en-GB" sz="1200" dirty="0" err="1" smtClean="0"/>
              <a:t>bvotre</a:t>
            </a:r>
            <a:r>
              <a:rPr lang="en-GB" sz="1200" dirty="0" smtClean="0"/>
              <a:t> enterprise. On </a:t>
            </a:r>
            <a:r>
              <a:rPr lang="en-GB" sz="1200" dirty="0" err="1" smtClean="0"/>
              <a:t>pourra</a:t>
            </a:r>
            <a:r>
              <a:rPr lang="en-GB" sz="1200" dirty="0" smtClean="0"/>
              <a:t> </a:t>
            </a:r>
            <a:r>
              <a:rPr lang="en-GB" sz="1200" dirty="0" err="1" smtClean="0"/>
              <a:t>ensuite</a:t>
            </a:r>
            <a:r>
              <a:rPr lang="en-GB" sz="1200" dirty="0" smtClean="0"/>
              <a:t> </a:t>
            </a:r>
            <a:r>
              <a:rPr lang="en-GB" sz="1200" dirty="0" err="1" smtClean="0"/>
              <a:t>voir</a:t>
            </a:r>
            <a:r>
              <a:rPr lang="en-GB" sz="1200" dirty="0" smtClean="0"/>
              <a:t> ensemble </a:t>
            </a:r>
            <a:r>
              <a:rPr lang="en-GB" sz="1200" dirty="0" err="1" smtClean="0"/>
              <a:t>ce</a:t>
            </a:r>
            <a:r>
              <a:rPr lang="en-GB" sz="1200" dirty="0" smtClean="0"/>
              <a:t> qui </a:t>
            </a:r>
            <a:r>
              <a:rPr lang="en-GB" sz="1200" dirty="0" err="1" smtClean="0"/>
              <a:t>pourrait</a:t>
            </a:r>
            <a:r>
              <a:rPr lang="en-GB" sz="1200" dirty="0" smtClean="0"/>
              <a:t> </a:t>
            </a:r>
            <a:r>
              <a:rPr lang="en-GB" sz="1200" dirty="0" err="1" smtClean="0"/>
              <a:t>éventuellement</a:t>
            </a:r>
            <a:r>
              <a:rPr lang="en-GB" sz="1200" dirty="0" smtClean="0"/>
              <a:t> </a:t>
            </a:r>
            <a:r>
              <a:rPr lang="en-GB" sz="1200" dirty="0" err="1" smtClean="0"/>
              <a:t>vous</a:t>
            </a:r>
            <a:r>
              <a:rPr lang="en-GB" sz="1200" dirty="0" smtClean="0"/>
              <a:t> </a:t>
            </a:r>
            <a:r>
              <a:rPr lang="en-GB" sz="1200" dirty="0" err="1" smtClean="0"/>
              <a:t>interesser</a:t>
            </a:r>
            <a:r>
              <a:rPr lang="en-GB" sz="1200" dirty="0" smtClean="0"/>
              <a:t>. </a:t>
            </a:r>
          </a:p>
          <a:p>
            <a:pPr marL="0" indent="0">
              <a:buNone/>
            </a:pPr>
            <a:endParaRPr lang="en-GB" sz="12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rise de contac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44615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GB" sz="1200" dirty="0" err="1" smtClean="0"/>
              <a:t>Lorsque</a:t>
            </a:r>
            <a:r>
              <a:rPr lang="en-GB" sz="1200" dirty="0" smtClean="0"/>
              <a:t> nous </a:t>
            </a:r>
            <a:r>
              <a:rPr lang="en-GB" sz="1200" dirty="0" err="1" smtClean="0"/>
              <a:t>nous</a:t>
            </a:r>
            <a:r>
              <a:rPr lang="en-GB" sz="1200" dirty="0" smtClean="0"/>
              <a:t> </a:t>
            </a:r>
            <a:r>
              <a:rPr lang="en-GB" sz="1200" dirty="0" err="1" smtClean="0"/>
              <a:t>étions</a:t>
            </a:r>
            <a:r>
              <a:rPr lang="en-GB" sz="1200" dirty="0" smtClean="0"/>
              <a:t> </a:t>
            </a:r>
            <a:r>
              <a:rPr lang="en-GB" sz="1200" dirty="0" err="1" smtClean="0"/>
              <a:t>parlé</a:t>
            </a:r>
            <a:r>
              <a:rPr lang="en-GB" sz="1200" dirty="0" smtClean="0"/>
              <a:t> au telephone, </a:t>
            </a:r>
            <a:r>
              <a:rPr lang="en-GB" sz="1200" dirty="0" err="1" smtClean="0"/>
              <a:t>vous</a:t>
            </a:r>
            <a:r>
              <a:rPr lang="en-GB" sz="1200" dirty="0" smtClean="0"/>
              <a:t> me </a:t>
            </a:r>
            <a:r>
              <a:rPr lang="en-GB" sz="1200" dirty="0" err="1" smtClean="0"/>
              <a:t>parliez</a:t>
            </a:r>
            <a:r>
              <a:rPr lang="en-GB" sz="1200" dirty="0" smtClean="0"/>
              <a:t> d’un </a:t>
            </a:r>
            <a:r>
              <a:rPr lang="en-GB" sz="1200" dirty="0" err="1" smtClean="0"/>
              <a:t>taux</a:t>
            </a:r>
            <a:r>
              <a:rPr lang="en-GB" sz="1200" dirty="0" smtClean="0"/>
              <a:t> de </a:t>
            </a:r>
            <a:r>
              <a:rPr lang="en-GB" sz="1200" dirty="0" err="1" smtClean="0"/>
              <a:t>sinistre</a:t>
            </a:r>
            <a:r>
              <a:rPr lang="en-GB" sz="1200" dirty="0" smtClean="0"/>
              <a:t> </a:t>
            </a:r>
            <a:r>
              <a:rPr lang="en-GB" sz="1200" dirty="0" err="1" smtClean="0"/>
              <a:t>assez</a:t>
            </a:r>
            <a:r>
              <a:rPr lang="en-GB" sz="1200" dirty="0" smtClean="0"/>
              <a:t> </a:t>
            </a:r>
            <a:r>
              <a:rPr lang="en-GB" sz="1200" dirty="0" err="1" smtClean="0"/>
              <a:t>élevé</a:t>
            </a:r>
            <a:r>
              <a:rPr lang="en-GB" sz="1200" dirty="0"/>
              <a:t> </a:t>
            </a:r>
            <a:r>
              <a:rPr lang="en-GB" sz="1200" dirty="0" smtClean="0"/>
              <a:t>(1.3), </a:t>
            </a:r>
            <a:r>
              <a:rPr lang="en-GB" sz="1200" dirty="0" err="1" smtClean="0"/>
              <a:t>sauriez-vous</a:t>
            </a:r>
            <a:r>
              <a:rPr lang="en-GB" sz="1200" dirty="0" smtClean="0"/>
              <a:t> </a:t>
            </a:r>
            <a:r>
              <a:rPr lang="en-GB" sz="1200" dirty="0" err="1" smtClean="0"/>
              <a:t>expliquer</a:t>
            </a:r>
            <a:r>
              <a:rPr lang="en-GB" sz="1200" dirty="0" smtClean="0"/>
              <a:t> </a:t>
            </a:r>
            <a:r>
              <a:rPr lang="en-GB" sz="1200" dirty="0" err="1" smtClean="0"/>
              <a:t>pourquoi</a:t>
            </a:r>
            <a:r>
              <a:rPr lang="en-GB" sz="1200" dirty="0" smtClean="0"/>
              <a:t> ? </a:t>
            </a:r>
          </a:p>
          <a:p>
            <a:r>
              <a:rPr lang="en-GB" sz="1200" dirty="0" err="1" smtClean="0"/>
              <a:t>Vous</a:t>
            </a:r>
            <a:r>
              <a:rPr lang="en-GB" sz="1200" dirty="0" smtClean="0"/>
              <a:t> </a:t>
            </a:r>
            <a:r>
              <a:rPr lang="en-GB" sz="1200" dirty="0" err="1" smtClean="0"/>
              <a:t>pensez</a:t>
            </a:r>
            <a:r>
              <a:rPr lang="en-GB" sz="1200" dirty="0" smtClean="0"/>
              <a:t> que </a:t>
            </a:r>
            <a:r>
              <a:rPr lang="en-GB" sz="1200" dirty="0" err="1" smtClean="0"/>
              <a:t>cela</a:t>
            </a:r>
            <a:r>
              <a:rPr lang="en-GB" sz="1200" dirty="0" smtClean="0"/>
              <a:t> </a:t>
            </a:r>
            <a:r>
              <a:rPr lang="en-GB" sz="1200" dirty="0" err="1" smtClean="0"/>
              <a:t>est</a:t>
            </a:r>
            <a:r>
              <a:rPr lang="en-GB" sz="1200" dirty="0" smtClean="0"/>
              <a:t> </a:t>
            </a:r>
            <a:r>
              <a:rPr lang="en-GB" sz="1200" dirty="0" err="1" smtClean="0"/>
              <a:t>plutot</a:t>
            </a:r>
            <a:r>
              <a:rPr lang="en-GB" sz="1200" dirty="0" smtClean="0"/>
              <a:t> du à un </a:t>
            </a:r>
            <a:r>
              <a:rPr lang="en-GB" sz="1200" dirty="0" err="1" smtClean="0"/>
              <a:t>manque</a:t>
            </a:r>
            <a:r>
              <a:rPr lang="en-GB" sz="1200" dirty="0" smtClean="0"/>
              <a:t> de </a:t>
            </a:r>
            <a:r>
              <a:rPr lang="en-GB" sz="1200" dirty="0" err="1" smtClean="0"/>
              <a:t>connaissances</a:t>
            </a:r>
            <a:r>
              <a:rPr lang="en-GB" sz="1200" dirty="0" smtClean="0"/>
              <a:t> </a:t>
            </a:r>
            <a:r>
              <a:rPr lang="en-GB" sz="1200" dirty="0" err="1" smtClean="0"/>
              <a:t>théoriques</a:t>
            </a:r>
            <a:r>
              <a:rPr lang="en-GB" sz="1200" dirty="0" smtClean="0"/>
              <a:t> </a:t>
            </a:r>
            <a:r>
              <a:rPr lang="en-GB" sz="1200" dirty="0" err="1" smtClean="0"/>
              <a:t>ou</a:t>
            </a:r>
            <a:r>
              <a:rPr lang="en-GB" sz="1200" dirty="0" smtClean="0"/>
              <a:t> </a:t>
            </a:r>
            <a:r>
              <a:rPr lang="en-GB" sz="1200" dirty="0" err="1" smtClean="0"/>
              <a:t>plutôt</a:t>
            </a:r>
            <a:r>
              <a:rPr lang="en-GB" sz="1200" dirty="0" smtClean="0"/>
              <a:t> à </a:t>
            </a:r>
            <a:r>
              <a:rPr lang="en-GB" sz="1200" dirty="0" err="1" smtClean="0"/>
              <a:t>une</a:t>
            </a:r>
            <a:r>
              <a:rPr lang="en-GB" sz="1200" dirty="0" smtClean="0"/>
              <a:t> </a:t>
            </a:r>
            <a:r>
              <a:rPr lang="en-GB" sz="1200" dirty="0" err="1" smtClean="0"/>
              <a:t>conduite</a:t>
            </a:r>
            <a:r>
              <a:rPr lang="en-GB" sz="1200" dirty="0" smtClean="0"/>
              <a:t> </a:t>
            </a:r>
            <a:r>
              <a:rPr lang="en-GB" sz="1200" dirty="0" err="1" smtClean="0"/>
              <a:t>dangereuse</a:t>
            </a:r>
            <a:r>
              <a:rPr lang="en-GB" sz="1200" dirty="0" smtClean="0"/>
              <a:t> ? </a:t>
            </a:r>
            <a:r>
              <a:rPr lang="en-GB" sz="1200" dirty="0" err="1" smtClean="0"/>
              <a:t>Ou</a:t>
            </a:r>
            <a:r>
              <a:rPr lang="en-GB" sz="1200" dirty="0" smtClean="0"/>
              <a:t> </a:t>
            </a:r>
            <a:r>
              <a:rPr lang="en-GB" sz="1200" dirty="0" err="1" smtClean="0"/>
              <a:t>peut-être</a:t>
            </a:r>
            <a:r>
              <a:rPr lang="en-GB" sz="1200" dirty="0" smtClean="0"/>
              <a:t> les </a:t>
            </a:r>
            <a:r>
              <a:rPr lang="en-GB" sz="1200" dirty="0" err="1" smtClean="0"/>
              <a:t>deux</a:t>
            </a:r>
            <a:endParaRPr lang="en-GB" sz="1200" dirty="0" smtClean="0"/>
          </a:p>
          <a:p>
            <a:r>
              <a:rPr lang="en-GB" sz="1200" dirty="0" err="1" smtClean="0"/>
              <a:t>Selon</a:t>
            </a:r>
            <a:r>
              <a:rPr lang="en-GB" sz="1200" dirty="0" smtClean="0"/>
              <a:t> </a:t>
            </a:r>
            <a:r>
              <a:rPr lang="en-GB" sz="1200" dirty="0" err="1" smtClean="0"/>
              <a:t>vous</a:t>
            </a:r>
            <a:r>
              <a:rPr lang="en-GB" sz="1200" dirty="0" smtClean="0"/>
              <a:t>, </a:t>
            </a:r>
            <a:r>
              <a:rPr lang="en-GB" sz="1200" dirty="0" err="1" smtClean="0"/>
              <a:t>quelle</a:t>
            </a:r>
            <a:r>
              <a:rPr lang="en-GB" sz="1200" dirty="0" smtClean="0"/>
              <a:t> </a:t>
            </a:r>
            <a:r>
              <a:rPr lang="en-GB" sz="1200" dirty="0" err="1" smtClean="0"/>
              <a:t>serait</a:t>
            </a:r>
            <a:r>
              <a:rPr lang="en-GB" sz="1200" dirty="0" smtClean="0"/>
              <a:t> la </a:t>
            </a:r>
            <a:r>
              <a:rPr lang="en-GB" sz="1200" dirty="0" err="1" smtClean="0"/>
              <a:t>meilleure</a:t>
            </a:r>
            <a:r>
              <a:rPr lang="en-GB" sz="1200" dirty="0" smtClean="0"/>
              <a:t> </a:t>
            </a:r>
            <a:r>
              <a:rPr lang="en-GB" sz="1200" dirty="0" err="1" smtClean="0"/>
              <a:t>facon</a:t>
            </a:r>
            <a:r>
              <a:rPr lang="en-GB" sz="1200" dirty="0" smtClean="0"/>
              <a:t> de </a:t>
            </a:r>
            <a:r>
              <a:rPr lang="en-GB" sz="1200" dirty="0" err="1" smtClean="0"/>
              <a:t>baisser</a:t>
            </a:r>
            <a:r>
              <a:rPr lang="en-GB" sz="1200" dirty="0" smtClean="0"/>
              <a:t> </a:t>
            </a:r>
            <a:r>
              <a:rPr lang="en-GB" sz="1200" dirty="0" err="1" smtClean="0"/>
              <a:t>ce</a:t>
            </a:r>
            <a:r>
              <a:rPr lang="en-GB" sz="1200" dirty="0" smtClean="0"/>
              <a:t> </a:t>
            </a:r>
            <a:r>
              <a:rPr lang="en-GB" sz="1200" dirty="0" err="1" smtClean="0"/>
              <a:t>taux</a:t>
            </a:r>
            <a:r>
              <a:rPr lang="en-GB" sz="1200" dirty="0" smtClean="0"/>
              <a:t> de </a:t>
            </a:r>
            <a:r>
              <a:rPr lang="en-GB" sz="1200" dirty="0" err="1" smtClean="0"/>
              <a:t>sinistre</a:t>
            </a:r>
            <a:r>
              <a:rPr lang="en-GB" sz="1200" dirty="0" smtClean="0"/>
              <a:t> au sein de </a:t>
            </a:r>
            <a:r>
              <a:rPr lang="en-GB" sz="1200" dirty="0" err="1" smtClean="0"/>
              <a:t>votre</a:t>
            </a:r>
            <a:r>
              <a:rPr lang="en-GB" sz="1200" dirty="0" smtClean="0"/>
              <a:t> </a:t>
            </a:r>
            <a:r>
              <a:rPr lang="en-GB" sz="1200" dirty="0" err="1" smtClean="0"/>
              <a:t>entreprise</a:t>
            </a:r>
            <a:r>
              <a:rPr lang="en-GB" sz="1200" dirty="0" smtClean="0"/>
              <a:t> ?</a:t>
            </a:r>
            <a:endParaRPr lang="en-GB" sz="1200" dirty="0"/>
          </a:p>
          <a:p>
            <a:r>
              <a:rPr lang="en-GB" sz="1200" dirty="0" err="1"/>
              <a:t>Donc</a:t>
            </a:r>
            <a:r>
              <a:rPr lang="en-GB" sz="1200" dirty="0"/>
              <a:t> </a:t>
            </a:r>
            <a:r>
              <a:rPr lang="en-GB" sz="1200" dirty="0" err="1"/>
              <a:t>en</a:t>
            </a:r>
            <a:r>
              <a:rPr lang="en-GB" sz="1200" dirty="0"/>
              <a:t> résumé </a:t>
            </a:r>
            <a:r>
              <a:rPr lang="en-GB" sz="1200" dirty="0" err="1"/>
              <a:t>vous</a:t>
            </a:r>
            <a:r>
              <a:rPr lang="en-GB" sz="1200" dirty="0"/>
              <a:t> </a:t>
            </a:r>
            <a:r>
              <a:rPr lang="en-GB" sz="1200" dirty="0" err="1"/>
              <a:t>souhaitez</a:t>
            </a:r>
            <a:r>
              <a:rPr lang="en-GB" sz="1200" dirty="0"/>
              <a:t> </a:t>
            </a:r>
            <a:r>
              <a:rPr lang="en-GB" sz="1200" dirty="0" err="1"/>
              <a:t>réellement</a:t>
            </a:r>
            <a:r>
              <a:rPr lang="en-GB" sz="1200" dirty="0"/>
              <a:t> </a:t>
            </a:r>
            <a:r>
              <a:rPr lang="en-GB" sz="1200" dirty="0" err="1"/>
              <a:t>bénéficier</a:t>
            </a:r>
            <a:r>
              <a:rPr lang="en-GB" sz="1200" dirty="0"/>
              <a:t> d’un </a:t>
            </a:r>
            <a:r>
              <a:rPr lang="en-GB" sz="1200" dirty="0" err="1"/>
              <a:t>suivi</a:t>
            </a:r>
            <a:r>
              <a:rPr lang="en-GB" sz="1200" dirty="0"/>
              <a:t> à long </a:t>
            </a:r>
            <a:r>
              <a:rPr lang="en-GB" sz="1200" dirty="0" err="1"/>
              <a:t>terme</a:t>
            </a:r>
            <a:r>
              <a:rPr lang="en-GB" sz="1200" dirty="0"/>
              <a:t> de </a:t>
            </a:r>
            <a:r>
              <a:rPr lang="en-GB" sz="1200" dirty="0" err="1"/>
              <a:t>vos</a:t>
            </a:r>
            <a:r>
              <a:rPr lang="en-GB" sz="1200" dirty="0"/>
              <a:t> salaries ?</a:t>
            </a:r>
          </a:p>
          <a:p>
            <a:endParaRPr lang="en-GB" sz="1200" dirty="0"/>
          </a:p>
          <a:p>
            <a:r>
              <a:rPr lang="en-GB" sz="1200" dirty="0" err="1" smtClean="0"/>
              <a:t>Aujourd’hui</a:t>
            </a:r>
            <a:r>
              <a:rPr lang="en-GB" sz="1200" dirty="0" smtClean="0"/>
              <a:t> </a:t>
            </a:r>
            <a:r>
              <a:rPr lang="en-GB" sz="1200" dirty="0" err="1" smtClean="0"/>
              <a:t>est-ce</a:t>
            </a:r>
            <a:r>
              <a:rPr lang="en-GB" sz="1200" dirty="0" smtClean="0"/>
              <a:t> que </a:t>
            </a:r>
            <a:r>
              <a:rPr lang="en-GB" sz="1200" dirty="0" err="1" smtClean="0"/>
              <a:t>vous</a:t>
            </a:r>
            <a:r>
              <a:rPr lang="en-GB" sz="1200" dirty="0" smtClean="0"/>
              <a:t> </a:t>
            </a:r>
            <a:r>
              <a:rPr lang="en-GB" sz="1200" dirty="0" err="1" smtClean="0"/>
              <a:t>proposez</a:t>
            </a:r>
            <a:r>
              <a:rPr lang="en-GB" sz="1200" dirty="0" smtClean="0"/>
              <a:t> à </a:t>
            </a:r>
            <a:r>
              <a:rPr lang="en-GB" sz="1200" dirty="0" err="1" smtClean="0"/>
              <a:t>vos</a:t>
            </a:r>
            <a:r>
              <a:rPr lang="en-GB" sz="1200" dirty="0" smtClean="0"/>
              <a:t> </a:t>
            </a:r>
            <a:r>
              <a:rPr lang="en-GB" sz="1200" dirty="0" err="1" smtClean="0"/>
              <a:t>salariés</a:t>
            </a:r>
            <a:r>
              <a:rPr lang="en-GB" sz="1200" dirty="0" smtClean="0"/>
              <a:t> </a:t>
            </a:r>
            <a:r>
              <a:rPr lang="en-GB" sz="1200" dirty="0" err="1" smtClean="0"/>
              <a:t>une</a:t>
            </a:r>
            <a:r>
              <a:rPr lang="en-GB" sz="1200" dirty="0" smtClean="0"/>
              <a:t> </a:t>
            </a:r>
            <a:r>
              <a:rPr lang="en-GB" sz="1200" dirty="0" err="1" smtClean="0"/>
              <a:t>quelconque</a:t>
            </a:r>
            <a:r>
              <a:rPr lang="en-GB" sz="1200" dirty="0" smtClean="0"/>
              <a:t> formation </a:t>
            </a:r>
            <a:r>
              <a:rPr lang="en-GB" sz="1200" dirty="0" err="1" smtClean="0"/>
              <a:t>dans</a:t>
            </a:r>
            <a:r>
              <a:rPr lang="en-GB" sz="1200" dirty="0" smtClean="0"/>
              <a:t> le </a:t>
            </a:r>
            <a:r>
              <a:rPr lang="en-GB" sz="1200" dirty="0" err="1" smtClean="0"/>
              <a:t>domaine</a:t>
            </a:r>
            <a:r>
              <a:rPr lang="en-GB" sz="1200" dirty="0" smtClean="0"/>
              <a:t> de la </a:t>
            </a:r>
            <a:r>
              <a:rPr lang="en-GB" sz="1200" dirty="0" err="1" smtClean="0"/>
              <a:t>sécurité</a:t>
            </a:r>
            <a:r>
              <a:rPr lang="en-GB" sz="1200" dirty="0" smtClean="0"/>
              <a:t> </a:t>
            </a:r>
            <a:r>
              <a:rPr lang="en-GB" sz="1200" dirty="0" err="1" smtClean="0"/>
              <a:t>routière</a:t>
            </a:r>
            <a:r>
              <a:rPr lang="en-GB" sz="1200" dirty="0" smtClean="0"/>
              <a:t> ? </a:t>
            </a:r>
          </a:p>
          <a:p>
            <a:r>
              <a:rPr lang="en-GB" sz="1200" dirty="0" smtClean="0"/>
              <a:t>Si </a:t>
            </a:r>
            <a:r>
              <a:rPr lang="en-GB" sz="1200" dirty="0" err="1"/>
              <a:t>oui</a:t>
            </a:r>
            <a:r>
              <a:rPr lang="en-GB" sz="1200" dirty="0"/>
              <a:t>, </a:t>
            </a:r>
            <a:r>
              <a:rPr lang="en-GB" sz="1200" dirty="0" err="1"/>
              <a:t>en</a:t>
            </a:r>
            <a:r>
              <a:rPr lang="en-GB" sz="1200" dirty="0"/>
              <a:t> </a:t>
            </a:r>
            <a:r>
              <a:rPr lang="en-GB" sz="1200" dirty="0" err="1"/>
              <a:t>êtes-vous</a:t>
            </a:r>
            <a:r>
              <a:rPr lang="en-GB" sz="1200" dirty="0"/>
              <a:t> </a:t>
            </a:r>
            <a:r>
              <a:rPr lang="en-GB" sz="1200" dirty="0" err="1"/>
              <a:t>satisfait</a:t>
            </a:r>
            <a:r>
              <a:rPr lang="en-GB" sz="1200" dirty="0"/>
              <a:t> </a:t>
            </a:r>
            <a:r>
              <a:rPr lang="en-GB" sz="1200" dirty="0" err="1"/>
              <a:t>ou</a:t>
            </a:r>
            <a:r>
              <a:rPr lang="en-GB" sz="1200" dirty="0"/>
              <a:t> </a:t>
            </a:r>
            <a:r>
              <a:rPr lang="en-GB" sz="1200" dirty="0" err="1"/>
              <a:t>qu’aimeriez-vous</a:t>
            </a:r>
            <a:r>
              <a:rPr lang="en-GB" sz="1200" dirty="0"/>
              <a:t> </a:t>
            </a:r>
            <a:r>
              <a:rPr lang="en-GB" sz="1200" dirty="0" err="1"/>
              <a:t>voir</a:t>
            </a:r>
            <a:r>
              <a:rPr lang="en-GB" sz="1200" dirty="0"/>
              <a:t> </a:t>
            </a:r>
            <a:r>
              <a:rPr lang="en-GB" sz="1200" dirty="0" err="1"/>
              <a:t>amélioré</a:t>
            </a:r>
            <a:r>
              <a:rPr lang="en-GB" sz="1200" dirty="0"/>
              <a:t> ?</a:t>
            </a:r>
          </a:p>
          <a:p>
            <a:r>
              <a:rPr lang="en-GB" sz="1200" dirty="0" smtClean="0"/>
              <a:t>Si </a:t>
            </a:r>
            <a:r>
              <a:rPr lang="en-GB" sz="1200" dirty="0" err="1"/>
              <a:t>j’ai</a:t>
            </a:r>
            <a:r>
              <a:rPr lang="en-GB" sz="1200" dirty="0"/>
              <a:t> </a:t>
            </a:r>
            <a:r>
              <a:rPr lang="en-GB" sz="1200" dirty="0" err="1"/>
              <a:t>bien</a:t>
            </a:r>
            <a:r>
              <a:rPr lang="en-GB" sz="1200" dirty="0"/>
              <a:t> </a:t>
            </a:r>
            <a:r>
              <a:rPr lang="en-GB" sz="1200" dirty="0" err="1"/>
              <a:t>compris</a:t>
            </a:r>
            <a:r>
              <a:rPr lang="en-GB" sz="1200" dirty="0"/>
              <a:t>, </a:t>
            </a:r>
            <a:r>
              <a:rPr lang="en-GB" sz="1200" dirty="0" err="1"/>
              <a:t>vous</a:t>
            </a:r>
            <a:r>
              <a:rPr lang="en-GB" sz="1200" dirty="0"/>
              <a:t> </a:t>
            </a:r>
            <a:r>
              <a:rPr lang="en-GB" sz="1200" dirty="0" err="1"/>
              <a:t>souhaitez</a:t>
            </a:r>
            <a:r>
              <a:rPr lang="en-GB" sz="1200" dirty="0"/>
              <a:t> </a:t>
            </a:r>
            <a:r>
              <a:rPr lang="en-GB" sz="1200" dirty="0" err="1"/>
              <a:t>vraiment</a:t>
            </a:r>
            <a:r>
              <a:rPr lang="en-GB" sz="1200" dirty="0"/>
              <a:t> </a:t>
            </a:r>
            <a:r>
              <a:rPr lang="en-GB" sz="1200" dirty="0" err="1"/>
              <a:t>avoir</a:t>
            </a:r>
            <a:r>
              <a:rPr lang="en-GB" sz="1200" dirty="0"/>
              <a:t> un </a:t>
            </a:r>
            <a:r>
              <a:rPr lang="en-GB" sz="1200" dirty="0" err="1"/>
              <a:t>suivi</a:t>
            </a:r>
            <a:r>
              <a:rPr lang="en-GB" sz="1200" dirty="0"/>
              <a:t> à la </a:t>
            </a:r>
            <a:r>
              <a:rPr lang="en-GB" sz="1200" dirty="0" err="1"/>
              <a:t>fois</a:t>
            </a:r>
            <a:r>
              <a:rPr lang="en-GB" sz="1200" dirty="0"/>
              <a:t> </a:t>
            </a:r>
            <a:r>
              <a:rPr lang="en-GB" sz="1200" dirty="0" err="1"/>
              <a:t>théorique</a:t>
            </a:r>
            <a:r>
              <a:rPr lang="en-GB" sz="1200" dirty="0"/>
              <a:t> et </a:t>
            </a:r>
            <a:r>
              <a:rPr lang="en-GB" sz="1200" dirty="0" err="1"/>
              <a:t>pratique</a:t>
            </a:r>
            <a:r>
              <a:rPr lang="en-GB" sz="1200" dirty="0"/>
              <a:t> pour </a:t>
            </a:r>
            <a:r>
              <a:rPr lang="en-GB" sz="1200" dirty="0" err="1"/>
              <a:t>vos</a:t>
            </a:r>
            <a:r>
              <a:rPr lang="en-GB" sz="1200" dirty="0"/>
              <a:t> </a:t>
            </a:r>
            <a:r>
              <a:rPr lang="en-GB" sz="1200" dirty="0" err="1"/>
              <a:t>employés</a:t>
            </a:r>
            <a:r>
              <a:rPr lang="en-GB" sz="1200" dirty="0"/>
              <a:t> ? </a:t>
            </a:r>
            <a:endParaRPr lang="en-GB" sz="1200" dirty="0" smtClean="0"/>
          </a:p>
          <a:p>
            <a:r>
              <a:rPr lang="en-GB" sz="1200" dirty="0" err="1"/>
              <a:t>Avez-vous</a:t>
            </a:r>
            <a:r>
              <a:rPr lang="en-GB" sz="1200" dirty="0"/>
              <a:t> déjà </a:t>
            </a:r>
            <a:r>
              <a:rPr lang="en-GB" sz="1200" dirty="0" err="1"/>
              <a:t>discuté</a:t>
            </a:r>
            <a:r>
              <a:rPr lang="en-GB" sz="1200" dirty="0"/>
              <a:t> avec </a:t>
            </a:r>
            <a:r>
              <a:rPr lang="en-GB" sz="1200" dirty="0" err="1"/>
              <a:t>d’autres</a:t>
            </a:r>
            <a:r>
              <a:rPr lang="en-GB" sz="1200" dirty="0"/>
              <a:t> centre de formation </a:t>
            </a:r>
            <a:r>
              <a:rPr lang="en-GB" sz="1200" dirty="0" err="1"/>
              <a:t>ou</a:t>
            </a:r>
            <a:r>
              <a:rPr lang="en-GB" sz="1200" dirty="0"/>
              <a:t> des </a:t>
            </a:r>
            <a:r>
              <a:rPr lang="en-GB" sz="1200" dirty="0" err="1"/>
              <a:t>sociétés</a:t>
            </a:r>
            <a:r>
              <a:rPr lang="en-GB" sz="1200" dirty="0"/>
              <a:t> </a:t>
            </a:r>
            <a:r>
              <a:rPr lang="en-GB" sz="1200" dirty="0" err="1"/>
              <a:t>d’audit</a:t>
            </a:r>
            <a:r>
              <a:rPr lang="en-GB" sz="1200" dirty="0"/>
              <a:t> ?</a:t>
            </a:r>
          </a:p>
          <a:p>
            <a:endParaRPr lang="en-GB" sz="1200" dirty="0" smtClean="0"/>
          </a:p>
          <a:p>
            <a:r>
              <a:rPr lang="en-GB" sz="1200" dirty="0" err="1" smtClean="0"/>
              <a:t>Avez-vous</a:t>
            </a:r>
            <a:r>
              <a:rPr lang="en-GB" sz="1200" dirty="0" smtClean="0"/>
              <a:t> </a:t>
            </a:r>
            <a:r>
              <a:rPr lang="en-GB" sz="1200" dirty="0" err="1"/>
              <a:t>une</a:t>
            </a:r>
            <a:r>
              <a:rPr lang="en-GB" sz="1200" dirty="0"/>
              <a:t> idée du </a:t>
            </a:r>
            <a:r>
              <a:rPr lang="en-GB" sz="1200" dirty="0" err="1"/>
              <a:t>cout</a:t>
            </a:r>
            <a:r>
              <a:rPr lang="en-GB" sz="1200" dirty="0"/>
              <a:t> global de </a:t>
            </a:r>
            <a:r>
              <a:rPr lang="en-GB" sz="1200" dirty="0" err="1"/>
              <a:t>ces</a:t>
            </a:r>
            <a:r>
              <a:rPr lang="en-GB" sz="1200" dirty="0"/>
              <a:t> </a:t>
            </a:r>
            <a:r>
              <a:rPr lang="en-GB" sz="1200" dirty="0" err="1"/>
              <a:t>sinistres</a:t>
            </a:r>
            <a:r>
              <a:rPr lang="en-GB" sz="1200" dirty="0"/>
              <a:t> automobiles pour </a:t>
            </a:r>
            <a:r>
              <a:rPr lang="en-GB" sz="1200" dirty="0" err="1"/>
              <a:t>votre</a:t>
            </a:r>
            <a:r>
              <a:rPr lang="en-GB" sz="1200" dirty="0"/>
              <a:t> </a:t>
            </a:r>
            <a:r>
              <a:rPr lang="en-GB" sz="1200" dirty="0" err="1" smtClean="0"/>
              <a:t>entreprise</a:t>
            </a:r>
            <a:r>
              <a:rPr lang="en-GB" sz="1200" dirty="0" smtClean="0"/>
              <a:t> </a:t>
            </a:r>
            <a:r>
              <a:rPr lang="en-GB" sz="1200" dirty="0" err="1" smtClean="0"/>
              <a:t>aujourd’hui</a:t>
            </a:r>
            <a:r>
              <a:rPr lang="en-GB" sz="1200" dirty="0" smtClean="0"/>
              <a:t> </a:t>
            </a:r>
            <a:r>
              <a:rPr lang="en-GB" sz="1200" dirty="0"/>
              <a:t>?</a:t>
            </a:r>
          </a:p>
          <a:p>
            <a:r>
              <a:rPr lang="en-GB" sz="1200" dirty="0" err="1"/>
              <a:t>Vous</a:t>
            </a:r>
            <a:r>
              <a:rPr lang="en-GB" sz="1200" dirty="0"/>
              <a:t> le </a:t>
            </a:r>
            <a:r>
              <a:rPr lang="en-GB" sz="1200" dirty="0" err="1"/>
              <a:t>savez</a:t>
            </a:r>
            <a:r>
              <a:rPr lang="en-GB" sz="1200" dirty="0"/>
              <a:t> </a:t>
            </a:r>
            <a:r>
              <a:rPr lang="en-GB" sz="1200" dirty="0" err="1"/>
              <a:t>certainement</a:t>
            </a:r>
            <a:r>
              <a:rPr lang="en-GB" sz="1200" dirty="0"/>
              <a:t> </a:t>
            </a:r>
            <a:r>
              <a:rPr lang="en-GB" sz="1200" dirty="0" err="1"/>
              <a:t>mais</a:t>
            </a:r>
            <a:r>
              <a:rPr lang="en-GB" sz="1200" dirty="0"/>
              <a:t> les certifications que nous </a:t>
            </a:r>
            <a:r>
              <a:rPr lang="en-GB" sz="1200" dirty="0" err="1"/>
              <a:t>délivrons</a:t>
            </a:r>
            <a:r>
              <a:rPr lang="en-GB" sz="1200" dirty="0"/>
              <a:t> à la fin de </a:t>
            </a:r>
            <a:r>
              <a:rPr lang="en-GB" sz="1200" dirty="0" err="1"/>
              <a:t>nos</a:t>
            </a:r>
            <a:r>
              <a:rPr lang="en-GB" sz="1200" dirty="0"/>
              <a:t> formations </a:t>
            </a:r>
            <a:r>
              <a:rPr lang="en-GB" sz="1200" dirty="0" err="1"/>
              <a:t>permettent</a:t>
            </a:r>
            <a:r>
              <a:rPr lang="en-GB" sz="1200" dirty="0"/>
              <a:t> </a:t>
            </a:r>
            <a:r>
              <a:rPr lang="en-GB" sz="1200" dirty="0" err="1"/>
              <a:t>ensuite</a:t>
            </a:r>
            <a:r>
              <a:rPr lang="en-GB" sz="1200" dirty="0"/>
              <a:t> de </a:t>
            </a:r>
            <a:r>
              <a:rPr lang="en-GB" sz="1200" dirty="0" err="1"/>
              <a:t>mieux</a:t>
            </a:r>
            <a:r>
              <a:rPr lang="en-GB" sz="1200" dirty="0"/>
              <a:t> </a:t>
            </a:r>
            <a:r>
              <a:rPr lang="en-GB" sz="1200" dirty="0" err="1"/>
              <a:t>négocier</a:t>
            </a:r>
            <a:r>
              <a:rPr lang="en-GB" sz="1200" dirty="0"/>
              <a:t> </a:t>
            </a:r>
            <a:r>
              <a:rPr lang="en-GB" sz="1200" dirty="0" err="1"/>
              <a:t>votre</a:t>
            </a:r>
            <a:r>
              <a:rPr lang="en-GB" sz="1200" dirty="0"/>
              <a:t> </a:t>
            </a:r>
            <a:r>
              <a:rPr lang="en-GB" sz="1200" dirty="0" err="1"/>
              <a:t>contrat</a:t>
            </a:r>
            <a:r>
              <a:rPr lang="en-GB" sz="1200" dirty="0"/>
              <a:t> </a:t>
            </a:r>
            <a:r>
              <a:rPr lang="en-GB" sz="1200" dirty="0" err="1"/>
              <a:t>d’assurance</a:t>
            </a:r>
            <a:r>
              <a:rPr lang="en-GB" sz="1200" dirty="0"/>
              <a:t> </a:t>
            </a:r>
          </a:p>
          <a:p>
            <a:r>
              <a:rPr lang="en-GB" sz="1200" dirty="0" smtClean="0"/>
              <a:t>Par </a:t>
            </a:r>
            <a:r>
              <a:rPr lang="en-GB" sz="1200" dirty="0" err="1" smtClean="0"/>
              <a:t>ailleurs</a:t>
            </a:r>
            <a:r>
              <a:rPr lang="en-GB" sz="1200" dirty="0" smtClean="0"/>
              <a:t>, </a:t>
            </a:r>
            <a:r>
              <a:rPr lang="en-GB" sz="1200" dirty="0" err="1" smtClean="0"/>
              <a:t>saviez-vous</a:t>
            </a:r>
            <a:r>
              <a:rPr lang="en-GB" sz="1200" dirty="0" smtClean="0"/>
              <a:t> que nous </a:t>
            </a:r>
            <a:r>
              <a:rPr lang="en-GB" sz="1200" dirty="0" err="1" smtClean="0"/>
              <a:t>sommes</a:t>
            </a:r>
            <a:r>
              <a:rPr lang="en-GB" sz="1200" dirty="0" smtClean="0"/>
              <a:t> un </a:t>
            </a:r>
            <a:r>
              <a:rPr lang="en-GB" sz="1200" dirty="0" err="1" smtClean="0"/>
              <a:t>organisme</a:t>
            </a:r>
            <a:r>
              <a:rPr lang="en-GB" sz="1200" dirty="0" smtClean="0"/>
              <a:t> </a:t>
            </a:r>
            <a:r>
              <a:rPr lang="en-GB" sz="1200" dirty="0" err="1" smtClean="0"/>
              <a:t>agréé</a:t>
            </a:r>
            <a:r>
              <a:rPr lang="en-GB" sz="1200" dirty="0" smtClean="0"/>
              <a:t> de formation </a:t>
            </a:r>
            <a:r>
              <a:rPr lang="en-GB" sz="1200" dirty="0" err="1" smtClean="0"/>
              <a:t>professionnelle</a:t>
            </a:r>
            <a:r>
              <a:rPr lang="en-GB" sz="1200" dirty="0" smtClean="0"/>
              <a:t> </a:t>
            </a:r>
            <a:r>
              <a:rPr lang="en-GB" sz="1200" dirty="0" err="1" smtClean="0"/>
              <a:t>ce</a:t>
            </a:r>
            <a:r>
              <a:rPr lang="en-GB" sz="1200" dirty="0" smtClean="0"/>
              <a:t> qui </a:t>
            </a:r>
            <a:r>
              <a:rPr lang="en-GB" sz="1200" dirty="0" err="1" smtClean="0"/>
              <a:t>veut</a:t>
            </a:r>
            <a:r>
              <a:rPr lang="en-GB" sz="1200" dirty="0" smtClean="0"/>
              <a:t> dire que </a:t>
            </a:r>
            <a:r>
              <a:rPr lang="en-GB" sz="1200" dirty="0" err="1" smtClean="0"/>
              <a:t>vous</a:t>
            </a:r>
            <a:r>
              <a:rPr lang="en-GB" sz="1200" dirty="0" smtClean="0"/>
              <a:t> </a:t>
            </a:r>
            <a:r>
              <a:rPr lang="en-GB" sz="1200" dirty="0" err="1" smtClean="0"/>
              <a:t>pouvez</a:t>
            </a:r>
            <a:r>
              <a:rPr lang="en-GB" sz="1200" dirty="0" smtClean="0"/>
              <a:t> financer </a:t>
            </a:r>
            <a:r>
              <a:rPr lang="en-GB" sz="1200" dirty="0" err="1" smtClean="0"/>
              <a:t>ces</a:t>
            </a:r>
            <a:r>
              <a:rPr lang="en-GB" sz="1200" dirty="0" smtClean="0"/>
              <a:t> stages via </a:t>
            </a:r>
            <a:r>
              <a:rPr lang="en-GB" sz="1200" dirty="0" err="1" smtClean="0"/>
              <a:t>votre</a:t>
            </a:r>
            <a:r>
              <a:rPr lang="en-GB" sz="1200" dirty="0" smtClean="0"/>
              <a:t> budget de formation?</a:t>
            </a:r>
            <a:endParaRPr lang="en-GB" sz="1200" dirty="0"/>
          </a:p>
          <a:p>
            <a:endParaRPr lang="en-GB" sz="1200" dirty="0"/>
          </a:p>
          <a:p>
            <a:r>
              <a:rPr lang="en-GB" sz="1200" dirty="0"/>
              <a:t>Et </a:t>
            </a:r>
            <a:r>
              <a:rPr lang="en-GB" sz="1200" dirty="0" err="1"/>
              <a:t>votre</a:t>
            </a:r>
            <a:r>
              <a:rPr lang="en-GB" sz="1200" dirty="0"/>
              <a:t> </a:t>
            </a:r>
            <a:r>
              <a:rPr lang="en-GB" sz="1200" dirty="0" err="1"/>
              <a:t>besoin</a:t>
            </a:r>
            <a:r>
              <a:rPr lang="en-GB" sz="1200" dirty="0"/>
              <a:t> </a:t>
            </a:r>
            <a:r>
              <a:rPr lang="en-GB" sz="1200" dirty="0" err="1"/>
              <a:t>concernerait</a:t>
            </a:r>
            <a:r>
              <a:rPr lang="en-GB" sz="1200" dirty="0"/>
              <a:t> </a:t>
            </a:r>
            <a:r>
              <a:rPr lang="en-GB" sz="1200" dirty="0" err="1"/>
              <a:t>l’ensemble</a:t>
            </a:r>
            <a:r>
              <a:rPr lang="en-GB" sz="1200" dirty="0"/>
              <a:t> des </a:t>
            </a:r>
            <a:r>
              <a:rPr lang="en-GB" sz="1200" dirty="0" err="1"/>
              <a:t>conducteurs</a:t>
            </a:r>
            <a:r>
              <a:rPr lang="en-GB" sz="1200" dirty="0"/>
              <a:t> de </a:t>
            </a:r>
            <a:r>
              <a:rPr lang="en-GB" sz="1200" dirty="0" err="1"/>
              <a:t>votre</a:t>
            </a:r>
            <a:r>
              <a:rPr lang="en-GB" sz="1200" dirty="0"/>
              <a:t> </a:t>
            </a:r>
            <a:r>
              <a:rPr lang="en-GB" sz="1200" dirty="0" err="1"/>
              <a:t>entreprise</a:t>
            </a:r>
            <a:r>
              <a:rPr lang="en-GB" sz="1200" dirty="0"/>
              <a:t> </a:t>
            </a:r>
            <a:r>
              <a:rPr lang="en-GB" sz="1200" dirty="0" err="1"/>
              <a:t>ou</a:t>
            </a:r>
            <a:r>
              <a:rPr lang="en-GB" sz="1200" dirty="0"/>
              <a:t> </a:t>
            </a:r>
            <a:r>
              <a:rPr lang="en-GB" sz="1200" dirty="0" err="1"/>
              <a:t>seulement</a:t>
            </a:r>
            <a:r>
              <a:rPr lang="en-GB" sz="1200" dirty="0"/>
              <a:t> </a:t>
            </a:r>
            <a:r>
              <a:rPr lang="en-GB" sz="1200" dirty="0" err="1"/>
              <a:t>une</a:t>
            </a:r>
            <a:r>
              <a:rPr lang="en-GB" sz="1200" dirty="0"/>
              <a:t> </a:t>
            </a:r>
            <a:r>
              <a:rPr lang="en-GB" sz="1200" dirty="0" err="1"/>
              <a:t>partie</a:t>
            </a:r>
            <a:r>
              <a:rPr lang="en-GB" sz="1200" dirty="0"/>
              <a:t>?  Et pour tout type de </a:t>
            </a:r>
            <a:r>
              <a:rPr lang="en-GB" sz="1200" dirty="0" err="1"/>
              <a:t>véhicule</a:t>
            </a:r>
            <a:r>
              <a:rPr lang="en-GB" sz="1200" dirty="0"/>
              <a:t> ? </a:t>
            </a:r>
          </a:p>
          <a:p>
            <a:r>
              <a:rPr lang="en-GB" sz="1200" dirty="0" err="1" smtClean="0"/>
              <a:t>Quand</a:t>
            </a:r>
            <a:r>
              <a:rPr lang="en-GB" sz="1200" dirty="0" smtClean="0"/>
              <a:t> </a:t>
            </a:r>
            <a:r>
              <a:rPr lang="en-GB" sz="1200" dirty="0" err="1" smtClean="0"/>
              <a:t>est-ce</a:t>
            </a:r>
            <a:r>
              <a:rPr lang="en-GB" sz="1200" dirty="0" smtClean="0"/>
              <a:t> que </a:t>
            </a:r>
            <a:r>
              <a:rPr lang="en-GB" sz="1200" dirty="0" err="1" smtClean="0"/>
              <a:t>vous</a:t>
            </a:r>
            <a:r>
              <a:rPr lang="en-GB" sz="1200" dirty="0" smtClean="0"/>
              <a:t> </a:t>
            </a:r>
            <a:r>
              <a:rPr lang="en-GB" sz="1200" dirty="0" err="1" smtClean="0"/>
              <a:t>pensez</a:t>
            </a:r>
            <a:r>
              <a:rPr lang="en-GB" sz="1200" dirty="0" smtClean="0"/>
              <a:t> </a:t>
            </a:r>
            <a:r>
              <a:rPr lang="en-GB" sz="1200" dirty="0" err="1" smtClean="0"/>
              <a:t>prendre</a:t>
            </a:r>
            <a:r>
              <a:rPr lang="en-GB" sz="1200" dirty="0" smtClean="0"/>
              <a:t> </a:t>
            </a:r>
            <a:r>
              <a:rPr lang="en-GB" sz="1200" dirty="0" err="1" smtClean="0"/>
              <a:t>votre</a:t>
            </a:r>
            <a:r>
              <a:rPr lang="en-GB" sz="1200" dirty="0" smtClean="0"/>
              <a:t> decision ? </a:t>
            </a:r>
          </a:p>
          <a:p>
            <a:r>
              <a:rPr lang="en-GB" sz="1200" dirty="0" err="1" smtClean="0"/>
              <a:t>Dans</a:t>
            </a:r>
            <a:r>
              <a:rPr lang="en-GB" sz="1200" dirty="0" smtClean="0"/>
              <a:t> </a:t>
            </a:r>
            <a:r>
              <a:rPr lang="en-GB" sz="1200" dirty="0" err="1" smtClean="0"/>
              <a:t>ce</a:t>
            </a:r>
            <a:r>
              <a:rPr lang="en-GB" sz="1200" dirty="0" smtClean="0"/>
              <a:t> </a:t>
            </a:r>
            <a:r>
              <a:rPr lang="en-GB" sz="1200" dirty="0" err="1" smtClean="0"/>
              <a:t>cas</a:t>
            </a:r>
            <a:r>
              <a:rPr lang="en-GB" sz="1200" dirty="0" smtClean="0"/>
              <a:t> je </a:t>
            </a:r>
            <a:r>
              <a:rPr lang="en-GB" sz="1200" dirty="0" err="1" smtClean="0"/>
              <a:t>vous</a:t>
            </a:r>
            <a:r>
              <a:rPr lang="en-GB" sz="1200" dirty="0" smtClean="0"/>
              <a:t> propose que nous </a:t>
            </a:r>
            <a:r>
              <a:rPr lang="en-GB" sz="1200" dirty="0" err="1" smtClean="0"/>
              <a:t>nous</a:t>
            </a:r>
            <a:r>
              <a:rPr lang="en-GB" sz="1200" dirty="0" smtClean="0"/>
              <a:t> </a:t>
            </a:r>
            <a:r>
              <a:rPr lang="en-GB" sz="1200" dirty="0" err="1" smtClean="0"/>
              <a:t>revoyons</a:t>
            </a:r>
            <a:r>
              <a:rPr lang="en-GB" sz="1200" dirty="0" smtClean="0"/>
              <a:t> </a:t>
            </a:r>
            <a:r>
              <a:rPr lang="en-GB" sz="1200" dirty="0" err="1" smtClean="0"/>
              <a:t>dans</a:t>
            </a:r>
            <a:r>
              <a:rPr lang="en-GB" sz="1200" dirty="0" smtClean="0"/>
              <a:t> 2 </a:t>
            </a:r>
            <a:r>
              <a:rPr lang="en-GB" sz="1200" dirty="0" err="1" smtClean="0"/>
              <a:t>semaines</a:t>
            </a:r>
            <a:r>
              <a:rPr lang="en-GB" sz="1200" dirty="0" smtClean="0"/>
              <a:t>, je </a:t>
            </a:r>
            <a:r>
              <a:rPr lang="en-GB" sz="1200" dirty="0" err="1" smtClean="0"/>
              <a:t>pourrai</a:t>
            </a:r>
            <a:r>
              <a:rPr lang="en-GB" sz="1200" dirty="0" smtClean="0"/>
              <a:t> </a:t>
            </a:r>
            <a:r>
              <a:rPr lang="en-GB" sz="1200" dirty="0" err="1" smtClean="0"/>
              <a:t>vous</a:t>
            </a:r>
            <a:r>
              <a:rPr lang="en-GB" sz="1200" dirty="0" smtClean="0"/>
              <a:t> </a:t>
            </a:r>
            <a:r>
              <a:rPr lang="en-GB" sz="1200" dirty="0" err="1" smtClean="0"/>
              <a:t>aporter</a:t>
            </a:r>
            <a:r>
              <a:rPr lang="en-GB" sz="1200" dirty="0" smtClean="0"/>
              <a:t> un </a:t>
            </a:r>
            <a:r>
              <a:rPr lang="en-GB" sz="1200" dirty="0" err="1" smtClean="0"/>
              <a:t>devis</a:t>
            </a:r>
            <a:r>
              <a:rPr lang="en-GB" sz="1200" dirty="0" smtClean="0"/>
              <a:t> précis sur la base de </a:t>
            </a:r>
            <a:r>
              <a:rPr lang="en-GB" sz="1200" dirty="0" err="1" smtClean="0"/>
              <a:t>vos</a:t>
            </a:r>
            <a:r>
              <a:rPr lang="en-GB" sz="1200" dirty="0" smtClean="0"/>
              <a:t> </a:t>
            </a:r>
            <a:r>
              <a:rPr lang="en-GB" sz="1200" dirty="0" err="1" smtClean="0"/>
              <a:t>besoins</a:t>
            </a:r>
            <a:r>
              <a:rPr lang="en-GB" sz="1200" dirty="0" smtClean="0"/>
              <a:t>. Est-</a:t>
            </a:r>
            <a:r>
              <a:rPr lang="en-GB" sz="1200" dirty="0" err="1" smtClean="0"/>
              <a:t>ce</a:t>
            </a:r>
            <a:r>
              <a:rPr lang="en-GB" sz="1200" dirty="0" smtClean="0"/>
              <a:t> que ca </a:t>
            </a:r>
            <a:r>
              <a:rPr lang="en-GB" sz="1200" dirty="0" err="1" smtClean="0"/>
              <a:t>vous</a:t>
            </a:r>
            <a:r>
              <a:rPr lang="en-GB" sz="1200" dirty="0" smtClean="0"/>
              <a:t> </a:t>
            </a:r>
            <a:r>
              <a:rPr lang="en-GB" sz="1200" dirty="0" err="1" smtClean="0"/>
              <a:t>irait</a:t>
            </a:r>
            <a:r>
              <a:rPr lang="en-GB" sz="1200" dirty="0" smtClean="0"/>
              <a:t> ?</a:t>
            </a:r>
            <a:endParaRPr lang="en-GB" sz="1200" dirty="0"/>
          </a:p>
          <a:p>
            <a:r>
              <a:rPr lang="en-GB" sz="1200" dirty="0" smtClean="0"/>
              <a:t>Je </a:t>
            </a:r>
            <a:r>
              <a:rPr lang="en-GB" sz="1200" dirty="0" err="1" smtClean="0"/>
              <a:t>vous</a:t>
            </a:r>
            <a:r>
              <a:rPr lang="en-GB" sz="1200" dirty="0" smtClean="0"/>
              <a:t> laisse </a:t>
            </a:r>
            <a:r>
              <a:rPr lang="en-GB" sz="1200" dirty="0" err="1" smtClean="0"/>
              <a:t>cette</a:t>
            </a:r>
            <a:r>
              <a:rPr lang="en-GB" sz="1200" dirty="0" smtClean="0"/>
              <a:t> </a:t>
            </a:r>
            <a:r>
              <a:rPr lang="en-GB" sz="1200" dirty="0" err="1" smtClean="0"/>
              <a:t>plaquette</a:t>
            </a:r>
            <a:r>
              <a:rPr lang="en-GB" sz="1200" dirty="0" smtClean="0"/>
              <a:t> </a:t>
            </a:r>
            <a:r>
              <a:rPr lang="en-GB" sz="1200" dirty="0" err="1" smtClean="0"/>
              <a:t>d’illustration</a:t>
            </a:r>
            <a:r>
              <a:rPr lang="en-GB" sz="1200" dirty="0" smtClean="0"/>
              <a:t>, </a:t>
            </a:r>
            <a:r>
              <a:rPr lang="en-GB" sz="1200" dirty="0" err="1" smtClean="0"/>
              <a:t>si</a:t>
            </a:r>
            <a:r>
              <a:rPr lang="en-GB" sz="1200" dirty="0" smtClean="0"/>
              <a:t> </a:t>
            </a:r>
            <a:r>
              <a:rPr lang="en-GB" sz="1200" dirty="0" err="1" smtClean="0"/>
              <a:t>vous</a:t>
            </a:r>
            <a:r>
              <a:rPr lang="en-GB" sz="1200" dirty="0" smtClean="0"/>
              <a:t> </a:t>
            </a:r>
            <a:r>
              <a:rPr lang="en-GB" sz="1200" dirty="0" err="1" smtClean="0"/>
              <a:t>avez</a:t>
            </a:r>
            <a:r>
              <a:rPr lang="en-GB" sz="1200" dirty="0" smtClean="0"/>
              <a:t> des questions </a:t>
            </a:r>
            <a:r>
              <a:rPr lang="en-GB" sz="1200" dirty="0" err="1" smtClean="0"/>
              <a:t>n’hésitez</a:t>
            </a:r>
            <a:r>
              <a:rPr lang="en-GB" sz="1200" dirty="0" smtClean="0"/>
              <a:t> pas à me </a:t>
            </a:r>
            <a:r>
              <a:rPr lang="en-GB" sz="1200" dirty="0" err="1" smtClean="0"/>
              <a:t>contacter</a:t>
            </a:r>
            <a:r>
              <a:rPr lang="en-GB" sz="1200" dirty="0" smtClean="0"/>
              <a:t>. </a:t>
            </a:r>
            <a:endParaRPr lang="en-GB" sz="1200" dirty="0"/>
          </a:p>
          <a:p>
            <a:endParaRPr lang="en-GB" sz="1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La </a:t>
            </a:r>
            <a:r>
              <a:rPr lang="en-GB" dirty="0" err="1" smtClean="0"/>
              <a:t>découverte</a:t>
            </a:r>
            <a:r>
              <a:rPr lang="en-GB" dirty="0" smtClean="0"/>
              <a:t> des </a:t>
            </a:r>
            <a:r>
              <a:rPr lang="en-GB" dirty="0" err="1" smtClean="0"/>
              <a:t>besoin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65505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12&quot;&gt;&lt;elem m_fUsage=&quot;2.51436831940879560000E+000&quot;&gt;&lt;m_msothmcolidx val=&quot;0&quot;/&gt;&lt;m_rgb r=&quot;5e&quot; g=&quot;ae&quot; b=&quot;ff&quot;/&gt;&lt;m_ppcolschidx tagver0=&quot;23004&quot; tagname0=&quot;m_ppcolschidxUNRECOGNIZED&quot; val=&quot;0&quot;/&gt;&lt;m_nBrightness val=&quot;0&quot;/&gt;&lt;/elem&gt;&lt;elem m_fUsage=&quot;1.39370741008879180000E+000&quot;&gt;&lt;m_msothmcolidx val=&quot;0&quot;/&gt;&lt;m_rgb r=&quot;9b&quot; g=&quot;e7&quot; b=&quot;ff&quot;/&gt;&lt;m_ppcolschidx tagver0=&quot;23004&quot; tagname0=&quot;m_ppcolschidxUNRECOGNIZED&quot; val=&quot;0&quot;/&gt;&lt;m_nBrightness val=&quot;0&quot;/&gt;&lt;/elem&gt;&lt;elem m_fUsage=&quot;1.13131455459056940000E+000&quot;&gt;&lt;m_msothmcolidx val=&quot;0&quot;/&gt;&lt;m_rgb r=&quot;d3&quot; g=&quot;d9&quot; b=&quot;6&quot;/&gt;&lt;m_ppcolschidx tagver0=&quot;23004&quot; tagname0=&quot;m_ppcolschidxUNRECOGNIZED&quot; val=&quot;0&quot;/&gt;&lt;m_nBrightness val=&quot;0&quot;/&gt;&lt;/elem&gt;&lt;elem m_fUsage=&quot;1.12710611931390030000E+000&quot;&gt;&lt;m_msothmcolidx val=&quot;0&quot;/&gt;&lt;m_rgb r=&quot;7d&quot; g=&quot;bf&quot; b=&quot;ff&quot;/&gt;&lt;m_ppcolschidx tagver0=&quot;23004&quot; tagname0=&quot;m_ppcolschidxUNRECOGNIZED&quot; val=&quot;0&quot;/&gt;&lt;m_nBrightness val=&quot;0&quot;/&gt;&lt;/elem&gt;&lt;elem m_fUsage=&quot;7.29000000000000090000E-001&quot;&gt;&lt;m_msothmcolidx val=&quot;0&quot;/&gt;&lt;m_rgb r=&quot;70&quot; g=&quot;30&quot; b=&quot;a0&quot;/&gt;&lt;m_ppcolschidx tagver0=&quot;23004&quot; tagname0=&quot;m_ppcolschidxUNRECOGNIZED&quot; val=&quot;0&quot;/&gt;&lt;m_nBrightness val=&quot;0&quot;/&gt;&lt;/elem&gt;&lt;elem m_fUsage=&quot;6.56100000000000130000E-001&quot;&gt;&lt;m_msothmcolidx val=&quot;0&quot;/&gt;&lt;m_rgb r=&quot;c0&quot; g=&quot;0&quot; b=&quot;0&quot;/&gt;&lt;m_ppcolschidx tagver0=&quot;23004&quot; tagname0=&quot;m_ppcolschidxUNRECOGNIZED&quot; val=&quot;0&quot;/&gt;&lt;m_nBrightness val=&quot;0&quot;/&gt;&lt;/elem&gt;&lt;elem m_fUsage=&quot;4.83763611867299380000E-001&quot;&gt;&lt;m_msothmcolidx val=&quot;0&quot;/&gt;&lt;m_rgb r=&quot;ff&quot; g=&quot;d1&quot; b=&quot;29&quot;/&gt;&lt;m_ppcolschidx tagver0=&quot;23004&quot; tagname0=&quot;m_ppcolschidxUNRECOGNIZED&quot; val=&quot;0&quot;/&gt;&lt;m_nBrightness val=&quot;0&quot;/&gt;&lt;/elem&gt;&lt;elem m_fUsage=&quot;4.71140039309676020000E-001&quot;&gt;&lt;m_msothmcolidx val=&quot;0&quot;/&gt;&lt;m_rgb r=&quot;75&quot; g=&quot;ba&quot; b=&quot;ff&quot;/&gt;&lt;m_ppcolschidx tagver0=&quot;23004&quot; tagname0=&quot;m_ppcolschidxUNRECOGNIZED&quot; val=&quot;0&quot;/&gt;&lt;m_nBrightness val=&quot;0&quot;/&gt;&lt;/elem&gt;&lt;elem m_fUsage=&quot;4.44815643313695720000E-001&quot;&gt;&lt;m_msothmcolidx val=&quot;0&quot;/&gt;&lt;m_rgb r=&quot;f&quot; g=&quot;87&quot; b=&quot;ff&quot;/&gt;&lt;m_ppcolschidx tagver0=&quot;23004&quot; tagname0=&quot;m_ppcolschidxUNRECOGNIZED&quot; val=&quot;0&quot;/&gt;&lt;m_nBrightness val=&quot;0&quot;/&gt;&lt;/elem&gt;&lt;elem m_fUsage=&quot;3.87420489000000150000E-001&quot;&gt;&lt;m_msothmcolidx val=&quot;0&quot;/&gt;&lt;m_rgb r=&quot;d2&quot; g=&quot;9f&quot; b=&quot;13&quot;/&gt;&lt;m_ppcolschidx tagver0=&quot;23004&quot; tagname0=&quot;m_ppcolschidxUNRECOGNIZED&quot; val=&quot;0&quot;/&gt;&lt;m_nBrightness val=&quot;0&quot;/&gt;&lt;/elem&gt;&lt;elem m_fUsage=&quot;7.97664430768725700000E-002&quot;&gt;&lt;m_msothmcolidx val=&quot;0&quot;/&gt;&lt;m_rgb r=&quot;79&quot; g=&quot;de&quot; b=&quot;ff&quot;/&gt;&lt;m_ppcolschidx tagver0=&quot;23004&quot; tagname0=&quot;m_ppcolschidxUNRECOGNIZED&quot; val=&quot;0&quot;/&gt;&lt;m_nBrightness val=&quot;0&quot;/&gt;&lt;/elem&gt;&lt;elem m_fUsage=&quot;5.81497370030401100000E-002&quot;&gt;&lt;m_msothmcolidx val=&quot;0&quot;/&gt;&lt;m_rgb r=&quot;e8&quot; g=&quot;84&quot; b=&quot;20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Public_PPT(4-3)_Environmentally_friendly_for_Printing">
  <a:themeElements>
    <a:clrScheme name="Custom 1">
      <a:dk1>
        <a:srgbClr val="4D4D4D"/>
      </a:dk1>
      <a:lt1>
        <a:srgbClr val="FFFFFF"/>
      </a:lt1>
      <a:dk2>
        <a:srgbClr val="00A9E0"/>
      </a:dk2>
      <a:lt2>
        <a:srgbClr val="D7D2CB"/>
      </a:lt2>
      <a:accent1>
        <a:srgbClr val="005EB8"/>
      </a:accent1>
      <a:accent2>
        <a:srgbClr val="CE0058"/>
      </a:accent2>
      <a:accent3>
        <a:srgbClr val="00A9E0"/>
      </a:accent3>
      <a:accent4>
        <a:srgbClr val="7030A0"/>
      </a:accent4>
      <a:accent5>
        <a:srgbClr val="D29F13"/>
      </a:accent5>
      <a:accent6>
        <a:srgbClr val="D7D2CB"/>
      </a:accent6>
      <a:hlink>
        <a:srgbClr val="005EB8"/>
      </a:hlink>
      <a:folHlink>
        <a:srgbClr val="00A9E0"/>
      </a:folHlink>
    </a:clrScheme>
    <a:fontScheme name="Amadeu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>
          <a:solidFill>
            <a:schemeClr val="accent1"/>
          </a:solidFill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52000" indent="-252000">
          <a:spcBef>
            <a:spcPts val="480"/>
          </a:spcBef>
          <a:buClr>
            <a:schemeClr val="tx2"/>
          </a:buClr>
          <a:buSzPct val="120000"/>
          <a:buFont typeface="Verdana" panose="020B0604030504040204" pitchFamily="34" charset="0"/>
          <a:buChar char="_"/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ecret_PPT(4-3)_Environmentally_friendly_for_Printing.potx" id="{10FC6FC5-6EF3-461C-8404-DD5995234E1A}" vid="{F362D019-21A9-47B2-A9BF-B36FC4CB8F3A}"/>
    </a:ext>
  </a:extLst>
</a:theme>
</file>

<file path=ppt/theme/theme2.xml><?xml version="1.0" encoding="utf-8"?>
<a:theme xmlns:a="http://schemas.openxmlformats.org/drawingml/2006/main" name="3_Public_PPT(4-3)_Environmentally_friendly_for_Printing">
  <a:themeElements>
    <a:clrScheme name="Custom 1">
      <a:dk1>
        <a:srgbClr val="4D4D4D"/>
      </a:dk1>
      <a:lt1>
        <a:srgbClr val="FFFFFF"/>
      </a:lt1>
      <a:dk2>
        <a:srgbClr val="00A9E0"/>
      </a:dk2>
      <a:lt2>
        <a:srgbClr val="D7D2CB"/>
      </a:lt2>
      <a:accent1>
        <a:srgbClr val="005EB8"/>
      </a:accent1>
      <a:accent2>
        <a:srgbClr val="CE0058"/>
      </a:accent2>
      <a:accent3>
        <a:srgbClr val="00A9E0"/>
      </a:accent3>
      <a:accent4>
        <a:srgbClr val="7030A0"/>
      </a:accent4>
      <a:accent5>
        <a:srgbClr val="D29F13"/>
      </a:accent5>
      <a:accent6>
        <a:srgbClr val="D7D2CB"/>
      </a:accent6>
      <a:hlink>
        <a:srgbClr val="005EB8"/>
      </a:hlink>
      <a:folHlink>
        <a:srgbClr val="00A9E0"/>
      </a:folHlink>
    </a:clrScheme>
    <a:fontScheme name="Amadeu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>
          <a:solidFill>
            <a:schemeClr val="accent1"/>
          </a:solidFill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52000" indent="-252000">
          <a:spcBef>
            <a:spcPts val="480"/>
          </a:spcBef>
          <a:buClr>
            <a:schemeClr val="tx2"/>
          </a:buClr>
          <a:buSzPct val="120000"/>
          <a:buFont typeface="Verdana" panose="020B0604030504040204" pitchFamily="34" charset="0"/>
          <a:buChar char="_"/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ecret_PPT(4-3)_Environmentally_friendly_for_Printing.potx" id="{10FC6FC5-6EF3-461C-8404-DD5995234E1A}" vid="{F362D019-21A9-47B2-A9BF-B36FC4CB8F3A}"/>
    </a:ext>
  </a:extLst>
</a:theme>
</file>

<file path=ppt/theme/theme3.xml><?xml version="1.0" encoding="utf-8"?>
<a:theme xmlns:a="http://schemas.openxmlformats.org/drawingml/2006/main" name="Confidential_Amadeus_Template_PPT">
  <a:themeElements>
    <a:clrScheme name="Amadeus">
      <a:dk1>
        <a:srgbClr val="005EB8"/>
      </a:dk1>
      <a:lt1>
        <a:srgbClr val="FFFFFF"/>
      </a:lt1>
      <a:dk2>
        <a:srgbClr val="00A9E0"/>
      </a:dk2>
      <a:lt2>
        <a:srgbClr val="D7D2CB"/>
      </a:lt2>
      <a:accent1>
        <a:srgbClr val="005EB8"/>
      </a:accent1>
      <a:accent2>
        <a:srgbClr val="CE0058"/>
      </a:accent2>
      <a:accent3>
        <a:srgbClr val="00A9E0"/>
      </a:accent3>
      <a:accent4>
        <a:srgbClr val="7030A0"/>
      </a:accent4>
      <a:accent5>
        <a:srgbClr val="D29F13"/>
      </a:accent5>
      <a:accent6>
        <a:srgbClr val="D7D2CB"/>
      </a:accent6>
      <a:hlink>
        <a:srgbClr val="005EB8"/>
      </a:hlink>
      <a:folHlink>
        <a:srgbClr val="00A9E0"/>
      </a:folHlink>
    </a:clrScheme>
    <a:fontScheme name="Amadeu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4_Public_PPT(4-3)_Environmentally_friendly_for_Printing">
  <a:themeElements>
    <a:clrScheme name="Custom 1">
      <a:dk1>
        <a:srgbClr val="4D4D4D"/>
      </a:dk1>
      <a:lt1>
        <a:srgbClr val="FFFFFF"/>
      </a:lt1>
      <a:dk2>
        <a:srgbClr val="00A9E0"/>
      </a:dk2>
      <a:lt2>
        <a:srgbClr val="D7D2CB"/>
      </a:lt2>
      <a:accent1>
        <a:srgbClr val="005EB8"/>
      </a:accent1>
      <a:accent2>
        <a:srgbClr val="CE0058"/>
      </a:accent2>
      <a:accent3>
        <a:srgbClr val="00A9E0"/>
      </a:accent3>
      <a:accent4>
        <a:srgbClr val="7030A0"/>
      </a:accent4>
      <a:accent5>
        <a:srgbClr val="D29F13"/>
      </a:accent5>
      <a:accent6>
        <a:srgbClr val="D7D2CB"/>
      </a:accent6>
      <a:hlink>
        <a:srgbClr val="005EB8"/>
      </a:hlink>
      <a:folHlink>
        <a:srgbClr val="00A9E0"/>
      </a:folHlink>
    </a:clrScheme>
    <a:fontScheme name="Amadeu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>
          <a:solidFill>
            <a:schemeClr val="accent1"/>
          </a:solidFill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52000" indent="-252000">
          <a:spcBef>
            <a:spcPts val="480"/>
          </a:spcBef>
          <a:buClr>
            <a:schemeClr val="tx2"/>
          </a:buClr>
          <a:buSzPct val="120000"/>
          <a:buFont typeface="Verdana" panose="020B0604030504040204" pitchFamily="34" charset="0"/>
          <a:buChar char="_"/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ecret_PPT(4-3)_Environmentally_friendly_for_Printing.potx" id="{10FC6FC5-6EF3-461C-8404-DD5995234E1A}" vid="{F362D019-21A9-47B2-A9BF-B36FC4CB8F3A}"/>
    </a:ext>
  </a:extLst>
</a:theme>
</file>

<file path=ppt/theme/theme5.xml><?xml version="1.0" encoding="utf-8"?>
<a:theme xmlns:a="http://schemas.openxmlformats.org/drawingml/2006/main" name="Office Theme">
  <a:themeElements>
    <a:clrScheme name="Amadeus">
      <a:dk1>
        <a:srgbClr val="005EB8"/>
      </a:dk1>
      <a:lt1>
        <a:srgbClr val="FFFFFF"/>
      </a:lt1>
      <a:dk2>
        <a:srgbClr val="005EB8"/>
      </a:dk2>
      <a:lt2>
        <a:srgbClr val="D7D2CB"/>
      </a:lt2>
      <a:accent1>
        <a:srgbClr val="005EB8"/>
      </a:accent1>
      <a:accent2>
        <a:srgbClr val="CE0058"/>
      </a:accent2>
      <a:accent3>
        <a:srgbClr val="00B0F0"/>
      </a:accent3>
      <a:accent4>
        <a:srgbClr val="7030A0"/>
      </a:accent4>
      <a:accent5>
        <a:srgbClr val="D29F13"/>
      </a:accent5>
      <a:accent6>
        <a:srgbClr val="D7D2CB"/>
      </a:accent6>
      <a:hlink>
        <a:srgbClr val="CE0058"/>
      </a:hlink>
      <a:folHlink>
        <a:srgbClr val="FF85B9"/>
      </a:folHlink>
    </a:clrScheme>
    <a:fontScheme name="Amadeu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Amadeus">
      <a:dk1>
        <a:srgbClr val="005EB8"/>
      </a:dk1>
      <a:lt1>
        <a:srgbClr val="FFFFFF"/>
      </a:lt1>
      <a:dk2>
        <a:srgbClr val="005EB8"/>
      </a:dk2>
      <a:lt2>
        <a:srgbClr val="D7D2CB"/>
      </a:lt2>
      <a:accent1>
        <a:srgbClr val="005EB8"/>
      </a:accent1>
      <a:accent2>
        <a:srgbClr val="CE0058"/>
      </a:accent2>
      <a:accent3>
        <a:srgbClr val="00B0F0"/>
      </a:accent3>
      <a:accent4>
        <a:srgbClr val="7030A0"/>
      </a:accent4>
      <a:accent5>
        <a:srgbClr val="D29F13"/>
      </a:accent5>
      <a:accent6>
        <a:srgbClr val="D7D2CB"/>
      </a:accent6>
      <a:hlink>
        <a:srgbClr val="CE0058"/>
      </a:hlink>
      <a:folHlink>
        <a:srgbClr val="FF85B9"/>
      </a:folHlink>
    </a:clrScheme>
    <a:fontScheme name="Amadeu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amaProposedKC xmlns="55fb1333-1407-4025-807a-bf48d778630d">
      <Url xsi:nil="true"/>
      <Description xsi:nil="true"/>
    </amaProposedKC>
    <Document_x0020_status xmlns="c9a5a8c2-9e00-44ec-a754-b8e8e575ccfb">To be updated</Document_x0020_statu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62E76C890A4BB4880FAA56F0E96BF55" ma:contentTypeVersion="2" ma:contentTypeDescription="Create a new document." ma:contentTypeScope="" ma:versionID="d25ab1eb9db4a113b6ed2ec06ac6d1e3">
  <xsd:schema xmlns:xsd="http://www.w3.org/2001/XMLSchema" xmlns:xs="http://www.w3.org/2001/XMLSchema" xmlns:p="http://schemas.microsoft.com/office/2006/metadata/properties" xmlns:ns2="55fb1333-1407-4025-807a-bf48d778630d" xmlns:ns4="c9a5a8c2-9e00-44ec-a754-b8e8e575ccfb" targetNamespace="http://schemas.microsoft.com/office/2006/metadata/properties" ma:root="true" ma:fieldsID="3ede4e75384da6c452af25d39f233738" ns2:_="" ns4:_="">
    <xsd:import namespace="55fb1333-1407-4025-807a-bf48d778630d"/>
    <xsd:import namespace="c9a5a8c2-9e00-44ec-a754-b8e8e575ccfb"/>
    <xsd:element name="properties">
      <xsd:complexType>
        <xsd:sequence>
          <xsd:element name="documentManagement">
            <xsd:complexType>
              <xsd:all>
                <xsd:element ref="ns2:amaProposedKC" minOccurs="0"/>
                <xsd:element ref="ns4:Document_x0020_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fb1333-1407-4025-807a-bf48d778630d" elementFormDefault="qualified">
    <xsd:import namespace="http://schemas.microsoft.com/office/2006/documentManagement/types"/>
    <xsd:import namespace="http://schemas.microsoft.com/office/infopath/2007/PartnerControls"/>
    <xsd:element name="amaProposedKC" ma:index="8" nillable="true" ma:displayName="Published to KC" ma:internalName="amaProposedKC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a5a8c2-9e00-44ec-a754-b8e8e575ccfb" elementFormDefault="qualified">
    <xsd:import namespace="http://schemas.microsoft.com/office/2006/documentManagement/types"/>
    <xsd:import namespace="http://schemas.microsoft.com/office/infopath/2007/PartnerControls"/>
    <xsd:element name="Document_x0020_status" ma:index="10" nillable="true" ma:displayName="Document status" ma:default="To be updated" ma:format="Dropdown" ma:internalName="Document_x0020_status">
      <xsd:simpleType>
        <xsd:restriction base="dms:Choice">
          <xsd:enumeration value="To be updated"/>
          <xsd:enumeration value="Update in progress"/>
          <xsd:enumeration value="Update completed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Statu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 ma:index="9" ma:displayName="Category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FFF0499-12C8-4D9E-BB66-24604D149B28}">
  <ds:schemaRefs>
    <ds:schemaRef ds:uri="http://schemas.microsoft.com/office/2006/metadata/properties"/>
    <ds:schemaRef ds:uri="http://www.w3.org/XML/1998/namespace"/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c9a5a8c2-9e00-44ec-a754-b8e8e575ccfb"/>
    <ds:schemaRef ds:uri="http://purl.org/dc/terms/"/>
    <ds:schemaRef ds:uri="http://schemas.microsoft.com/office/infopath/2007/PartnerControls"/>
    <ds:schemaRef ds:uri="55fb1333-1407-4025-807a-bf48d778630d"/>
  </ds:schemaRefs>
</ds:datastoreItem>
</file>

<file path=customXml/itemProps2.xml><?xml version="1.0" encoding="utf-8"?>
<ds:datastoreItem xmlns:ds="http://schemas.openxmlformats.org/officeDocument/2006/customXml" ds:itemID="{D2C0C787-CDD8-4BE3-993A-AA66133862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5fb1333-1407-4025-807a-bf48d778630d"/>
    <ds:schemaRef ds:uri="c9a5a8c2-9e00-44ec-a754-b8e8e575ccf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90062A6-5E66-4617-B708-8697E294CD9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54</Words>
  <Application>Microsoft Office PowerPoint</Application>
  <PresentationFormat>On-screen Show (4:3)</PresentationFormat>
  <Paragraphs>33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Courier New</vt:lpstr>
      <vt:lpstr>Verdana</vt:lpstr>
      <vt:lpstr>Wingdings 2</vt:lpstr>
      <vt:lpstr>2_Public_PPT(4-3)_Environmentally_friendly_for_Printing</vt:lpstr>
      <vt:lpstr>3_Public_PPT(4-3)_Environmentally_friendly_for_Printing</vt:lpstr>
      <vt:lpstr>Confidential_Amadeus_Template_PPT</vt:lpstr>
      <vt:lpstr>4_Public_PPT(4-3)_Environmentally_friendly_for_Printing</vt:lpstr>
      <vt:lpstr>think-cell Slide</vt:lpstr>
      <vt:lpstr>Prise de contact</vt:lpstr>
      <vt:lpstr>La découverte des besoins</vt:lpstr>
    </vt:vector>
  </TitlesOfParts>
  <Company>Amadeu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&amp;A strategy</dc:title>
  <dc:creator>Gilles TRANTOUL</dc:creator>
  <cp:lastModifiedBy>Eve BOISSONNAT</cp:lastModifiedBy>
  <cp:revision>2014</cp:revision>
  <cp:lastPrinted>2015-11-03T17:40:31Z</cp:lastPrinted>
  <dcterms:created xsi:type="dcterms:W3CDTF">2013-10-21T13:10:59Z</dcterms:created>
  <dcterms:modified xsi:type="dcterms:W3CDTF">2015-11-03T17:4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62E76C890A4BB4880FAA56F0E96BF55</vt:lpwstr>
  </property>
</Properties>
</file>